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3.xml" ContentType="application/vnd.openxmlformats-officedocument.drawingml.chart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4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4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455" r:id="rId2"/>
    <p:sldId id="456" r:id="rId3"/>
    <p:sldId id="453" r:id="rId4"/>
    <p:sldId id="454" r:id="rId5"/>
    <p:sldId id="462" r:id="rId6"/>
    <p:sldId id="365" r:id="rId7"/>
    <p:sldId id="427" r:id="rId8"/>
    <p:sldId id="442" r:id="rId9"/>
    <p:sldId id="447" r:id="rId10"/>
    <p:sldId id="467" r:id="rId11"/>
    <p:sldId id="468" r:id="rId12"/>
    <p:sldId id="458" r:id="rId13"/>
    <p:sldId id="463" r:id="rId14"/>
    <p:sldId id="464" r:id="rId15"/>
    <p:sldId id="465" r:id="rId16"/>
    <p:sldId id="460" r:id="rId17"/>
    <p:sldId id="466" r:id="rId18"/>
  </p:sldIdLst>
  <p:sldSz cx="9144000" cy="6858000" type="screen4x3"/>
  <p:notesSz cx="6797675" cy="9872663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9B200"/>
    <a:srgbClr val="FFD6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162" autoAdjust="0"/>
    <p:restoredTop sz="71761" autoAdjust="0"/>
  </p:normalViewPr>
  <p:slideViewPr>
    <p:cSldViewPr showGuides="1">
      <p:cViewPr>
        <p:scale>
          <a:sx n="70" d="100"/>
          <a:sy n="70" d="100"/>
        </p:scale>
        <p:origin x="-2490" y="-1026"/>
      </p:cViewPr>
      <p:guideLst>
        <p:guide orient="horz" pos="709"/>
        <p:guide orient="horz" pos="4065"/>
        <p:guide orient="horz" pos="4156"/>
        <p:guide orient="horz" pos="391"/>
        <p:guide orient="horz" pos="1298"/>
        <p:guide orient="horz" pos="1389"/>
        <p:guide orient="horz" pos="1979"/>
        <p:guide orient="horz" pos="2069"/>
        <p:guide orient="horz" pos="2659"/>
        <p:guide orient="horz" pos="2750"/>
        <p:guide orient="horz" pos="3339"/>
        <p:guide orient="horz" pos="3430"/>
        <p:guide orient="horz" pos="4020"/>
        <p:guide pos="204"/>
        <p:guide pos="5556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12228"/>
    </p:cViewPr>
  </p:sorterViewPr>
  <p:notesViewPr>
    <p:cSldViewPr showGuides="1">
      <p:cViewPr>
        <p:scale>
          <a:sx n="75" d="100"/>
          <a:sy n="75" d="100"/>
        </p:scale>
        <p:origin x="-4026" y="-570"/>
      </p:cViewPr>
      <p:guideLst>
        <p:guide orient="horz" pos="5905"/>
        <p:guide orient="horz" pos="514"/>
        <p:guide pos="281"/>
        <p:guide pos="40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217228464419474E-2"/>
          <c:y val="3.9772727272727279E-2"/>
          <c:w val="0.95131086142322085"/>
          <c:h val="0.9261363636363637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#BEZUG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hlink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1.3371635968231345E-3"/>
                  <c:y val="-0.2262268411903665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2.40808321090302E-3"/>
                  <c:y val="-0.2717821798894347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1:$B$1</c:f>
              <c:numCache>
                <c:formatCode>General</c:formatCode>
                <c:ptCount val="2"/>
                <c:pt idx="0">
                  <c:v>2013</c:v>
                </c:pt>
                <c:pt idx="1">
                  <c:v>2014</c:v>
                </c:pt>
              </c:numCache>
            </c:numRef>
          </c:cat>
          <c:val>
            <c:numRef>
              <c:f>Sheet1!$A$2:$B$2</c:f>
              <c:numCache>
                <c:formatCode>""#,##0.0"";""\-""#,##0.0""</c:formatCode>
                <c:ptCount val="2"/>
                <c:pt idx="0">
                  <c:v>3</c:v>
                </c:pt>
                <c:pt idx="1">
                  <c:v>3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5257728"/>
        <c:axId val="75259264"/>
      </c:barChart>
      <c:catAx>
        <c:axId val="75257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7525926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75259264"/>
        <c:scaling>
          <c:orientation val="minMax"/>
          <c:max val="9"/>
          <c:min val="-2"/>
        </c:scaling>
        <c:delete val="0"/>
        <c:axPos val="l"/>
        <c:numFmt formatCode="&quot;&quot;#,##0.0&quot;&quot;;&quot;&quot;\-&quot;&quot;#,##0.0&quot;&quot;" sourceLinked="1"/>
        <c:majorTickMark val="none"/>
        <c:minorTickMark val="none"/>
        <c:tickLblPos val="none"/>
        <c:spPr>
          <a:ln w="9525">
            <a:noFill/>
          </a:ln>
        </c:spPr>
        <c:crossAx val="75257728"/>
        <c:crosses val="autoZero"/>
        <c:crossBetween val="between"/>
        <c:majorUnit val="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2370820668693E-2"/>
          <c:y val="6.0000000000000005E-2"/>
          <c:w val="0.96352583586626139"/>
          <c:h val="0.8300000000000000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3"/>
            </a:solidFill>
            <a:ln w="9527">
              <a:noFill/>
              <a:prstDash val="solid"/>
            </a:ln>
            <a:effectLst>
              <a:outerShdw blurRad="40005" dist="22860" dir="5400000" algn="ctr" rotWithShape="0">
                <a:schemeClr val="tx1">
                  <a:alpha val="35000"/>
                </a:schemeClr>
              </a:outerShdw>
            </a:effectLst>
          </c:spPr>
          <c:invertIfNegative val="0"/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General</c:formatCode>
                <c:ptCount val="3"/>
                <c:pt idx="0">
                  <c:v>9245184.0000010505</c:v>
                </c:pt>
                <c:pt idx="1">
                  <c:v>9206078.0000010449</c:v>
                </c:pt>
                <c:pt idx="2">
                  <c:v>10051227.00000114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5687680"/>
        <c:axId val="105693568"/>
      </c:barChart>
      <c:catAx>
        <c:axId val="105687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7">
            <a:solidFill>
              <a:schemeClr val="tx1"/>
            </a:solidFill>
            <a:prstDash val="solid"/>
          </a:ln>
        </c:spPr>
        <c:crossAx val="10569356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05693568"/>
        <c:scaling>
          <c:orientation val="minMax"/>
          <c:max val="92014168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7145">
            <a:noFill/>
          </a:ln>
        </c:spPr>
        <c:crossAx val="105687680"/>
        <c:crosses val="autoZero"/>
        <c:crossBetween val="between"/>
      </c:valAx>
      <c:spPr>
        <a:noFill/>
        <a:ln w="1905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2370820668693E-2"/>
          <c:y val="6.0000000000000005E-2"/>
          <c:w val="0.96352583586626139"/>
          <c:h val="0.8300000000000000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3"/>
            </a:solidFill>
            <a:ln w="9527">
              <a:noFill/>
              <a:prstDash val="solid"/>
            </a:ln>
            <a:effectLst>
              <a:outerShdw blurRad="40005" dist="22860" dir="5400000" algn="ctr" rotWithShape="0">
                <a:schemeClr val="tx1">
                  <a:alpha val="35000"/>
                </a:schemeClr>
              </a:outerShdw>
            </a:effectLst>
          </c:spPr>
          <c:invertIfNegative val="0"/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General</c:formatCode>
                <c:ptCount val="3"/>
                <c:pt idx="0">
                  <c:v>92014168.000010461</c:v>
                </c:pt>
                <c:pt idx="1">
                  <c:v>89465344.000010177</c:v>
                </c:pt>
                <c:pt idx="2">
                  <c:v>87786360.00000996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5401728"/>
        <c:axId val="105415808"/>
      </c:barChart>
      <c:catAx>
        <c:axId val="105401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7">
            <a:solidFill>
              <a:schemeClr val="tx1"/>
            </a:solidFill>
            <a:prstDash val="solid"/>
          </a:ln>
        </c:spPr>
        <c:crossAx val="1054158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05415808"/>
        <c:scaling>
          <c:orientation val="minMax"/>
          <c:max val="92014168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7145">
            <a:noFill/>
          </a:ln>
        </c:spPr>
        <c:crossAx val="105401728"/>
        <c:crosses val="autoZero"/>
        <c:crossBetween val="between"/>
      </c:valAx>
      <c:spPr>
        <a:noFill/>
        <a:ln w="1905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2370820668693E-2"/>
          <c:y val="6.0000000000000005E-2"/>
          <c:w val="0.96352583586626139"/>
          <c:h val="0.8300000000000000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9527">
              <a:solidFill>
                <a:schemeClr val="accent3"/>
              </a:solidFill>
              <a:prstDash val="solid"/>
            </a:ln>
            <a:effectLst>
              <a:outerShdw blurRad="40005" dist="22860" dir="5400000" algn="ctr" rotWithShape="0">
                <a:schemeClr val="tx1">
                  <a:alpha val="35000"/>
                </a:schemeClr>
              </a:outerShdw>
            </a:effectLst>
          </c:spPr>
          <c:invertIfNegative val="0"/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General</c:formatCode>
                <c:ptCount val="3"/>
                <c:pt idx="0">
                  <c:v>1317112.3750001497</c:v>
                </c:pt>
                <c:pt idx="1">
                  <c:v>1577897.1250001793</c:v>
                </c:pt>
                <c:pt idx="2">
                  <c:v>1805691.125000205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5460096"/>
        <c:axId val="105461632"/>
      </c:barChart>
      <c:catAx>
        <c:axId val="105460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7">
            <a:solidFill>
              <a:schemeClr val="tx1"/>
            </a:solidFill>
            <a:prstDash val="solid"/>
          </a:ln>
        </c:spPr>
        <c:crossAx val="105461632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05461632"/>
        <c:scaling>
          <c:orientation val="minMax"/>
          <c:max val="92014168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7145">
            <a:noFill/>
          </a:ln>
        </c:spPr>
        <c:crossAx val="105460096"/>
        <c:crosses val="autoZero"/>
        <c:crossBetween val="between"/>
      </c:valAx>
      <c:spPr>
        <a:noFill/>
        <a:ln w="1905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310409166817999E-2"/>
          <c:y val="2.2127574251156034E-2"/>
          <c:w val="0.92468959883296864"/>
          <c:h val="0.58632171880054507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Tabelle1!#BEZUG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>
              <a:outerShdw blurRad="40005" dist="22860" dir="5400000" algn="ctr" rotWithShape="0">
                <a:schemeClr val="tx1">
                  <a:alpha val="35000"/>
                </a:schemeClr>
              </a:outerShdw>
            </a:effectLst>
          </c:spPr>
          <c:invertIfNegative val="0"/>
          <c:dLbls>
            <c:numFmt formatCode="#,##0.0" sourceLinked="0"/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Tabelle1!$C$3:$C$12</c:f>
              <c:numCache>
                <c:formatCode>General</c:formatCode>
                <c:ptCount val="10"/>
                <c:pt idx="0">
                  <c:v>70.8</c:v>
                </c:pt>
                <c:pt idx="1">
                  <c:v>61.9</c:v>
                </c:pt>
                <c:pt idx="2">
                  <c:v>60.4</c:v>
                </c:pt>
                <c:pt idx="3">
                  <c:v>59</c:v>
                </c:pt>
                <c:pt idx="4">
                  <c:v>57</c:v>
                </c:pt>
                <c:pt idx="5">
                  <c:v>56.7</c:v>
                </c:pt>
                <c:pt idx="6">
                  <c:v>56.4</c:v>
                </c:pt>
                <c:pt idx="7">
                  <c:v>55.9</c:v>
                </c:pt>
                <c:pt idx="8">
                  <c:v>53.8</c:v>
                </c:pt>
                <c:pt idx="9">
                  <c:v>52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6"/>
        <c:axId val="105233792"/>
        <c:axId val="105243776"/>
      </c:barChart>
      <c:lineChart>
        <c:grouping val="standard"/>
        <c:varyColors val="0"/>
        <c:ser>
          <c:idx val="0"/>
          <c:order val="0"/>
          <c:tx>
            <c:strRef>
              <c:f>Tabelle1!$B$2</c:f>
              <c:strCache>
                <c:ptCount val="1"/>
                <c:pt idx="0">
                  <c:v> </c:v>
                </c:pt>
              </c:strCache>
            </c:strRef>
          </c:tx>
          <c:spPr>
            <a:effectLst>
              <a:outerShdw blurRad="40005" dist="22860" dir="5400000" algn="ctr" rotWithShape="0">
                <a:schemeClr val="tx1">
                  <a:alpha val="35000"/>
                </a:schemeClr>
              </a:outerShdw>
            </a:effectLst>
          </c:spPr>
          <c:marker>
            <c:symbol val="none"/>
          </c:marker>
          <c:cat>
            <c:strRef>
              <c:f>Tabelle1!$B$3:$B$12</c:f>
              <c:strCache>
                <c:ptCount val="10"/>
                <c:pt idx="0">
                  <c:v>Internet service providers out of the USA</c:v>
                </c:pt>
                <c:pt idx="1">
                  <c:v>Social networks on the internet</c:v>
                </c:pt>
                <c:pt idx="2">
                  <c:v>Internet service providers out of Europe</c:v>
                </c:pt>
                <c:pt idx="3">
                  <c:v>Insurances</c:v>
                </c:pt>
                <c:pt idx="4">
                  <c:v>Online communication plattforms/ Messenger-services (Skype, WhatsApp ...)</c:v>
                </c:pt>
                <c:pt idx="5">
                  <c:v>International companies</c:v>
                </c:pt>
                <c:pt idx="6">
                  <c:v>Internet providers</c:v>
                </c:pt>
                <c:pt idx="7">
                  <c:v>Telecommunications</c:v>
                </c:pt>
                <c:pt idx="8">
                  <c:v>Internet-Shops</c:v>
                </c:pt>
                <c:pt idx="9">
                  <c:v>Federal government</c:v>
                </c:pt>
              </c:strCache>
            </c:strRef>
          </c:cat>
          <c:val>
            <c:numRef>
              <c:f>Tabelle1!$B$3:$B$12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5233792"/>
        <c:axId val="105243776"/>
      </c:lineChart>
      <c:lineChart>
        <c:grouping val="standard"/>
        <c:varyColors val="0"/>
        <c:ser>
          <c:idx val="2"/>
          <c:order val="2"/>
          <c:tx>
            <c:strRef>
              <c:f>Tabelle1!$D$2</c:f>
              <c:strCache>
                <c:ptCount val="1"/>
              </c:strCache>
            </c:strRef>
          </c:tx>
          <c:spPr>
            <a:ln>
              <a:solidFill>
                <a:schemeClr val="accent3"/>
              </a:solidFill>
            </a:ln>
          </c:spPr>
          <c:marker>
            <c:symbol val="square"/>
            <c:size val="7"/>
            <c:spPr>
              <a:solidFill>
                <a:schemeClr val="bg1"/>
              </a:solidFill>
              <a:ln>
                <a:solidFill>
                  <a:schemeClr val="accent3"/>
                </a:solidFill>
              </a:ln>
            </c:spPr>
          </c:marker>
          <c:dLbls>
            <c:numFmt formatCode="#,##0.0" sourceLinked="0"/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B$3:$B$12</c:f>
              <c:strCache>
                <c:ptCount val="10"/>
                <c:pt idx="0">
                  <c:v>Internet service providers out of the USA</c:v>
                </c:pt>
                <c:pt idx="1">
                  <c:v>Social networks on the internet</c:v>
                </c:pt>
                <c:pt idx="2">
                  <c:v>Internet service providers out of Europe</c:v>
                </c:pt>
                <c:pt idx="3">
                  <c:v>Insurances</c:v>
                </c:pt>
                <c:pt idx="4">
                  <c:v>Online communication plattforms/ Messenger-services (Skype, WhatsApp ...)</c:v>
                </c:pt>
                <c:pt idx="5">
                  <c:v>International companies</c:v>
                </c:pt>
                <c:pt idx="6">
                  <c:v>Internet providers</c:v>
                </c:pt>
                <c:pt idx="7">
                  <c:v>Telecommunications</c:v>
                </c:pt>
                <c:pt idx="8">
                  <c:v>Internet-Shops</c:v>
                </c:pt>
                <c:pt idx="9">
                  <c:v>Federal government</c:v>
                </c:pt>
              </c:strCache>
            </c:strRef>
          </c:cat>
          <c:val>
            <c:numRef>
              <c:f>Tabelle1!$D$3:$D$12</c:f>
              <c:numCache>
                <c:formatCode>General</c:formatCode>
                <c:ptCount val="10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5251200"/>
        <c:axId val="105245312"/>
      </c:lineChart>
      <c:catAx>
        <c:axId val="10523379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>
            <a:noFill/>
          </a:ln>
        </c:spPr>
        <c:txPr>
          <a:bodyPr rot="-5400000" vert="horz"/>
          <a:lstStyle/>
          <a:p>
            <a:pPr>
              <a:defRPr sz="1200" b="0"/>
            </a:pPr>
            <a:endParaRPr lang="de-DE"/>
          </a:p>
        </c:txPr>
        <c:crossAx val="105243776"/>
        <c:crosses val="autoZero"/>
        <c:auto val="1"/>
        <c:lblAlgn val="ctr"/>
        <c:lblOffset val="100"/>
        <c:noMultiLvlLbl val="0"/>
      </c:catAx>
      <c:valAx>
        <c:axId val="105243776"/>
        <c:scaling>
          <c:orientation val="minMax"/>
          <c:max val="8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" sourceLinked="0"/>
        <c:majorTickMark val="none"/>
        <c:minorTickMark val="none"/>
        <c:tickLblPos val="none"/>
        <c:spPr>
          <a:ln>
            <a:noFill/>
          </a:ln>
        </c:spPr>
        <c:crossAx val="105233792"/>
        <c:crosses val="autoZero"/>
        <c:crossBetween val="between"/>
        <c:majorUnit val="10"/>
        <c:minorUnit val="5"/>
      </c:valAx>
      <c:valAx>
        <c:axId val="105245312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05251200"/>
        <c:crosses val="max"/>
        <c:crossBetween val="between"/>
      </c:valAx>
      <c:catAx>
        <c:axId val="1052512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105245312"/>
        <c:crosses val="autoZero"/>
        <c:auto val="1"/>
        <c:lblAlgn val="ctr"/>
        <c:lblOffset val="100"/>
        <c:noMultiLvlLbl val="0"/>
      </c:cat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200"/>
      </a:pPr>
      <a:endParaRPr lang="de-DE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Tabelle1!#BEZUG!</c:f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928580"/>
              </a:solidFill>
            </c:spPr>
          </c:dPt>
          <c:dPt>
            <c:idx val="1"/>
            <c:invertIfNegative val="0"/>
            <c:bubble3D val="0"/>
          </c:dPt>
          <c:dLbls>
            <c:txPr>
              <a:bodyPr/>
              <a:lstStyle/>
              <a:p>
                <a:pPr>
                  <a:defRPr sz="1200" b="1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Tabelle1!$C$3:$C$13</c:f>
              <c:numCache>
                <c:formatCode>General</c:formatCode>
                <c:ptCount val="11"/>
                <c:pt idx="0">
                  <c:v>22</c:v>
                </c:pt>
                <c:pt idx="1">
                  <c:v>15</c:v>
                </c:pt>
                <c:pt idx="2">
                  <c:v>19.8</c:v>
                </c:pt>
                <c:pt idx="3">
                  <c:v>20.7</c:v>
                </c:pt>
                <c:pt idx="4">
                  <c:v>21.5</c:v>
                </c:pt>
                <c:pt idx="5">
                  <c:v>27</c:v>
                </c:pt>
                <c:pt idx="6">
                  <c:v>28.9</c:v>
                </c:pt>
                <c:pt idx="7">
                  <c:v>29.7</c:v>
                </c:pt>
                <c:pt idx="8">
                  <c:v>34.9</c:v>
                </c:pt>
                <c:pt idx="9">
                  <c:v>36.5</c:v>
                </c:pt>
                <c:pt idx="10">
                  <c:v>54.6</c:v>
                </c:pt>
              </c:numCache>
            </c:numRef>
          </c:val>
        </c:ser>
        <c:ser>
          <c:idx val="1"/>
          <c:order val="1"/>
          <c:tx>
            <c:strRef>
              <c:f>Tabelle1!#BEZUG!</c:f>
              <c:strCache>
                <c:ptCount val="1"/>
                <c:pt idx="0">
                  <c:v>#REF!</c:v>
                </c:pt>
              </c:strCache>
            </c:strRef>
          </c:tx>
          <c:invertIfNegative val="0"/>
          <c:dLbls>
            <c:delete val="1"/>
          </c:dLbls>
          <c:cat>
            <c:strRef>
              <c:f>Tabelle1!$B$3:$B$13</c:f>
              <c:strCache>
                <c:ptCount val="11"/>
                <c:pt idx="0">
                  <c:v>Non of the above</c:v>
                </c:pt>
                <c:pt idx="1">
                  <c:v>Online shopping</c:v>
                </c:pt>
                <c:pt idx="2">
                  <c:v>Locations services and maps with location services</c:v>
                </c:pt>
                <c:pt idx="3">
                  <c:v>Communication apps on Smartphone/Tablet PC/PC/Laptop (WhatsApp, Skype, ...)</c:v>
                </c:pt>
                <c:pt idx="4">
                  <c:v>Social networks (facebook, studiVZ, XING, linkedIn ...)</c:v>
                </c:pt>
                <c:pt idx="5">
                  <c:v>Online auctions</c:v>
                </c:pt>
                <c:pt idx="6">
                  <c:v>Online payment methods like bank transfer , EC-/ credit cards or other (e.g PayPal, sofortueberweisung.de, etc)</c:v>
                </c:pt>
                <c:pt idx="7">
                  <c:v>Online games on Smartphone/ Tablet PC/PC/Laptop via the internet</c:v>
                </c:pt>
                <c:pt idx="8">
                  <c:v>Bonus programs</c:v>
                </c:pt>
                <c:pt idx="9">
                  <c:v>Online banking</c:v>
                </c:pt>
                <c:pt idx="10">
                  <c:v>Online sweepstakes</c:v>
                </c:pt>
              </c:strCache>
            </c:strRef>
          </c:cat>
          <c:val>
            <c:numRef>
              <c:f>Tabelle1!$B$3:$B$13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ser>
          <c:idx val="2"/>
          <c:order val="2"/>
          <c:tx>
            <c:strRef>
              <c:f>Tabelle1!$D$2</c:f>
              <c:strCache>
                <c:ptCount val="1"/>
              </c:strCache>
            </c:strRef>
          </c:tx>
          <c:invertIfNegative val="0"/>
          <c:dLbls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B$3:$B$13</c:f>
              <c:strCache>
                <c:ptCount val="11"/>
                <c:pt idx="0">
                  <c:v>Non of the above</c:v>
                </c:pt>
                <c:pt idx="1">
                  <c:v>Online shopping</c:v>
                </c:pt>
                <c:pt idx="2">
                  <c:v>Locations services and maps with location services</c:v>
                </c:pt>
                <c:pt idx="3">
                  <c:v>Communication apps on Smartphone/Tablet PC/PC/Laptop (WhatsApp, Skype, ...)</c:v>
                </c:pt>
                <c:pt idx="4">
                  <c:v>Social networks (facebook, studiVZ, XING, linkedIn ...)</c:v>
                </c:pt>
                <c:pt idx="5">
                  <c:v>Online auctions</c:v>
                </c:pt>
                <c:pt idx="6">
                  <c:v>Online payment methods like bank transfer , EC-/ credit cards or other (e.g PayPal, sofortueberweisung.de, etc)</c:v>
                </c:pt>
                <c:pt idx="7">
                  <c:v>Online games on Smartphone/ Tablet PC/PC/Laptop via the internet</c:v>
                </c:pt>
                <c:pt idx="8">
                  <c:v>Bonus programs</c:v>
                </c:pt>
                <c:pt idx="9">
                  <c:v>Online banking</c:v>
                </c:pt>
                <c:pt idx="10">
                  <c:v>Online sweepstakes</c:v>
                </c:pt>
              </c:strCache>
            </c:strRef>
          </c:cat>
          <c:val>
            <c:numRef>
              <c:f>Tabelle1!$D$3:$D$12</c:f>
              <c:numCache>
                <c:formatCode>General</c:formatCode>
                <c:ptCount val="10"/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6"/>
        <c:overlap val="76"/>
        <c:axId val="105330176"/>
        <c:axId val="105331712"/>
      </c:barChart>
      <c:catAx>
        <c:axId val="105330176"/>
        <c:scaling>
          <c:orientation val="minMax"/>
        </c:scaling>
        <c:delete val="0"/>
        <c:axPos val="l"/>
        <c:majorTickMark val="none"/>
        <c:minorTickMark val="none"/>
        <c:tickLblPos val="nextTo"/>
        <c:txPr>
          <a:bodyPr anchor="b" anchorCtr="1"/>
          <a:lstStyle/>
          <a:p>
            <a:pPr>
              <a:defRPr sz="1400"/>
            </a:pPr>
            <a:endParaRPr lang="de-DE"/>
          </a:p>
        </c:txPr>
        <c:crossAx val="105331712"/>
        <c:crosses val="autoZero"/>
        <c:auto val="1"/>
        <c:lblAlgn val="ctr"/>
        <c:lblOffset val="100"/>
        <c:noMultiLvlLbl val="0"/>
      </c:catAx>
      <c:valAx>
        <c:axId val="105331712"/>
        <c:scaling>
          <c:orientation val="minMax"/>
        </c:scaling>
        <c:delete val="0"/>
        <c:axPos val="b"/>
        <c:majorGridlines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400"/>
            </a:pPr>
            <a:endParaRPr lang="de-DE"/>
          </a:p>
        </c:txPr>
        <c:crossAx val="1053301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217228464419474E-2"/>
          <c:y val="3.7037037037037042E-2"/>
          <c:w val="0.95131086142322085"/>
          <c:h val="0.8624338624338625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hlink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1.8246226593617552E-3"/>
                  <c:y val="-8.77010087395463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2.40808321090302E-3"/>
                  <c:y val="-0.1082591585009288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C$1</c:f>
              <c:numCache>
                <c:formatCode>General</c:formatCode>
                <c:ptCount val="2"/>
                <c:pt idx="0">
                  <c:v>2013</c:v>
                </c:pt>
                <c:pt idx="1">
                  <c:v>2014</c:v>
                </c:pt>
              </c:numCache>
            </c:numRef>
          </c:cat>
          <c:val>
            <c:numRef>
              <c:f>Sheet1!$B$2:$C$2</c:f>
              <c:numCache>
                <c:formatCode>""#,##0.0"";""\-""#,##0.0""</c:formatCode>
                <c:ptCount val="2"/>
                <c:pt idx="0">
                  <c:v>-0.40000000000004549</c:v>
                </c:pt>
                <c:pt idx="1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5587584"/>
        <c:axId val="75589120"/>
      </c:barChart>
      <c:catAx>
        <c:axId val="75587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7558912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75589120"/>
        <c:scaling>
          <c:orientation val="minMax"/>
          <c:max val="9"/>
          <c:min val="-2"/>
        </c:scaling>
        <c:delete val="0"/>
        <c:axPos val="l"/>
        <c:numFmt formatCode="&quot;&quot;#,##0.0&quot;&quot;;&quot;&quot;\-&quot;&quot;#,##0.0&quot;&quot;" sourceLinked="1"/>
        <c:majorTickMark val="none"/>
        <c:minorTickMark val="none"/>
        <c:tickLblPos val="none"/>
        <c:spPr>
          <a:ln w="9525">
            <a:noFill/>
          </a:ln>
        </c:spPr>
        <c:crossAx val="75587584"/>
        <c:crosses val="autoZero"/>
        <c:crossBetween val="between"/>
        <c:majorUnit val="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217228464419474E-2"/>
          <c:y val="3.7433155080213908E-2"/>
          <c:w val="0.95131086142322085"/>
          <c:h val="0.866310160427807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hlink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1.8245180945663647E-3"/>
                  <c:y val="-0.1161361731843575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2.4078740813122815E-3"/>
                  <c:y val="-0.1625425977653631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""#,##0.0"";""\-""#,##0.0""</c:formatCode>
                <c:ptCount val="2"/>
                <c:pt idx="0">
                  <c:v>1.3</c:v>
                </c:pt>
                <c:pt idx="1">
                  <c:v>1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5622272"/>
        <c:axId val="75623808"/>
      </c:barChart>
      <c:catAx>
        <c:axId val="75622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756238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75623808"/>
        <c:scaling>
          <c:orientation val="minMax"/>
          <c:max val="9"/>
          <c:min val="-2"/>
        </c:scaling>
        <c:delete val="0"/>
        <c:axPos val="l"/>
        <c:numFmt formatCode="&quot;&quot;#,##0.0&quot;&quot;;&quot;&quot;\-&quot;&quot;#,##0.0&quot;&quot;" sourceLinked="1"/>
        <c:majorTickMark val="none"/>
        <c:minorTickMark val="none"/>
        <c:tickLblPos val="none"/>
        <c:spPr>
          <a:ln w="9525">
            <a:noFill/>
          </a:ln>
        </c:spPr>
        <c:crossAx val="75622272"/>
        <c:crosses val="autoZero"/>
        <c:crossBetween val="between"/>
        <c:majorUnit val="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217228464419474E-2"/>
          <c:y val="3.9772727272727279E-2"/>
          <c:w val="0.95131086142322085"/>
          <c:h val="0.9261363636363637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hlink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1.3371635968231345E-3"/>
                  <c:y val="-0.1336443460561308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2.40808321090302E-3"/>
                  <c:y val="-0.1869937038832919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""#,##0.0"";""\-""#,##0.0""</c:formatCode>
                <c:ptCount val="2"/>
                <c:pt idx="0">
                  <c:v>1.8</c:v>
                </c:pt>
                <c:pt idx="1">
                  <c:v>2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5689984"/>
        <c:axId val="75691520"/>
      </c:barChart>
      <c:catAx>
        <c:axId val="75689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7569152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75691520"/>
        <c:scaling>
          <c:orientation val="minMax"/>
          <c:max val="9"/>
          <c:min val="-2"/>
        </c:scaling>
        <c:delete val="0"/>
        <c:axPos val="l"/>
        <c:numFmt formatCode="&quot;&quot;#,##0.0&quot;&quot;;&quot;&quot;\-&quot;&quot;#,##0.0&quot;&quot;" sourceLinked="1"/>
        <c:majorTickMark val="none"/>
        <c:minorTickMark val="none"/>
        <c:tickLblPos val="none"/>
        <c:spPr>
          <a:ln w="9525">
            <a:noFill/>
          </a:ln>
        </c:spPr>
        <c:crossAx val="75689984"/>
        <c:crosses val="autoZero"/>
        <c:crossBetween val="between"/>
        <c:majorUnit val="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217228464419474E-2"/>
          <c:y val="3.9772727272727279E-2"/>
          <c:w val="0.95131086142322085"/>
          <c:h val="0.9261363636363637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hlink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1.3371635968231345E-3"/>
                  <c:y val="-0.1395560640052297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2.4078740813122815E-3"/>
                  <c:y val="-0.2150311260344392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""#,##0.0"";""\-""#,##0.0""</c:formatCode>
                <c:ptCount val="2"/>
                <c:pt idx="0">
                  <c:v>1.8</c:v>
                </c:pt>
                <c:pt idx="1">
                  <c:v>3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7786496"/>
        <c:axId val="77788288"/>
      </c:barChart>
      <c:catAx>
        <c:axId val="77786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7778828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77788288"/>
        <c:scaling>
          <c:orientation val="minMax"/>
          <c:max val="9"/>
          <c:min val="-2"/>
        </c:scaling>
        <c:delete val="0"/>
        <c:axPos val="l"/>
        <c:numFmt formatCode="&quot;&quot;#,##0.0&quot;&quot;;&quot;&quot;\-&quot;&quot;#,##0.0&quot;&quot;" sourceLinked="1"/>
        <c:majorTickMark val="none"/>
        <c:minorTickMark val="none"/>
        <c:tickLblPos val="none"/>
        <c:spPr>
          <a:ln w="9525">
            <a:noFill/>
          </a:ln>
        </c:spPr>
        <c:crossAx val="77786496"/>
        <c:crosses val="autoZero"/>
        <c:crossBetween val="between"/>
        <c:majorUnit val="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217228464419474E-2"/>
          <c:y val="3.9772727272727279E-2"/>
          <c:w val="0.95131086142322085"/>
          <c:h val="0.9261363636363637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hlink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1.1103845692300534E-2"/>
                  <c:y val="-0.14763991858201969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2.4078740813122815E-3"/>
                  <c:y val="-0.17363870028377434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Cambria"/>
                    <a:ea typeface="Cambria"/>
                    <a:cs typeface="Cambria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""#,##0.0"";""\-""#,##0.0""</c:formatCode>
                <c:ptCount val="2"/>
                <c:pt idx="0">
                  <c:v>1.5</c:v>
                </c:pt>
                <c:pt idx="1">
                  <c:v>1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9632640"/>
        <c:axId val="79638528"/>
      </c:barChart>
      <c:catAx>
        <c:axId val="79632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7963852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79638528"/>
        <c:scaling>
          <c:orientation val="minMax"/>
          <c:max val="9"/>
          <c:min val="-2"/>
        </c:scaling>
        <c:delete val="0"/>
        <c:axPos val="l"/>
        <c:numFmt formatCode="&quot;&quot;#,##0.0&quot;&quot;;&quot;&quot;\-&quot;&quot;#,##0.0&quot;&quot;" sourceLinked="1"/>
        <c:majorTickMark val="none"/>
        <c:minorTickMark val="none"/>
        <c:tickLblPos val="none"/>
        <c:spPr>
          <a:ln w="9525">
            <a:noFill/>
          </a:ln>
        </c:spPr>
        <c:crossAx val="79632640"/>
        <c:crosses val="autoZero"/>
        <c:crossBetween val="between"/>
        <c:majorUnit val="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217228464419474E-2"/>
          <c:y val="0.19323671497584541"/>
          <c:w val="0.95131086142322085"/>
          <c:h val="0.782608695652173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hlink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1.3371635968231345E-3"/>
                  <c:y val="-0.3424552478097305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8.6283787258741151E-3"/>
                  <c:y val="-0.3418145782311207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""#,##0.0"";""\-""#,##0.0""</c:formatCode>
                <c:ptCount val="2"/>
                <c:pt idx="0">
                  <c:v>7.6</c:v>
                </c:pt>
                <c:pt idx="1">
                  <c:v>7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9680256"/>
        <c:axId val="79681792"/>
      </c:barChart>
      <c:catAx>
        <c:axId val="79680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79681792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79681792"/>
        <c:scaling>
          <c:orientation val="minMax"/>
          <c:max val="9"/>
          <c:min val="-2"/>
        </c:scaling>
        <c:delete val="0"/>
        <c:axPos val="l"/>
        <c:numFmt formatCode="&quot;&quot;#,##0.0&quot;&quot;;&quot;&quot;\-&quot;&quot;#,##0.0&quot;&quot;" sourceLinked="1"/>
        <c:majorTickMark val="none"/>
        <c:minorTickMark val="none"/>
        <c:tickLblPos val="none"/>
        <c:spPr>
          <a:ln w="9525">
            <a:noFill/>
          </a:ln>
        </c:spPr>
        <c:crossAx val="79680256"/>
        <c:crosses val="autoZero"/>
        <c:crossBetween val="between"/>
        <c:majorUnit val="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217228464419474E-2"/>
          <c:y val="3.9772727272727279E-2"/>
          <c:w val="0.95131086142322085"/>
          <c:h val="0.9261363636363637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hlink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1.3371250729511651E-3"/>
                  <c:y val="-0.2545297868518335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2.40808321090302E-3"/>
                  <c:y val="-0.28040800497584339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""#,##0.0"";""\-""#,##0.0""</c:formatCode>
                <c:ptCount val="2"/>
                <c:pt idx="0">
                  <c:v>2.8</c:v>
                </c:pt>
                <c:pt idx="1">
                  <c:v>3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9731328"/>
        <c:axId val="79745408"/>
      </c:barChart>
      <c:catAx>
        <c:axId val="79731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797454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79745408"/>
        <c:scaling>
          <c:orientation val="minMax"/>
          <c:max val="9"/>
          <c:min val="-2"/>
        </c:scaling>
        <c:delete val="0"/>
        <c:axPos val="l"/>
        <c:numFmt formatCode="&quot;&quot;#,##0.0&quot;&quot;;&quot;&quot;\-&quot;&quot;#,##0.0&quot;&quot;" sourceLinked="1"/>
        <c:majorTickMark val="none"/>
        <c:minorTickMark val="none"/>
        <c:tickLblPos val="none"/>
        <c:spPr>
          <a:ln w="9525">
            <a:noFill/>
          </a:ln>
        </c:spPr>
        <c:crossAx val="79731328"/>
        <c:crosses val="autoZero"/>
        <c:crossBetween val="between"/>
        <c:majorUnit val="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2370820668693E-2"/>
          <c:y val="6.0000000000000005E-2"/>
          <c:w val="0.96352583586626139"/>
          <c:h val="0.8300000000000000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3"/>
            </a:solidFill>
            <a:ln w="9527">
              <a:noFill/>
              <a:prstDash val="solid"/>
            </a:ln>
            <a:effectLst>
              <a:outerShdw blurRad="40005" dist="22860" dir="5400000" algn="ctr" rotWithShape="0">
                <a:schemeClr val="tx1">
                  <a:alpha val="35000"/>
                </a:schemeClr>
              </a:outerShdw>
            </a:effectLst>
          </c:spPr>
          <c:invertIfNegative val="0"/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General</c:formatCode>
                <c:ptCount val="3"/>
                <c:pt idx="0">
                  <c:v>14106113.000001604</c:v>
                </c:pt>
                <c:pt idx="1">
                  <c:v>16800668.000001911</c:v>
                </c:pt>
                <c:pt idx="2">
                  <c:v>19236906.00000218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5654144"/>
        <c:axId val="105655680"/>
      </c:barChart>
      <c:catAx>
        <c:axId val="105654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7">
            <a:solidFill>
              <a:schemeClr val="tx1"/>
            </a:solidFill>
            <a:prstDash val="solid"/>
          </a:ln>
        </c:spPr>
        <c:crossAx val="10565568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05655680"/>
        <c:scaling>
          <c:orientation val="minMax"/>
          <c:max val="92014168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7145">
            <a:noFill/>
          </a:ln>
        </c:spPr>
        <c:crossAx val="105654144"/>
        <c:crosses val="autoZero"/>
        <c:crossBetween val="between"/>
      </c:valAx>
      <c:spPr>
        <a:noFill/>
        <a:ln w="1905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image" Target="../media/image12.emf"/><Relationship Id="rId7" Type="http://schemas.openxmlformats.org/officeDocument/2006/relationships/image" Target="../media/image16.emf"/><Relationship Id="rId2" Type="http://schemas.openxmlformats.org/officeDocument/2006/relationships/image" Target="../media/image11.emf"/><Relationship Id="rId1" Type="http://schemas.openxmlformats.org/officeDocument/2006/relationships/image" Target="../media/image10.emf"/><Relationship Id="rId6" Type="http://schemas.openxmlformats.org/officeDocument/2006/relationships/image" Target="../media/image15.emf"/><Relationship Id="rId5" Type="http://schemas.openxmlformats.org/officeDocument/2006/relationships/image" Target="../media/image14.emf"/><Relationship Id="rId4" Type="http://schemas.openxmlformats.org/officeDocument/2006/relationships/image" Target="../media/image13.emf"/><Relationship Id="rId9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5682889" y="9376717"/>
            <a:ext cx="668359" cy="28643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>
                <a:solidFill>
                  <a:schemeClr val="bg2"/>
                </a:solidFill>
              </a:rPr>
              <a:t>‹Nr.›</a:t>
            </a:fld>
            <a:endParaRPr lang="en-US" sz="800" dirty="0">
              <a:solidFill>
                <a:schemeClr val="bg2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7" y="203451"/>
            <a:ext cx="432000" cy="429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46089" y="9376677"/>
            <a:ext cx="4969028" cy="286434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57200" y="815975"/>
            <a:ext cx="4935538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35" tIns="45568" rIns="91135" bIns="4556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90" y="4703086"/>
            <a:ext cx="5905500" cy="44316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  <a:endParaRPr lang="en-US" noProof="0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5682889" y="9376717"/>
            <a:ext cx="668700" cy="28643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‹Nr.›</a:t>
            </a:fld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6089" y="9376677"/>
            <a:ext cx="4969028" cy="286434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300"/>
      </a:spcAft>
      <a:buFont typeface="Arial" pitchFamily="34" charset="0"/>
      <a:buNone/>
      <a:defRPr sz="1000" kern="1200">
        <a:solidFill>
          <a:schemeClr val="tx2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300"/>
      </a:spcAft>
      <a:buFont typeface="Arial" pitchFamily="34" charset="0"/>
      <a:buNone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90488" indent="-90488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79388" indent="-90488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263525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63525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95388" y="782638"/>
            <a:ext cx="4406900" cy="33051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 sz="800" dirty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GB" sz="800">
                <a:solidFill>
                  <a:schemeClr val="bg2"/>
                </a:solidFill>
              </a:rPr>
              <a:t>3</a:t>
            </a:fld>
            <a:endParaRPr lang="en-GB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0816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>
                <a:solidFill>
                  <a:schemeClr val="bg2"/>
                </a:solidFill>
              </a:rPr>
              <a:t>1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78949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4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543" y="5"/>
            <a:ext cx="2946557" cy="49339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lIns="90819" tIns="45407" rIns="90819" bIns="45407" numCol="1" anchor="t" anchorCtr="0" compatLnSpc="1">
            <a:prstTxWarp prst="textNoShape">
              <a:avLst/>
            </a:prstTxWarp>
          </a:bodyPr>
          <a:lstStyle/>
          <a:p>
            <a:pPr defTabSz="44492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prstClr val="black"/>
                </a:solidFill>
                <a:latin typeface="Arial Unicode MS" pitchFamily="34" charset="-128"/>
                <a:cs typeface="Arial" charset="0"/>
              </a:rPr>
              <a:t>13.08.2007</a:t>
            </a:r>
          </a:p>
        </p:txBody>
      </p:sp>
      <p:sp>
        <p:nvSpPr>
          <p:cNvPr id="573442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444923" eaLnBrk="0" fontAlgn="base" hangingPunct="0">
              <a:spcBef>
                <a:spcPct val="0"/>
              </a:spcBef>
              <a:spcAft>
                <a:spcPct val="0"/>
              </a:spcAft>
            </a:pPr>
            <a:fld id="{DF980DE8-FFC3-46F2-8EEF-20747B3D833A}" type="slidenum">
              <a:rPr lang="en-US" sz="600">
                <a:solidFill>
                  <a:prstClr val="black"/>
                </a:solidFill>
                <a:latin typeface="Arial Unicode MS" pitchFamily="34" charset="-128"/>
                <a:cs typeface="Arial" charset="0"/>
              </a:rPr>
              <a:pPr defTabSz="444923" eaLnBrk="0" fontAlgn="base" hangingPunct="0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US" sz="600" dirty="0">
              <a:solidFill>
                <a:prstClr val="black"/>
              </a:solidFill>
              <a:latin typeface="Arial Unicode MS" pitchFamily="34" charset="-128"/>
              <a:cs typeface="Arial" charset="0"/>
            </a:endParaRPr>
          </a:p>
        </p:txBody>
      </p:sp>
      <p:sp>
        <p:nvSpPr>
          <p:cNvPr id="573443" name="Rectangle 10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0" y="5"/>
            <a:ext cx="2946557" cy="49339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lIns="90819" tIns="45407" rIns="90819" bIns="45407" numCol="1" anchor="t" anchorCtr="0" compatLnSpc="1">
            <a:prstTxWarp prst="textNoShape">
              <a:avLst/>
            </a:prstTxWarp>
          </a:bodyPr>
          <a:lstStyle/>
          <a:p>
            <a:pPr defTabSz="44492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prstClr val="black"/>
                </a:solidFill>
                <a:latin typeface="Arial Unicode MS" pitchFamily="34" charset="-128"/>
                <a:cs typeface="Arial" charset="0"/>
              </a:rPr>
              <a:t>Autor / Thema der Präsentation</a:t>
            </a:r>
          </a:p>
        </p:txBody>
      </p:sp>
      <p:sp>
        <p:nvSpPr>
          <p:cNvPr id="573444" name="Rectangle 10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58788" y="815975"/>
            <a:ext cx="4933950" cy="37004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45" name="Rectangle 11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de-DE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peaker note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59715C-94BD-44DE-8C64-A99B034112EE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76908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peaker note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59715C-94BD-44DE-8C64-A99B034112EE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76908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96975" y="785813"/>
            <a:ext cx="4403725" cy="3302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B94BF-93ED-46FF-8111-155E9886B4E0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5182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17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2560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1863" y="739775"/>
            <a:ext cx="4933950" cy="3700463"/>
          </a:xfrm>
          <a:ln/>
        </p:spPr>
      </p:sp>
      <p:sp>
        <p:nvSpPr>
          <p:cNvPr id="276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65" y="4689017"/>
            <a:ext cx="5438748" cy="44440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1863" y="739775"/>
            <a:ext cx="4933950" cy="3700463"/>
          </a:xfrm>
          <a:ln/>
        </p:spPr>
      </p:sp>
      <p:sp>
        <p:nvSpPr>
          <p:cNvPr id="276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65" y="4689017"/>
            <a:ext cx="5438748" cy="44440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z="80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de-DE" sz="800">
                <a:solidFill>
                  <a:schemeClr val="bg2"/>
                </a:solidFill>
              </a:rPr>
              <a:pPr/>
              <a:t>6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4900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z="80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de-DE" sz="800">
                <a:solidFill>
                  <a:schemeClr val="bg2"/>
                </a:solidFill>
              </a:rPr>
              <a:pPr/>
              <a:t>7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8469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z="80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de-DE" sz="800">
                <a:solidFill>
                  <a:schemeClr val="bg2"/>
                </a:solidFill>
              </a:rPr>
              <a:pPr/>
              <a:t>8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32470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z="80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de-DE" sz="800">
                <a:solidFill>
                  <a:schemeClr val="bg2"/>
                </a:solidFill>
              </a:rPr>
              <a:pPr/>
              <a:t>9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91824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z="80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de-DE" sz="800">
                <a:solidFill>
                  <a:schemeClr val="bg2"/>
                </a:solidFill>
              </a:rPr>
              <a:pPr/>
              <a:t>10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91824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z="80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de-DE" sz="800">
                <a:solidFill>
                  <a:schemeClr val="bg2"/>
                </a:solidFill>
              </a:rPr>
              <a:pPr/>
              <a:t>11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636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528" y="2205038"/>
            <a:ext cx="8496943" cy="1584002"/>
          </a:xfrm>
        </p:spPr>
        <p:txBody>
          <a:bodyPr anchor="b"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529" y="3861048"/>
            <a:ext cx="8496944" cy="1439615"/>
          </a:xfr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 b="0">
                <a:solidFill>
                  <a:schemeClr val="tx2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lick to add 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6237312"/>
            <a:ext cx="849694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6597650"/>
            <a:ext cx="9144000" cy="2603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6" name="Gruppieren 5"/>
          <p:cNvGrpSpPr/>
          <p:nvPr/>
        </p:nvGrpSpPr>
        <p:grpSpPr bwMode="gray">
          <a:xfrm>
            <a:off x="-324680" y="908650"/>
            <a:ext cx="216030" cy="5688790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6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323410" y="6957490"/>
            <a:ext cx="8496740" cy="216030"/>
            <a:chOff x="323850" y="-531550"/>
            <a:chExt cx="8496740" cy="432060"/>
          </a:xfrm>
        </p:grpSpPr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en 8"/>
          <p:cNvGrpSpPr/>
          <p:nvPr/>
        </p:nvGrpSpPr>
        <p:grpSpPr bwMode="gray">
          <a:xfrm>
            <a:off x="9252650" y="908650"/>
            <a:ext cx="216030" cy="5688790"/>
            <a:chOff x="-540710" y="908650"/>
            <a:chExt cx="432060" cy="5688790"/>
          </a:xfrm>
        </p:grpSpPr>
        <p:cxnSp>
          <p:nvCxnSpPr>
            <p:cNvPr id="22" name="Gerade Verbindung 21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323528" y="1124680"/>
            <a:ext cx="8496944" cy="2664683"/>
          </a:xfrm>
        </p:spPr>
        <p:txBody>
          <a:bodyPr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-324680" y="-315520"/>
            <a:ext cx="9793360" cy="7489040"/>
            <a:chOff x="-324680" y="-315520"/>
            <a:chExt cx="9793360" cy="7489040"/>
          </a:xfrm>
        </p:grpSpPr>
        <p:grpSp>
          <p:nvGrpSpPr>
            <p:cNvPr id="6" name="Gruppieren 5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6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5" name="Gerade Verbindung 34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2" name="Gerade Verbindung 21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1123950"/>
            <a:ext cx="8496622" cy="2665413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6" name="Gruppieren 5"/>
          <p:cNvGrpSpPr/>
          <p:nvPr userDrawn="1"/>
        </p:nvGrpSpPr>
        <p:grpSpPr bwMode="gray">
          <a:xfrm>
            <a:off x="-324680" y="-315520"/>
            <a:ext cx="9793360" cy="7489040"/>
            <a:chOff x="-324680" y="-315520"/>
            <a:chExt cx="9793360" cy="7489040"/>
          </a:xfrm>
        </p:grpSpPr>
        <p:grpSp>
          <p:nvGrpSpPr>
            <p:cNvPr id="7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5" name="Title 64"/>
          <p:cNvSpPr>
            <a:spLocks noGrp="1"/>
          </p:cNvSpPr>
          <p:nvPr>
            <p:ph type="title" hasCustomPrompt="1"/>
          </p:nvPr>
        </p:nvSpPr>
        <p:spPr bwMode="gray">
          <a:xfrm>
            <a:off x="323850" y="1123950"/>
            <a:ext cx="8496622" cy="2665413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4000" y="3284538"/>
            <a:ext cx="1296144" cy="20167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644009" y="3284538"/>
            <a:ext cx="1296144" cy="20167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65318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422114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3284539"/>
            <a:ext cx="2736304" cy="93660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86921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508523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084168" y="4653189"/>
            <a:ext cx="2736304" cy="21602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168" y="422114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168" y="3284538"/>
            <a:ext cx="2736304" cy="93660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168" y="486921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168" y="508523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323850" y="2205038"/>
            <a:ext cx="1295400" cy="2016050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5" name="Picture Placehold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4645025" y="2205038"/>
            <a:ext cx="1295400" cy="2016050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763609" y="3573016"/>
            <a:ext cx="2736953" cy="21602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dirty="0" smtClean="0"/>
              <a:t>[phone number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763688" y="3140968"/>
            <a:ext cx="273687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763688" y="2205038"/>
            <a:ext cx="2736304" cy="93593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763687" y="3789040"/>
            <a:ext cx="273687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763767" y="4005064"/>
            <a:ext cx="2736226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168" y="357301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084168" y="3140968"/>
            <a:ext cx="2736304" cy="21676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084168" y="2205038"/>
            <a:ext cx="2736304" cy="93593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084168" y="3789040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084168" y="4005064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323528" y="4365625"/>
            <a:ext cx="1295400" cy="2015703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57" name="Picture Placehold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4644703" y="4365625"/>
            <a:ext cx="1295400" cy="2015703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763688" y="5733733"/>
            <a:ext cx="273687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763688" y="5301209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763688" y="4365625"/>
            <a:ext cx="2736304" cy="93558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1763688" y="5949236"/>
            <a:ext cx="273687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62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63688" y="6164739"/>
            <a:ext cx="273687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168" y="5733743"/>
            <a:ext cx="273630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084168" y="5301209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168" y="4365625"/>
            <a:ext cx="2736304" cy="93558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84168" y="5949246"/>
            <a:ext cx="273630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084168" y="6164749"/>
            <a:ext cx="273630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528" y="1123950"/>
            <a:ext cx="8496944" cy="2665413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o add tex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6237312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324680" y="-315520"/>
            <a:ext cx="9793360" cy="7489040"/>
            <a:chOff x="-324680" y="-315520"/>
            <a:chExt cx="9793360" cy="7489040"/>
          </a:xfrm>
        </p:grpSpPr>
        <p:grpSp>
          <p:nvGrpSpPr>
            <p:cNvPr id="7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6021288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88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noProof="0" smtClean="0"/>
              <a:t>[Source information]</a:t>
            </a:r>
            <a:endParaRPr lang="de-DE" noProof="0" dirty="0" smtClean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smtClean="0"/>
              <a:t>Click to add 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635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05033"/>
            <a:ext cx="8496300" cy="192616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3787926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sz="quarter"/>
          </p:nvPr>
        </p:nvSpPr>
        <p:spPr>
          <a:xfrm>
            <a:off x="250825" y="333375"/>
            <a:ext cx="8674100" cy="7921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250825" y="1557338"/>
            <a:ext cx="4244975" cy="201136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648200" y="1557338"/>
            <a:ext cx="4244975" cy="201136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250825" y="3721100"/>
            <a:ext cx="4244975" cy="201295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8200" y="3721100"/>
            <a:ext cx="4244975" cy="201295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250825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C86E0F-2B35-4F58-8A87-9121A810A9E0}" type="datetimeFigureOut">
              <a:rPr lang="de-DE"/>
              <a:pPr>
                <a:defRPr/>
              </a:pPr>
              <a:t>28.01.2014</a:t>
            </a:fld>
            <a:endParaRPr lang="de-DE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2627313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5940425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E784AA-221B-4B67-B1EB-42813BAF9BD4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1399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icture Placeholder 67"/>
          <p:cNvSpPr>
            <a:spLocks noGrp="1"/>
          </p:cNvSpPr>
          <p:nvPr>
            <p:ph type="pic" sz="quarter" idx="12"/>
          </p:nvPr>
        </p:nvSpPr>
        <p:spPr bwMode="gray">
          <a:xfrm>
            <a:off x="323528" y="1123950"/>
            <a:ext cx="8496944" cy="5473402"/>
          </a:xfrm>
          <a:noFill/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544" y="2420888"/>
            <a:ext cx="8208912" cy="1368152"/>
          </a:xfrm>
        </p:spPr>
        <p:txBody>
          <a:bodyPr anchor="b"/>
          <a:lstStyle>
            <a:lvl1pPr>
              <a:defRPr sz="40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7543" y="3861048"/>
            <a:ext cx="8208913" cy="1512168"/>
          </a:xfr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  <a:p>
            <a:endParaRPr lang="en-US" dirty="0" smtClean="0"/>
          </a:p>
        </p:txBody>
      </p:sp>
      <p:grpSp>
        <p:nvGrpSpPr>
          <p:cNvPr id="10" name="Gruppieren 9"/>
          <p:cNvGrpSpPr/>
          <p:nvPr userDrawn="1"/>
        </p:nvGrpSpPr>
        <p:grpSpPr bwMode="gray">
          <a:xfrm>
            <a:off x="-324550" y="908650"/>
            <a:ext cx="216030" cy="5688790"/>
            <a:chOff x="-540710" y="908650"/>
            <a:chExt cx="432060" cy="5688790"/>
          </a:xfrm>
        </p:grpSpPr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uppieren 28"/>
          <p:cNvGrpSpPr/>
          <p:nvPr userDrawn="1"/>
        </p:nvGrpSpPr>
        <p:grpSpPr bwMode="gray">
          <a:xfrm>
            <a:off x="323410" y="6957490"/>
            <a:ext cx="8496740" cy="216030"/>
            <a:chOff x="323850" y="-531550"/>
            <a:chExt cx="8496740" cy="432060"/>
          </a:xfrm>
        </p:grpSpPr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/>
          <p:cNvGrpSpPr/>
          <p:nvPr userDrawn="1"/>
        </p:nvGrpSpPr>
        <p:grpSpPr bwMode="gray">
          <a:xfrm>
            <a:off x="9252650" y="908650"/>
            <a:ext cx="216030" cy="5688790"/>
            <a:chOff x="-540710" y="908650"/>
            <a:chExt cx="432060" cy="5688790"/>
          </a:xfrm>
        </p:grpSpPr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Rechteck 55"/>
          <p:cNvSpPr/>
          <p:nvPr userDrawn="1"/>
        </p:nvSpPr>
        <p:spPr bwMode="gray">
          <a:xfrm>
            <a:off x="0" y="6597650"/>
            <a:ext cx="9144000" cy="2603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0" y="6237312"/>
            <a:ext cx="8209140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528" y="1052736"/>
            <a:ext cx="8496944" cy="5328592"/>
          </a:xfrm>
        </p:spPr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800">
                <a:latin typeface="Arial" pitchFamily="34" charset="0"/>
              </a:defRPr>
            </a:lvl1pPr>
            <a:lvl2pPr marL="360000" indent="0">
              <a:spcBef>
                <a:spcPts val="300"/>
              </a:spcBef>
              <a:spcAft>
                <a:spcPts val="1200"/>
              </a:spcAft>
              <a:buClr>
                <a:schemeClr val="bg2"/>
              </a:buClr>
              <a:buFont typeface="+mj-lt"/>
              <a:buNone/>
              <a:defRPr sz="1800">
                <a:solidFill>
                  <a:schemeClr val="tx1"/>
                </a:solidFill>
                <a:latin typeface="Arial" pitchFamily="34" charset="0"/>
              </a:defRPr>
            </a:lvl2pPr>
            <a:lvl3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  <a:latin typeface="Arial" pitchFamily="34" charset="0"/>
              </a:defRPr>
            </a:lvl3pPr>
            <a:lvl4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Aft>
                <a:spcPts val="1200"/>
              </a:spcAft>
              <a:buFontTx/>
              <a:buNone/>
              <a:defRPr sz="1800" b="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endParaRPr lang="en-US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22024" y="6597352"/>
            <a:ext cx="1298448" cy="1463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800" smtClean="0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algn="r"/>
            <a:fld id="{1BDBE1E8-50F2-49BA-A952-1CC1DEAA5FBD}" type="slidenum">
              <a:rPr lang="en-US" smtClean="0"/>
              <a:pPr algn="r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2205038"/>
            <a:ext cx="9144000" cy="2447924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324680" y="908650"/>
            <a:ext cx="216030" cy="5688790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 userDrawn="1"/>
        </p:nvGrpSpPr>
        <p:grpSpPr bwMode="gray">
          <a:xfrm>
            <a:off x="323410" y="6957490"/>
            <a:ext cx="8496740" cy="216030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 userDrawn="1"/>
        </p:nvGrpSpPr>
        <p:grpSpPr bwMode="gray">
          <a:xfrm>
            <a:off x="9252650" y="908650"/>
            <a:ext cx="216030" cy="5688790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hteck 2"/>
          <p:cNvSpPr/>
          <p:nvPr userDrawn="1"/>
        </p:nvSpPr>
        <p:spPr bwMode="gray">
          <a:xfrm>
            <a:off x="0" y="0"/>
            <a:ext cx="9144000" cy="213285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9605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ing doc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 userDrawn="1"/>
        </p:nvSpPr>
        <p:spPr bwMode="gray">
          <a:xfrm>
            <a:off x="0" y="2636912"/>
            <a:ext cx="9144000" cy="72008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0" y="2708920"/>
            <a:ext cx="9144000" cy="1440160"/>
          </a:xfrm>
        </p:spPr>
        <p:txBody>
          <a:bodyPr lIns="324000" rIns="324000" bIns="0" anchor="ctr"/>
          <a:lstStyle>
            <a:lvl1pPr>
              <a:defRPr sz="3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324680" y="908650"/>
            <a:ext cx="216030" cy="5688790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 userDrawn="1"/>
        </p:nvGrpSpPr>
        <p:grpSpPr bwMode="gray">
          <a:xfrm>
            <a:off x="323410" y="6957490"/>
            <a:ext cx="8496740" cy="216030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 userDrawn="1"/>
        </p:nvGrpSpPr>
        <p:grpSpPr bwMode="gray">
          <a:xfrm>
            <a:off x="9252650" y="908650"/>
            <a:ext cx="216030" cy="5688790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Rechteck 66"/>
          <p:cNvSpPr/>
          <p:nvPr userDrawn="1"/>
        </p:nvSpPr>
        <p:spPr bwMode="gray">
          <a:xfrm>
            <a:off x="0" y="4149080"/>
            <a:ext cx="9144000" cy="72008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0" y="0"/>
            <a:ext cx="9144000" cy="263691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1137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88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88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add text</a:t>
            </a:r>
            <a:endParaRPr lang="en-GB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88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8" y="1052736"/>
            <a:ext cx="4177035" cy="5328592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644010" y="1052736"/>
            <a:ext cx="4177035" cy="5328592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88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8" y="1052736"/>
            <a:ext cx="2735585" cy="5328592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3203810" y="1052670"/>
            <a:ext cx="2735585" cy="5328592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6084210" y="1052604"/>
            <a:ext cx="2735585" cy="5328592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068451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170863" y="260560"/>
            <a:ext cx="649287" cy="649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0" y="260648"/>
            <a:ext cx="6335713" cy="6474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smtClean="0"/>
              <a:t>Click to add text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323528" y="1052736"/>
            <a:ext cx="8496944" cy="532859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4" name="VCT_Marker_ID_4" hidden="1"/>
          <p:cNvSpPr/>
          <p:nvPr>
            <p:custDataLst>
              <p:tags r:id="rId21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2" name="Gruppieren 11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/>
        </p:nvGrpSpPr>
        <p:grpSpPr bwMode="gray">
          <a:xfrm>
            <a:off x="323410" y="6957490"/>
            <a:ext cx="8496740" cy="216030"/>
            <a:chOff x="323850" y="-531550"/>
            <a:chExt cx="8496740" cy="43206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uppieren 57"/>
          <p:cNvGrpSpPr/>
          <p:nvPr/>
        </p:nvGrpSpPr>
        <p:grpSpPr bwMode="gray">
          <a:xfrm>
            <a:off x="9252650" y="908562"/>
            <a:ext cx="216030" cy="5688790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uppieren 55"/>
          <p:cNvGrpSpPr/>
          <p:nvPr/>
        </p:nvGrpSpPr>
        <p:grpSpPr bwMode="gray">
          <a:xfrm>
            <a:off x="-324550" y="908650"/>
            <a:ext cx="216030" cy="5688790"/>
            <a:chOff x="-540710" y="908650"/>
            <a:chExt cx="432060" cy="5688790"/>
          </a:xfrm>
        </p:grpSpPr>
        <p:cxnSp>
          <p:nvCxnSpPr>
            <p:cNvPr id="57" name="Gerade Verbindung 56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hteck 13"/>
          <p:cNvSpPr/>
          <p:nvPr/>
        </p:nvSpPr>
        <p:spPr bwMode="gray">
          <a:xfrm>
            <a:off x="324390" y="659744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© GfK 2014 | January  2014</a:t>
            </a:r>
          </a:p>
        </p:txBody>
      </p:sp>
      <p:sp>
        <p:nvSpPr>
          <p:cNvPr id="75" name="Rechteck 74"/>
          <p:cNvSpPr/>
          <p:nvPr/>
        </p:nvSpPr>
        <p:spPr bwMode="gray">
          <a:xfrm>
            <a:off x="7523970" y="6597440"/>
            <a:ext cx="129662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C2ABCC37-C314-4D17-9583-6D754EDEC568}" type="slidenum">
              <a:rPr lang="en-US" sz="800" noProof="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noProof="0" smtClean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9" r:id="rId3"/>
    <p:sldLayoutId id="2147483676" r:id="rId4"/>
    <p:sldLayoutId id="2147483677" r:id="rId5"/>
    <p:sldLayoutId id="2147483654" r:id="rId6"/>
    <p:sldLayoutId id="2147483650" r:id="rId7"/>
    <p:sldLayoutId id="2147483652" r:id="rId8"/>
    <p:sldLayoutId id="2147483675" r:id="rId9"/>
    <p:sldLayoutId id="2147483664" r:id="rId10"/>
    <p:sldLayoutId id="2147483673" r:id="rId11"/>
    <p:sldLayoutId id="2147483665" r:id="rId12"/>
    <p:sldLayoutId id="2147483668" r:id="rId13"/>
    <p:sldLayoutId id="2147483670" r:id="rId14"/>
    <p:sldLayoutId id="2147483671" r:id="rId15"/>
    <p:sldLayoutId id="2147483692" r:id="rId16"/>
    <p:sldLayoutId id="2147483734" r:id="rId17"/>
    <p:sldLayoutId id="2147483735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8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097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6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292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9.jpeg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26" Type="http://schemas.openxmlformats.org/officeDocument/2006/relationships/tags" Target="../tags/tag57.xml"/><Relationship Id="rId39" Type="http://schemas.openxmlformats.org/officeDocument/2006/relationships/oleObject" Target="../embeddings/oleObject6.bin"/><Relationship Id="rId21" Type="http://schemas.openxmlformats.org/officeDocument/2006/relationships/tags" Target="../tags/tag52.xml"/><Relationship Id="rId34" Type="http://schemas.openxmlformats.org/officeDocument/2006/relationships/slideLayout" Target="../slideLayouts/slideLayout16.xml"/><Relationship Id="rId42" Type="http://schemas.openxmlformats.org/officeDocument/2006/relationships/image" Target="../media/image12.emf"/><Relationship Id="rId47" Type="http://schemas.openxmlformats.org/officeDocument/2006/relationships/image" Target="../media/image14.emf"/><Relationship Id="rId50" Type="http://schemas.openxmlformats.org/officeDocument/2006/relationships/image" Target="../media/image20.emf"/><Relationship Id="rId55" Type="http://schemas.openxmlformats.org/officeDocument/2006/relationships/image" Target="../media/image23.emf"/><Relationship Id="rId63" Type="http://schemas.openxmlformats.org/officeDocument/2006/relationships/image" Target="../media/image27.emf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29" Type="http://schemas.openxmlformats.org/officeDocument/2006/relationships/tags" Target="../tags/tag60.xml"/><Relationship Id="rId41" Type="http://schemas.openxmlformats.org/officeDocument/2006/relationships/oleObject" Target="../embeddings/oleObject7.bin"/><Relationship Id="rId54" Type="http://schemas.openxmlformats.org/officeDocument/2006/relationships/image" Target="../media/image22.emf"/><Relationship Id="rId62" Type="http://schemas.openxmlformats.org/officeDocument/2006/relationships/image" Target="../media/image18.emf"/><Relationship Id="rId1" Type="http://schemas.openxmlformats.org/officeDocument/2006/relationships/vmlDrawing" Target="../drawings/vmlDrawing5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tags" Target="../tags/tag55.xml"/><Relationship Id="rId32" Type="http://schemas.openxmlformats.org/officeDocument/2006/relationships/tags" Target="../tags/tag63.xml"/><Relationship Id="rId37" Type="http://schemas.openxmlformats.org/officeDocument/2006/relationships/oleObject" Target="../embeddings/oleObject5.bin"/><Relationship Id="rId40" Type="http://schemas.openxmlformats.org/officeDocument/2006/relationships/image" Target="../media/image11.emf"/><Relationship Id="rId45" Type="http://schemas.openxmlformats.org/officeDocument/2006/relationships/image" Target="../media/image13.emf"/><Relationship Id="rId53" Type="http://schemas.openxmlformats.org/officeDocument/2006/relationships/image" Target="../media/image21.emf"/><Relationship Id="rId58" Type="http://schemas.openxmlformats.org/officeDocument/2006/relationships/oleObject" Target="../embeddings/oleObject12.bin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23" Type="http://schemas.openxmlformats.org/officeDocument/2006/relationships/tags" Target="../tags/tag54.xml"/><Relationship Id="rId28" Type="http://schemas.openxmlformats.org/officeDocument/2006/relationships/tags" Target="../tags/tag59.xml"/><Relationship Id="rId36" Type="http://schemas.openxmlformats.org/officeDocument/2006/relationships/image" Target="../media/image8.emf"/><Relationship Id="rId49" Type="http://schemas.openxmlformats.org/officeDocument/2006/relationships/image" Target="../media/image15.emf"/><Relationship Id="rId57" Type="http://schemas.openxmlformats.org/officeDocument/2006/relationships/image" Target="../media/image25.emf"/><Relationship Id="rId61" Type="http://schemas.openxmlformats.org/officeDocument/2006/relationships/oleObject" Target="../embeddings/oleObject13.bin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31" Type="http://schemas.openxmlformats.org/officeDocument/2006/relationships/tags" Target="../tags/tag62.xml"/><Relationship Id="rId44" Type="http://schemas.openxmlformats.org/officeDocument/2006/relationships/oleObject" Target="../embeddings/oleObject8.bin"/><Relationship Id="rId52" Type="http://schemas.openxmlformats.org/officeDocument/2006/relationships/image" Target="../media/image16.emf"/><Relationship Id="rId60" Type="http://schemas.openxmlformats.org/officeDocument/2006/relationships/image" Target="../media/image26.emf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Relationship Id="rId27" Type="http://schemas.openxmlformats.org/officeDocument/2006/relationships/tags" Target="../tags/tag58.xml"/><Relationship Id="rId30" Type="http://schemas.openxmlformats.org/officeDocument/2006/relationships/tags" Target="../tags/tag61.xml"/><Relationship Id="rId35" Type="http://schemas.openxmlformats.org/officeDocument/2006/relationships/notesSlide" Target="../notesSlides/notesSlide9.xml"/><Relationship Id="rId43" Type="http://schemas.openxmlformats.org/officeDocument/2006/relationships/image" Target="../media/image19.emf"/><Relationship Id="rId48" Type="http://schemas.openxmlformats.org/officeDocument/2006/relationships/oleObject" Target="../embeddings/oleObject10.bin"/><Relationship Id="rId56" Type="http://schemas.openxmlformats.org/officeDocument/2006/relationships/image" Target="../media/image24.emf"/><Relationship Id="rId8" Type="http://schemas.openxmlformats.org/officeDocument/2006/relationships/tags" Target="../tags/tag39.xml"/><Relationship Id="rId51" Type="http://schemas.openxmlformats.org/officeDocument/2006/relationships/oleObject" Target="../embeddings/oleObject11.bin"/><Relationship Id="rId3" Type="http://schemas.openxmlformats.org/officeDocument/2006/relationships/tags" Target="../tags/tag34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tags" Target="../tags/tag56.xml"/><Relationship Id="rId33" Type="http://schemas.openxmlformats.org/officeDocument/2006/relationships/tags" Target="../tags/tag64.xml"/><Relationship Id="rId38" Type="http://schemas.openxmlformats.org/officeDocument/2006/relationships/image" Target="../media/image10.emf"/><Relationship Id="rId46" Type="http://schemas.openxmlformats.org/officeDocument/2006/relationships/oleObject" Target="../embeddings/oleObject9.bin"/><Relationship Id="rId59" Type="http://schemas.openxmlformats.org/officeDocument/2006/relationships/image" Target="../media/image17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26" Type="http://schemas.openxmlformats.org/officeDocument/2006/relationships/tags" Target="../tags/tag89.xml"/><Relationship Id="rId39" Type="http://schemas.openxmlformats.org/officeDocument/2006/relationships/chart" Target="../charts/chart12.xml"/><Relationship Id="rId3" Type="http://schemas.openxmlformats.org/officeDocument/2006/relationships/tags" Target="../tags/tag66.xml"/><Relationship Id="rId21" Type="http://schemas.openxmlformats.org/officeDocument/2006/relationships/tags" Target="../tags/tag84.xml"/><Relationship Id="rId34" Type="http://schemas.openxmlformats.org/officeDocument/2006/relationships/oleObject" Target="../embeddings/oleObject14.bin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5" Type="http://schemas.openxmlformats.org/officeDocument/2006/relationships/tags" Target="../tags/tag88.xml"/><Relationship Id="rId33" Type="http://schemas.openxmlformats.org/officeDocument/2006/relationships/notesSlide" Target="../notesSlides/notesSlide11.xml"/><Relationship Id="rId38" Type="http://schemas.openxmlformats.org/officeDocument/2006/relationships/chart" Target="../charts/chart11.xml"/><Relationship Id="rId2" Type="http://schemas.openxmlformats.org/officeDocument/2006/relationships/tags" Target="../tags/tag65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29" Type="http://schemas.openxmlformats.org/officeDocument/2006/relationships/tags" Target="../tags/tag92.xml"/><Relationship Id="rId1" Type="http://schemas.openxmlformats.org/officeDocument/2006/relationships/vmlDrawing" Target="../drawings/vmlDrawing6.v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tags" Target="../tags/tag87.xml"/><Relationship Id="rId32" Type="http://schemas.openxmlformats.org/officeDocument/2006/relationships/slideLayout" Target="../slideLayouts/slideLayout16.xml"/><Relationship Id="rId37" Type="http://schemas.openxmlformats.org/officeDocument/2006/relationships/chart" Target="../charts/chart10.xml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tags" Target="../tags/tag86.xml"/><Relationship Id="rId28" Type="http://schemas.openxmlformats.org/officeDocument/2006/relationships/tags" Target="../tags/tag91.xml"/><Relationship Id="rId36" Type="http://schemas.openxmlformats.org/officeDocument/2006/relationships/chart" Target="../charts/chart9.xml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31" Type="http://schemas.openxmlformats.org/officeDocument/2006/relationships/tags" Target="../tags/tag94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tags" Target="../tags/tag85.xml"/><Relationship Id="rId27" Type="http://schemas.openxmlformats.org/officeDocument/2006/relationships/tags" Target="../tags/tag90.xml"/><Relationship Id="rId30" Type="http://schemas.openxmlformats.org/officeDocument/2006/relationships/tags" Target="../tags/tag93.xml"/><Relationship Id="rId35" Type="http://schemas.openxmlformats.org/officeDocument/2006/relationships/image" Target="../media/image28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9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7.vml"/><Relationship Id="rId6" Type="http://schemas.openxmlformats.org/officeDocument/2006/relationships/tags" Target="../tags/tag99.xml"/><Relationship Id="rId11" Type="http://schemas.openxmlformats.org/officeDocument/2006/relationships/image" Target="../media/image8.emf"/><Relationship Id="rId5" Type="http://schemas.openxmlformats.org/officeDocument/2006/relationships/tags" Target="../tags/tag98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97.xml"/><Relationship Id="rId9" Type="http://schemas.openxmlformats.org/officeDocument/2006/relationships/chart" Target="../charts/char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101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8.vml"/><Relationship Id="rId6" Type="http://schemas.openxmlformats.org/officeDocument/2006/relationships/tags" Target="../tags/tag104.xml"/><Relationship Id="rId11" Type="http://schemas.openxmlformats.org/officeDocument/2006/relationships/chart" Target="../charts/chart14.xml"/><Relationship Id="rId5" Type="http://schemas.openxmlformats.org/officeDocument/2006/relationships/tags" Target="../tags/tag103.xml"/><Relationship Id="rId10" Type="http://schemas.openxmlformats.org/officeDocument/2006/relationships/image" Target="../media/image8.emf"/><Relationship Id="rId4" Type="http://schemas.openxmlformats.org/officeDocument/2006/relationships/tags" Target="../tags/tag102.xml"/><Relationship Id="rId9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3" Type="http://schemas.openxmlformats.org/officeDocument/2006/relationships/tags" Target="../tags/tag106.xml"/><Relationship Id="rId21" Type="http://schemas.openxmlformats.org/officeDocument/2006/relationships/oleObject" Target="../embeddings/oleObject17.bin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20" Type="http://schemas.openxmlformats.org/officeDocument/2006/relationships/notesSlide" Target="../notesSlides/notesSlide14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10" Type="http://schemas.openxmlformats.org/officeDocument/2006/relationships/tags" Target="../tags/tag113.xml"/><Relationship Id="rId19" Type="http://schemas.openxmlformats.org/officeDocument/2006/relationships/slideLayout" Target="../slideLayouts/slideLayout16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Relationship Id="rId22" Type="http://schemas.openxmlformats.org/officeDocument/2006/relationships/image" Target="../media/image29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30.jpeg"/><Relationship Id="rId5" Type="http://schemas.openxmlformats.org/officeDocument/2006/relationships/hyperlink" Target="http://www.gfk.com/at" TargetMode="External"/><Relationship Id="rId4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oleObject" Target="../embeddings/oleObject1.bin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34" Type="http://schemas.openxmlformats.org/officeDocument/2006/relationships/chart" Target="../charts/chart7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notesSlide" Target="../notesSlides/notesSlide4.xml"/><Relationship Id="rId33" Type="http://schemas.openxmlformats.org/officeDocument/2006/relationships/chart" Target="../charts/chart6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chart" Target="../charts/chart2.xml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slideLayout" Target="../slideLayouts/slideLayout16.xml"/><Relationship Id="rId32" Type="http://schemas.openxmlformats.org/officeDocument/2006/relationships/chart" Target="../charts/chart5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chart" Target="../charts/chart1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chart" Target="../charts/chart4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image" Target="../media/image8.emf"/><Relationship Id="rId30" Type="http://schemas.openxmlformats.org/officeDocument/2006/relationships/chart" Target="../charts/chart3.xml"/><Relationship Id="rId35" Type="http://schemas.openxmlformats.org/officeDocument/2006/relationships/chart" Target="../charts/chart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7.xml"/><Relationship Id="rId7" Type="http://schemas.openxmlformats.org/officeDocument/2006/relationships/oleObject" Target="../embeddings/oleObject2.bin"/><Relationship Id="rId2" Type="http://schemas.openxmlformats.org/officeDocument/2006/relationships/tags" Target="../tags/tag26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6.xml"/><Relationship Id="rId4" Type="http://schemas.openxmlformats.org/officeDocument/2006/relationships/tags" Target="../tags/tag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8.emf"/><Relationship Id="rId2" Type="http://schemas.openxmlformats.org/officeDocument/2006/relationships/tags" Target="../tags/tag29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8.emf"/><Relationship Id="rId2" Type="http://schemas.openxmlformats.org/officeDocument/2006/relationships/tags" Target="../tags/tag3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1916832"/>
            <a:ext cx="8496943" cy="1584002"/>
          </a:xfrm>
        </p:spPr>
        <p:txBody>
          <a:bodyPr/>
          <a:lstStyle/>
          <a:p>
            <a:r>
              <a:rPr lang="en-GB" sz="2800" dirty="0" smtClean="0"/>
              <a:t>Consumer Climate 2014 –</a:t>
            </a:r>
            <a:br>
              <a:rPr lang="en-GB" sz="2800" dirty="0" smtClean="0"/>
            </a:br>
            <a:r>
              <a:rPr lang="en-GB" sz="2800" dirty="0" smtClean="0"/>
              <a:t/>
            </a:r>
            <a:br>
              <a:rPr lang="en-GB" sz="2800" dirty="0" smtClean="0"/>
            </a:br>
            <a:r>
              <a:rPr lang="en-GB" sz="2800" dirty="0" smtClean="0"/>
              <a:t>opportunities and risks of digitization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3529" y="5373761"/>
            <a:ext cx="8496944" cy="1439615"/>
          </a:xfrm>
        </p:spPr>
        <p:txBody>
          <a:bodyPr/>
          <a:lstStyle/>
          <a:p>
            <a:r>
              <a:rPr lang="en-GB" dirty="0" smtClean="0"/>
              <a:t>Matthias Hartmann, CEO GfK S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Vienna, </a:t>
            </a:r>
            <a:r>
              <a:rPr lang="en-GB" dirty="0" err="1" smtClean="0"/>
              <a:t>Hofburg</a:t>
            </a:r>
            <a:r>
              <a:rPr lang="en-GB" dirty="0" smtClean="0"/>
              <a:t> </a:t>
            </a:r>
            <a:r>
              <a:rPr lang="en-GB" dirty="0"/>
              <a:t>| </a:t>
            </a:r>
            <a:r>
              <a:rPr lang="en-GB" dirty="0" smtClean="0"/>
              <a:t>January 29,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1901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Objekt 7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23850" y="6453188"/>
            <a:ext cx="8496300" cy="144462"/>
          </a:xfrm>
        </p:spPr>
        <p:txBody>
          <a:bodyPr/>
          <a:lstStyle/>
          <a:p>
            <a:r>
              <a:rPr lang="de-DE" dirty="0"/>
              <a:t>Source: GfK, EU-Commissio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... but also clear upward tendency in Europe</a:t>
            </a:r>
          </a:p>
        </p:txBody>
      </p:sp>
      <p:sp>
        <p:nvSpPr>
          <p:cNvPr id="78" name="Inhaltsplatzhalter 588914"/>
          <p:cNvSpPr txBox="1">
            <a:spLocks/>
          </p:cNvSpPr>
          <p:nvPr/>
        </p:nvSpPr>
        <p:spPr bwMode="gray">
          <a:xfrm>
            <a:off x="323850" y="1052736"/>
            <a:ext cx="1651093" cy="24622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de-DE" sz="1600" dirty="0" smtClean="0"/>
              <a:t>Willingness to buy</a:t>
            </a:r>
            <a:endParaRPr lang="de-DE" sz="1600" dirty="0"/>
          </a:p>
        </p:txBody>
      </p:sp>
      <p:pic>
        <p:nvPicPr>
          <p:cNvPr id="79" name="Grafik 78"/>
          <p:cNvPicPr/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0" y="1832017"/>
            <a:ext cx="9144000" cy="39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085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Objekt 76"/>
          <p:cNvPicPr>
            <a:picLocks noChangeAspect="1"/>
          </p:cNvPicPr>
          <p:nvPr/>
        </p:nvPicPr>
        <p:blipFill>
          <a:blip r:embed="rId36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10" name="Rechteck 9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0" name="RbLeanShape Left U-Shape 138"/>
          <p:cNvSpPr>
            <a:spLocks/>
          </p:cNvSpPr>
          <p:nvPr/>
        </p:nvSpPr>
        <p:spPr>
          <a:xfrm>
            <a:off x="323850" y="1947386"/>
            <a:ext cx="8496300" cy="4039346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gradFill flip="none" rotWithShape="1">
            <a:gsLst>
              <a:gs pos="0">
                <a:schemeClr val="bg2"/>
              </a:gs>
              <a:gs pos="53000">
                <a:schemeClr val="bg1"/>
              </a:gs>
            </a:gsLst>
            <a:lin ang="2700000" scaled="1"/>
            <a:tileRect/>
          </a:gradFill>
          <a:ln w="22225"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90000" rIns="0" bIns="0" rtlCol="0" anchor="t"/>
          <a:lstStyle/>
          <a:p>
            <a:pPr fontAlgn="ctr"/>
            <a:endParaRPr lang="de-DE" sz="1300" b="1"/>
          </a:p>
        </p:txBody>
      </p:sp>
      <p:grpSp>
        <p:nvGrpSpPr>
          <p:cNvPr id="191" name="Gruppieren 190"/>
          <p:cNvGrpSpPr/>
          <p:nvPr/>
        </p:nvGrpSpPr>
        <p:grpSpPr>
          <a:xfrm>
            <a:off x="1786450" y="2021777"/>
            <a:ext cx="5819560" cy="4376529"/>
            <a:chOff x="2718336" y="2182483"/>
            <a:chExt cx="3974838" cy="3616966"/>
          </a:xfrm>
          <a:noFill/>
        </p:grpSpPr>
        <p:sp>
          <p:nvSpPr>
            <p:cNvPr id="192" name="Freeform 2"/>
            <p:cNvSpPr>
              <a:spLocks/>
            </p:cNvSpPr>
            <p:nvPr/>
          </p:nvSpPr>
          <p:spPr bwMode="auto">
            <a:xfrm>
              <a:off x="2718336" y="4267613"/>
              <a:ext cx="463630" cy="689247"/>
            </a:xfrm>
            <a:custGeom>
              <a:avLst/>
              <a:gdLst>
                <a:gd name="T0" fmla="*/ 2147483647 w 307"/>
                <a:gd name="T1" fmla="*/ 0 h 436"/>
                <a:gd name="T2" fmla="*/ 2147483647 w 307"/>
                <a:gd name="T3" fmla="*/ 2147483647 h 436"/>
                <a:gd name="T4" fmla="*/ 2147483647 w 307"/>
                <a:gd name="T5" fmla="*/ 2147483647 h 436"/>
                <a:gd name="T6" fmla="*/ 2147483647 w 307"/>
                <a:gd name="T7" fmla="*/ 2147483647 h 436"/>
                <a:gd name="T8" fmla="*/ 2147483647 w 307"/>
                <a:gd name="T9" fmla="*/ 2147483647 h 436"/>
                <a:gd name="T10" fmla="*/ 2147483647 w 307"/>
                <a:gd name="T11" fmla="*/ 2147483647 h 436"/>
                <a:gd name="T12" fmla="*/ 2147483647 w 307"/>
                <a:gd name="T13" fmla="*/ 2147483647 h 436"/>
                <a:gd name="T14" fmla="*/ 2147483647 w 307"/>
                <a:gd name="T15" fmla="*/ 2147483647 h 436"/>
                <a:gd name="T16" fmla="*/ 2147483647 w 307"/>
                <a:gd name="T17" fmla="*/ 2147483647 h 436"/>
                <a:gd name="T18" fmla="*/ 2147483647 w 307"/>
                <a:gd name="T19" fmla="*/ 2147483647 h 436"/>
                <a:gd name="T20" fmla="*/ 2147483647 w 307"/>
                <a:gd name="T21" fmla="*/ 2147483647 h 436"/>
                <a:gd name="T22" fmla="*/ 2147483647 w 307"/>
                <a:gd name="T23" fmla="*/ 2147483647 h 436"/>
                <a:gd name="T24" fmla="*/ 2147483647 w 307"/>
                <a:gd name="T25" fmla="*/ 2147483647 h 436"/>
                <a:gd name="T26" fmla="*/ 2147483647 w 307"/>
                <a:gd name="T27" fmla="*/ 2147483647 h 436"/>
                <a:gd name="T28" fmla="*/ 2147483647 w 307"/>
                <a:gd name="T29" fmla="*/ 2147483647 h 436"/>
                <a:gd name="T30" fmla="*/ 2147483647 w 307"/>
                <a:gd name="T31" fmla="*/ 2147483647 h 436"/>
                <a:gd name="T32" fmla="*/ 2147483647 w 307"/>
                <a:gd name="T33" fmla="*/ 2147483647 h 436"/>
                <a:gd name="T34" fmla="*/ 2147483647 w 307"/>
                <a:gd name="T35" fmla="*/ 2147483647 h 436"/>
                <a:gd name="T36" fmla="*/ 2147483647 w 307"/>
                <a:gd name="T37" fmla="*/ 2147483647 h 436"/>
                <a:gd name="T38" fmla="*/ 2147483647 w 307"/>
                <a:gd name="T39" fmla="*/ 2147483647 h 436"/>
                <a:gd name="T40" fmla="*/ 2147483647 w 307"/>
                <a:gd name="T41" fmla="*/ 2147483647 h 436"/>
                <a:gd name="T42" fmla="*/ 0 w 307"/>
                <a:gd name="T43" fmla="*/ 2147483647 h 436"/>
                <a:gd name="T44" fmla="*/ 2147483647 w 307"/>
                <a:gd name="T45" fmla="*/ 2147483647 h 436"/>
                <a:gd name="T46" fmla="*/ 2147483647 w 307"/>
                <a:gd name="T47" fmla="*/ 2147483647 h 436"/>
                <a:gd name="T48" fmla="*/ 2147483647 w 307"/>
                <a:gd name="T49" fmla="*/ 2147483647 h 436"/>
                <a:gd name="T50" fmla="*/ 2147483647 w 307"/>
                <a:gd name="T51" fmla="*/ 2147483647 h 436"/>
                <a:gd name="T52" fmla="*/ 2147483647 w 307"/>
                <a:gd name="T53" fmla="*/ 2147483647 h 436"/>
                <a:gd name="T54" fmla="*/ 2147483647 w 307"/>
                <a:gd name="T55" fmla="*/ 2147483647 h 436"/>
                <a:gd name="T56" fmla="*/ 2147483647 w 307"/>
                <a:gd name="T57" fmla="*/ 2147483647 h 436"/>
                <a:gd name="T58" fmla="*/ 2147483647 w 307"/>
                <a:gd name="T59" fmla="*/ 2147483647 h 436"/>
                <a:gd name="T60" fmla="*/ 2147483647 w 307"/>
                <a:gd name="T61" fmla="*/ 2147483647 h 436"/>
                <a:gd name="T62" fmla="*/ 2147483647 w 307"/>
                <a:gd name="T63" fmla="*/ 2147483647 h 436"/>
                <a:gd name="T64" fmla="*/ 2147483647 w 307"/>
                <a:gd name="T65" fmla="*/ 2147483647 h 436"/>
                <a:gd name="T66" fmla="*/ 2147483647 w 307"/>
                <a:gd name="T67" fmla="*/ 2147483647 h 436"/>
                <a:gd name="T68" fmla="*/ 2147483647 w 307"/>
                <a:gd name="T69" fmla="*/ 2147483647 h 4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07"/>
                <a:gd name="T106" fmla="*/ 0 h 436"/>
                <a:gd name="T107" fmla="*/ 307 w 307"/>
                <a:gd name="T108" fmla="*/ 436 h 4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07" h="436">
                  <a:moveTo>
                    <a:pt x="155" y="4"/>
                  </a:moveTo>
                  <a:lnTo>
                    <a:pt x="177" y="0"/>
                  </a:lnTo>
                  <a:lnTo>
                    <a:pt x="192" y="17"/>
                  </a:lnTo>
                  <a:lnTo>
                    <a:pt x="194" y="37"/>
                  </a:lnTo>
                  <a:lnTo>
                    <a:pt x="200" y="41"/>
                  </a:lnTo>
                  <a:lnTo>
                    <a:pt x="211" y="38"/>
                  </a:lnTo>
                  <a:lnTo>
                    <a:pt x="246" y="52"/>
                  </a:lnTo>
                  <a:lnTo>
                    <a:pt x="256" y="45"/>
                  </a:lnTo>
                  <a:lnTo>
                    <a:pt x="271" y="44"/>
                  </a:lnTo>
                  <a:lnTo>
                    <a:pt x="280" y="56"/>
                  </a:lnTo>
                  <a:lnTo>
                    <a:pt x="288" y="76"/>
                  </a:lnTo>
                  <a:lnTo>
                    <a:pt x="299" y="89"/>
                  </a:lnTo>
                  <a:lnTo>
                    <a:pt x="307" y="96"/>
                  </a:lnTo>
                  <a:lnTo>
                    <a:pt x="304" y="103"/>
                  </a:lnTo>
                  <a:lnTo>
                    <a:pt x="278" y="110"/>
                  </a:lnTo>
                  <a:lnTo>
                    <a:pt x="248" y="126"/>
                  </a:lnTo>
                  <a:lnTo>
                    <a:pt x="249" y="153"/>
                  </a:lnTo>
                  <a:lnTo>
                    <a:pt x="232" y="167"/>
                  </a:lnTo>
                  <a:lnTo>
                    <a:pt x="218" y="179"/>
                  </a:lnTo>
                  <a:lnTo>
                    <a:pt x="216" y="205"/>
                  </a:lnTo>
                  <a:lnTo>
                    <a:pt x="216" y="222"/>
                  </a:lnTo>
                  <a:lnTo>
                    <a:pt x="205" y="234"/>
                  </a:lnTo>
                  <a:lnTo>
                    <a:pt x="196" y="222"/>
                  </a:lnTo>
                  <a:lnTo>
                    <a:pt x="180" y="227"/>
                  </a:lnTo>
                  <a:lnTo>
                    <a:pt x="178" y="235"/>
                  </a:lnTo>
                  <a:lnTo>
                    <a:pt x="175" y="257"/>
                  </a:lnTo>
                  <a:lnTo>
                    <a:pt x="181" y="265"/>
                  </a:lnTo>
                  <a:lnTo>
                    <a:pt x="178" y="287"/>
                  </a:lnTo>
                  <a:lnTo>
                    <a:pt x="168" y="297"/>
                  </a:lnTo>
                  <a:lnTo>
                    <a:pt x="155" y="314"/>
                  </a:lnTo>
                  <a:lnTo>
                    <a:pt x="149" y="328"/>
                  </a:lnTo>
                  <a:lnTo>
                    <a:pt x="152" y="354"/>
                  </a:lnTo>
                  <a:lnTo>
                    <a:pt x="163" y="369"/>
                  </a:lnTo>
                  <a:lnTo>
                    <a:pt x="156" y="378"/>
                  </a:lnTo>
                  <a:lnTo>
                    <a:pt x="127" y="387"/>
                  </a:lnTo>
                  <a:lnTo>
                    <a:pt x="116" y="398"/>
                  </a:lnTo>
                  <a:lnTo>
                    <a:pt x="115" y="410"/>
                  </a:lnTo>
                  <a:lnTo>
                    <a:pt x="115" y="432"/>
                  </a:lnTo>
                  <a:lnTo>
                    <a:pt x="82" y="432"/>
                  </a:lnTo>
                  <a:lnTo>
                    <a:pt x="59" y="436"/>
                  </a:lnTo>
                  <a:lnTo>
                    <a:pt x="33" y="406"/>
                  </a:lnTo>
                  <a:lnTo>
                    <a:pt x="19" y="406"/>
                  </a:lnTo>
                  <a:lnTo>
                    <a:pt x="7" y="406"/>
                  </a:lnTo>
                  <a:lnTo>
                    <a:pt x="0" y="395"/>
                  </a:lnTo>
                  <a:lnTo>
                    <a:pt x="7" y="384"/>
                  </a:lnTo>
                  <a:lnTo>
                    <a:pt x="22" y="362"/>
                  </a:lnTo>
                  <a:lnTo>
                    <a:pt x="30" y="340"/>
                  </a:lnTo>
                  <a:lnTo>
                    <a:pt x="48" y="314"/>
                  </a:lnTo>
                  <a:lnTo>
                    <a:pt x="52" y="299"/>
                  </a:lnTo>
                  <a:lnTo>
                    <a:pt x="44" y="288"/>
                  </a:lnTo>
                  <a:lnTo>
                    <a:pt x="33" y="278"/>
                  </a:lnTo>
                  <a:lnTo>
                    <a:pt x="30" y="272"/>
                  </a:lnTo>
                  <a:lnTo>
                    <a:pt x="44" y="267"/>
                  </a:lnTo>
                  <a:lnTo>
                    <a:pt x="52" y="252"/>
                  </a:lnTo>
                  <a:lnTo>
                    <a:pt x="37" y="248"/>
                  </a:lnTo>
                  <a:lnTo>
                    <a:pt x="22" y="256"/>
                  </a:lnTo>
                  <a:lnTo>
                    <a:pt x="22" y="237"/>
                  </a:lnTo>
                  <a:lnTo>
                    <a:pt x="30" y="226"/>
                  </a:lnTo>
                  <a:lnTo>
                    <a:pt x="37" y="215"/>
                  </a:lnTo>
                  <a:lnTo>
                    <a:pt x="41" y="200"/>
                  </a:lnTo>
                  <a:lnTo>
                    <a:pt x="44" y="189"/>
                  </a:lnTo>
                  <a:lnTo>
                    <a:pt x="52" y="186"/>
                  </a:lnTo>
                  <a:lnTo>
                    <a:pt x="63" y="193"/>
                  </a:lnTo>
                  <a:lnTo>
                    <a:pt x="82" y="167"/>
                  </a:lnTo>
                  <a:lnTo>
                    <a:pt x="93" y="149"/>
                  </a:lnTo>
                  <a:lnTo>
                    <a:pt x="122" y="115"/>
                  </a:lnTo>
                  <a:lnTo>
                    <a:pt x="122" y="101"/>
                  </a:lnTo>
                  <a:lnTo>
                    <a:pt x="137" y="78"/>
                  </a:lnTo>
                  <a:lnTo>
                    <a:pt x="141" y="52"/>
                  </a:lnTo>
                  <a:lnTo>
                    <a:pt x="148" y="38"/>
                  </a:lnTo>
                  <a:lnTo>
                    <a:pt x="155" y="4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204" name="Group 3"/>
            <p:cNvGrpSpPr>
              <a:grpSpLocks/>
            </p:cNvGrpSpPr>
            <p:nvPr/>
          </p:nvGrpSpPr>
          <p:grpSpPr bwMode="auto">
            <a:xfrm>
              <a:off x="2892008" y="4051037"/>
              <a:ext cx="1271586" cy="1135045"/>
              <a:chOff x="615" y="2958"/>
              <a:chExt cx="842" cy="718"/>
            </a:xfrm>
            <a:grpFill/>
          </p:grpSpPr>
          <p:sp>
            <p:nvSpPr>
              <p:cNvPr id="259" name="Freeform 4"/>
              <p:cNvSpPr>
                <a:spLocks/>
              </p:cNvSpPr>
              <p:nvPr/>
            </p:nvSpPr>
            <p:spPr bwMode="auto">
              <a:xfrm>
                <a:off x="615" y="2958"/>
                <a:ext cx="811" cy="718"/>
              </a:xfrm>
              <a:custGeom>
                <a:avLst/>
                <a:gdLst>
                  <a:gd name="T0" fmla="*/ 37 w 811"/>
                  <a:gd name="T1" fmla="*/ 130 h 718"/>
                  <a:gd name="T2" fmla="*/ 63 w 811"/>
                  <a:gd name="T3" fmla="*/ 78 h 718"/>
                  <a:gd name="T4" fmla="*/ 56 w 811"/>
                  <a:gd name="T5" fmla="*/ 59 h 718"/>
                  <a:gd name="T6" fmla="*/ 44 w 811"/>
                  <a:gd name="T7" fmla="*/ 41 h 718"/>
                  <a:gd name="T8" fmla="*/ 89 w 811"/>
                  <a:gd name="T9" fmla="*/ 19 h 718"/>
                  <a:gd name="T10" fmla="*/ 122 w 811"/>
                  <a:gd name="T11" fmla="*/ 11 h 718"/>
                  <a:gd name="T12" fmla="*/ 157 w 811"/>
                  <a:gd name="T13" fmla="*/ 4 h 718"/>
                  <a:gd name="T14" fmla="*/ 223 w 811"/>
                  <a:gd name="T15" fmla="*/ 56 h 718"/>
                  <a:gd name="T16" fmla="*/ 270 w 811"/>
                  <a:gd name="T17" fmla="*/ 59 h 718"/>
                  <a:gd name="T18" fmla="*/ 399 w 811"/>
                  <a:gd name="T19" fmla="*/ 119 h 718"/>
                  <a:gd name="T20" fmla="*/ 454 w 811"/>
                  <a:gd name="T21" fmla="*/ 133 h 718"/>
                  <a:gd name="T22" fmla="*/ 492 w 811"/>
                  <a:gd name="T23" fmla="*/ 163 h 718"/>
                  <a:gd name="T24" fmla="*/ 529 w 811"/>
                  <a:gd name="T25" fmla="*/ 167 h 718"/>
                  <a:gd name="T26" fmla="*/ 529 w 811"/>
                  <a:gd name="T27" fmla="*/ 185 h 718"/>
                  <a:gd name="T28" fmla="*/ 588 w 811"/>
                  <a:gd name="T29" fmla="*/ 241 h 718"/>
                  <a:gd name="T30" fmla="*/ 636 w 811"/>
                  <a:gd name="T31" fmla="*/ 263 h 718"/>
                  <a:gd name="T32" fmla="*/ 711 w 811"/>
                  <a:gd name="T33" fmla="*/ 285 h 718"/>
                  <a:gd name="T34" fmla="*/ 726 w 811"/>
                  <a:gd name="T35" fmla="*/ 311 h 718"/>
                  <a:gd name="T36" fmla="*/ 755 w 811"/>
                  <a:gd name="T37" fmla="*/ 322 h 718"/>
                  <a:gd name="T38" fmla="*/ 785 w 811"/>
                  <a:gd name="T39" fmla="*/ 322 h 718"/>
                  <a:gd name="T40" fmla="*/ 804 w 811"/>
                  <a:gd name="T41" fmla="*/ 322 h 718"/>
                  <a:gd name="T42" fmla="*/ 811 w 811"/>
                  <a:gd name="T43" fmla="*/ 356 h 718"/>
                  <a:gd name="T44" fmla="*/ 741 w 811"/>
                  <a:gd name="T45" fmla="*/ 411 h 718"/>
                  <a:gd name="T46" fmla="*/ 640 w 811"/>
                  <a:gd name="T47" fmla="*/ 429 h 718"/>
                  <a:gd name="T48" fmla="*/ 614 w 811"/>
                  <a:gd name="T49" fmla="*/ 455 h 718"/>
                  <a:gd name="T50" fmla="*/ 584 w 811"/>
                  <a:gd name="T51" fmla="*/ 466 h 718"/>
                  <a:gd name="T52" fmla="*/ 554 w 811"/>
                  <a:gd name="T53" fmla="*/ 499 h 718"/>
                  <a:gd name="T54" fmla="*/ 521 w 811"/>
                  <a:gd name="T55" fmla="*/ 522 h 718"/>
                  <a:gd name="T56" fmla="*/ 532 w 811"/>
                  <a:gd name="T57" fmla="*/ 562 h 718"/>
                  <a:gd name="T58" fmla="*/ 536 w 811"/>
                  <a:gd name="T59" fmla="*/ 592 h 718"/>
                  <a:gd name="T60" fmla="*/ 517 w 811"/>
                  <a:gd name="T61" fmla="*/ 603 h 718"/>
                  <a:gd name="T62" fmla="*/ 466 w 811"/>
                  <a:gd name="T63" fmla="*/ 648 h 718"/>
                  <a:gd name="T64" fmla="*/ 447 w 811"/>
                  <a:gd name="T65" fmla="*/ 666 h 718"/>
                  <a:gd name="T66" fmla="*/ 414 w 811"/>
                  <a:gd name="T67" fmla="*/ 677 h 718"/>
                  <a:gd name="T68" fmla="*/ 380 w 811"/>
                  <a:gd name="T69" fmla="*/ 685 h 718"/>
                  <a:gd name="T70" fmla="*/ 362 w 811"/>
                  <a:gd name="T71" fmla="*/ 707 h 718"/>
                  <a:gd name="T72" fmla="*/ 332 w 811"/>
                  <a:gd name="T73" fmla="*/ 714 h 718"/>
                  <a:gd name="T74" fmla="*/ 273 w 811"/>
                  <a:gd name="T75" fmla="*/ 707 h 718"/>
                  <a:gd name="T76" fmla="*/ 182 w 811"/>
                  <a:gd name="T77" fmla="*/ 677 h 718"/>
                  <a:gd name="T78" fmla="*/ 137 w 811"/>
                  <a:gd name="T79" fmla="*/ 696 h 718"/>
                  <a:gd name="T80" fmla="*/ 96 w 811"/>
                  <a:gd name="T81" fmla="*/ 711 h 718"/>
                  <a:gd name="T82" fmla="*/ 44 w 811"/>
                  <a:gd name="T83" fmla="*/ 674 h 718"/>
                  <a:gd name="T84" fmla="*/ 26 w 811"/>
                  <a:gd name="T85" fmla="*/ 588 h 718"/>
                  <a:gd name="T86" fmla="*/ 0 w 811"/>
                  <a:gd name="T87" fmla="*/ 559 h 718"/>
                  <a:gd name="T88" fmla="*/ 11 w 811"/>
                  <a:gd name="T89" fmla="*/ 525 h 718"/>
                  <a:gd name="T90" fmla="*/ 48 w 811"/>
                  <a:gd name="T91" fmla="*/ 507 h 718"/>
                  <a:gd name="T92" fmla="*/ 33 w 811"/>
                  <a:gd name="T93" fmla="*/ 466 h 718"/>
                  <a:gd name="T94" fmla="*/ 67 w 811"/>
                  <a:gd name="T95" fmla="*/ 422 h 718"/>
                  <a:gd name="T96" fmla="*/ 59 w 811"/>
                  <a:gd name="T97" fmla="*/ 389 h 718"/>
                  <a:gd name="T98" fmla="*/ 70 w 811"/>
                  <a:gd name="T99" fmla="*/ 360 h 718"/>
                  <a:gd name="T100" fmla="*/ 89 w 811"/>
                  <a:gd name="T101" fmla="*/ 371 h 718"/>
                  <a:gd name="T102" fmla="*/ 104 w 811"/>
                  <a:gd name="T103" fmla="*/ 315 h 718"/>
                  <a:gd name="T104" fmla="*/ 133 w 811"/>
                  <a:gd name="T105" fmla="*/ 274 h 718"/>
                  <a:gd name="T106" fmla="*/ 164 w 811"/>
                  <a:gd name="T107" fmla="*/ 245 h 718"/>
                  <a:gd name="T108" fmla="*/ 194 w 811"/>
                  <a:gd name="T109" fmla="*/ 233 h 718"/>
                  <a:gd name="T110" fmla="*/ 160 w 811"/>
                  <a:gd name="T111" fmla="*/ 185 h 718"/>
                  <a:gd name="T112" fmla="*/ 130 w 811"/>
                  <a:gd name="T113" fmla="*/ 189 h 718"/>
                  <a:gd name="T114" fmla="*/ 93 w 811"/>
                  <a:gd name="T115" fmla="*/ 174 h 718"/>
                  <a:gd name="T116" fmla="*/ 78 w 811"/>
                  <a:gd name="T117" fmla="*/ 170 h 718"/>
                  <a:gd name="T118" fmla="*/ 67 w 811"/>
                  <a:gd name="T119" fmla="*/ 141 h 718"/>
                  <a:gd name="T120" fmla="*/ 41 w 811"/>
                  <a:gd name="T121" fmla="*/ 141 h 71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811"/>
                  <a:gd name="T184" fmla="*/ 0 h 718"/>
                  <a:gd name="T185" fmla="*/ 811 w 811"/>
                  <a:gd name="T186" fmla="*/ 718 h 71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811" h="718">
                    <a:moveTo>
                      <a:pt x="41" y="141"/>
                    </a:moveTo>
                    <a:lnTo>
                      <a:pt x="37" y="130"/>
                    </a:lnTo>
                    <a:lnTo>
                      <a:pt x="41" y="115"/>
                    </a:lnTo>
                    <a:lnTo>
                      <a:pt x="63" y="78"/>
                    </a:lnTo>
                    <a:lnTo>
                      <a:pt x="52" y="70"/>
                    </a:lnTo>
                    <a:lnTo>
                      <a:pt x="56" y="59"/>
                    </a:lnTo>
                    <a:lnTo>
                      <a:pt x="44" y="56"/>
                    </a:lnTo>
                    <a:lnTo>
                      <a:pt x="44" y="41"/>
                    </a:lnTo>
                    <a:lnTo>
                      <a:pt x="52" y="30"/>
                    </a:lnTo>
                    <a:lnTo>
                      <a:pt x="89" y="19"/>
                    </a:lnTo>
                    <a:lnTo>
                      <a:pt x="119" y="22"/>
                    </a:lnTo>
                    <a:lnTo>
                      <a:pt x="122" y="11"/>
                    </a:lnTo>
                    <a:lnTo>
                      <a:pt x="145" y="0"/>
                    </a:lnTo>
                    <a:lnTo>
                      <a:pt x="157" y="4"/>
                    </a:lnTo>
                    <a:lnTo>
                      <a:pt x="182" y="37"/>
                    </a:lnTo>
                    <a:lnTo>
                      <a:pt x="223" y="56"/>
                    </a:lnTo>
                    <a:lnTo>
                      <a:pt x="260" y="56"/>
                    </a:lnTo>
                    <a:lnTo>
                      <a:pt x="270" y="59"/>
                    </a:lnTo>
                    <a:lnTo>
                      <a:pt x="369" y="115"/>
                    </a:lnTo>
                    <a:lnTo>
                      <a:pt x="399" y="119"/>
                    </a:lnTo>
                    <a:lnTo>
                      <a:pt x="421" y="141"/>
                    </a:lnTo>
                    <a:lnTo>
                      <a:pt x="454" y="133"/>
                    </a:lnTo>
                    <a:lnTo>
                      <a:pt x="473" y="145"/>
                    </a:lnTo>
                    <a:lnTo>
                      <a:pt x="492" y="163"/>
                    </a:lnTo>
                    <a:lnTo>
                      <a:pt x="514" y="163"/>
                    </a:lnTo>
                    <a:lnTo>
                      <a:pt x="529" y="167"/>
                    </a:lnTo>
                    <a:lnTo>
                      <a:pt x="536" y="174"/>
                    </a:lnTo>
                    <a:lnTo>
                      <a:pt x="529" y="185"/>
                    </a:lnTo>
                    <a:lnTo>
                      <a:pt x="529" y="200"/>
                    </a:lnTo>
                    <a:lnTo>
                      <a:pt x="588" y="241"/>
                    </a:lnTo>
                    <a:lnTo>
                      <a:pt x="621" y="267"/>
                    </a:lnTo>
                    <a:lnTo>
                      <a:pt x="636" y="263"/>
                    </a:lnTo>
                    <a:lnTo>
                      <a:pt x="654" y="259"/>
                    </a:lnTo>
                    <a:lnTo>
                      <a:pt x="711" y="285"/>
                    </a:lnTo>
                    <a:lnTo>
                      <a:pt x="718" y="304"/>
                    </a:lnTo>
                    <a:lnTo>
                      <a:pt x="726" y="311"/>
                    </a:lnTo>
                    <a:lnTo>
                      <a:pt x="744" y="315"/>
                    </a:lnTo>
                    <a:lnTo>
                      <a:pt x="755" y="322"/>
                    </a:lnTo>
                    <a:lnTo>
                      <a:pt x="770" y="322"/>
                    </a:lnTo>
                    <a:lnTo>
                      <a:pt x="785" y="322"/>
                    </a:lnTo>
                    <a:lnTo>
                      <a:pt x="800" y="326"/>
                    </a:lnTo>
                    <a:lnTo>
                      <a:pt x="804" y="322"/>
                    </a:lnTo>
                    <a:lnTo>
                      <a:pt x="811" y="337"/>
                    </a:lnTo>
                    <a:lnTo>
                      <a:pt x="811" y="356"/>
                    </a:lnTo>
                    <a:lnTo>
                      <a:pt x="800" y="367"/>
                    </a:lnTo>
                    <a:lnTo>
                      <a:pt x="741" y="411"/>
                    </a:lnTo>
                    <a:lnTo>
                      <a:pt x="715" y="411"/>
                    </a:lnTo>
                    <a:lnTo>
                      <a:pt x="640" y="429"/>
                    </a:lnTo>
                    <a:lnTo>
                      <a:pt x="614" y="433"/>
                    </a:lnTo>
                    <a:lnTo>
                      <a:pt x="614" y="455"/>
                    </a:lnTo>
                    <a:lnTo>
                      <a:pt x="599" y="455"/>
                    </a:lnTo>
                    <a:lnTo>
                      <a:pt x="584" y="466"/>
                    </a:lnTo>
                    <a:lnTo>
                      <a:pt x="569" y="485"/>
                    </a:lnTo>
                    <a:lnTo>
                      <a:pt x="554" y="499"/>
                    </a:lnTo>
                    <a:lnTo>
                      <a:pt x="536" y="503"/>
                    </a:lnTo>
                    <a:lnTo>
                      <a:pt x="521" y="522"/>
                    </a:lnTo>
                    <a:lnTo>
                      <a:pt x="521" y="548"/>
                    </a:lnTo>
                    <a:lnTo>
                      <a:pt x="532" y="562"/>
                    </a:lnTo>
                    <a:lnTo>
                      <a:pt x="536" y="573"/>
                    </a:lnTo>
                    <a:lnTo>
                      <a:pt x="536" y="592"/>
                    </a:lnTo>
                    <a:lnTo>
                      <a:pt x="532" y="599"/>
                    </a:lnTo>
                    <a:lnTo>
                      <a:pt x="517" y="603"/>
                    </a:lnTo>
                    <a:lnTo>
                      <a:pt x="495" y="622"/>
                    </a:lnTo>
                    <a:lnTo>
                      <a:pt x="466" y="648"/>
                    </a:lnTo>
                    <a:lnTo>
                      <a:pt x="454" y="659"/>
                    </a:lnTo>
                    <a:lnTo>
                      <a:pt x="447" y="666"/>
                    </a:lnTo>
                    <a:lnTo>
                      <a:pt x="447" y="677"/>
                    </a:lnTo>
                    <a:lnTo>
                      <a:pt x="414" y="677"/>
                    </a:lnTo>
                    <a:lnTo>
                      <a:pt x="395" y="681"/>
                    </a:lnTo>
                    <a:lnTo>
                      <a:pt x="380" y="685"/>
                    </a:lnTo>
                    <a:lnTo>
                      <a:pt x="373" y="692"/>
                    </a:lnTo>
                    <a:lnTo>
                      <a:pt x="362" y="707"/>
                    </a:lnTo>
                    <a:lnTo>
                      <a:pt x="343" y="714"/>
                    </a:lnTo>
                    <a:lnTo>
                      <a:pt x="332" y="714"/>
                    </a:lnTo>
                    <a:lnTo>
                      <a:pt x="310" y="711"/>
                    </a:lnTo>
                    <a:lnTo>
                      <a:pt x="273" y="707"/>
                    </a:lnTo>
                    <a:lnTo>
                      <a:pt x="208" y="681"/>
                    </a:lnTo>
                    <a:lnTo>
                      <a:pt x="182" y="677"/>
                    </a:lnTo>
                    <a:lnTo>
                      <a:pt x="157" y="685"/>
                    </a:lnTo>
                    <a:lnTo>
                      <a:pt x="137" y="696"/>
                    </a:lnTo>
                    <a:lnTo>
                      <a:pt x="115" y="699"/>
                    </a:lnTo>
                    <a:lnTo>
                      <a:pt x="96" y="711"/>
                    </a:lnTo>
                    <a:lnTo>
                      <a:pt x="85" y="718"/>
                    </a:lnTo>
                    <a:lnTo>
                      <a:pt x="44" y="674"/>
                    </a:lnTo>
                    <a:lnTo>
                      <a:pt x="44" y="611"/>
                    </a:lnTo>
                    <a:lnTo>
                      <a:pt x="26" y="588"/>
                    </a:lnTo>
                    <a:lnTo>
                      <a:pt x="4" y="570"/>
                    </a:lnTo>
                    <a:lnTo>
                      <a:pt x="0" y="559"/>
                    </a:lnTo>
                    <a:lnTo>
                      <a:pt x="0" y="536"/>
                    </a:lnTo>
                    <a:lnTo>
                      <a:pt x="11" y="525"/>
                    </a:lnTo>
                    <a:lnTo>
                      <a:pt x="41" y="514"/>
                    </a:lnTo>
                    <a:lnTo>
                      <a:pt x="48" y="507"/>
                    </a:lnTo>
                    <a:lnTo>
                      <a:pt x="37" y="492"/>
                    </a:lnTo>
                    <a:lnTo>
                      <a:pt x="33" y="466"/>
                    </a:lnTo>
                    <a:lnTo>
                      <a:pt x="44" y="444"/>
                    </a:lnTo>
                    <a:lnTo>
                      <a:pt x="67" y="422"/>
                    </a:lnTo>
                    <a:lnTo>
                      <a:pt x="67" y="404"/>
                    </a:lnTo>
                    <a:lnTo>
                      <a:pt x="59" y="389"/>
                    </a:lnTo>
                    <a:lnTo>
                      <a:pt x="67" y="363"/>
                    </a:lnTo>
                    <a:lnTo>
                      <a:pt x="70" y="360"/>
                    </a:lnTo>
                    <a:lnTo>
                      <a:pt x="81" y="360"/>
                    </a:lnTo>
                    <a:lnTo>
                      <a:pt x="89" y="371"/>
                    </a:lnTo>
                    <a:lnTo>
                      <a:pt x="100" y="356"/>
                    </a:lnTo>
                    <a:lnTo>
                      <a:pt x="104" y="315"/>
                    </a:lnTo>
                    <a:lnTo>
                      <a:pt x="133" y="289"/>
                    </a:lnTo>
                    <a:lnTo>
                      <a:pt x="133" y="274"/>
                    </a:lnTo>
                    <a:lnTo>
                      <a:pt x="133" y="263"/>
                    </a:lnTo>
                    <a:lnTo>
                      <a:pt x="164" y="245"/>
                    </a:lnTo>
                    <a:lnTo>
                      <a:pt x="186" y="241"/>
                    </a:lnTo>
                    <a:lnTo>
                      <a:pt x="194" y="233"/>
                    </a:lnTo>
                    <a:lnTo>
                      <a:pt x="175" y="215"/>
                    </a:lnTo>
                    <a:lnTo>
                      <a:pt x="160" y="185"/>
                    </a:lnTo>
                    <a:lnTo>
                      <a:pt x="153" y="178"/>
                    </a:lnTo>
                    <a:lnTo>
                      <a:pt x="130" y="189"/>
                    </a:lnTo>
                    <a:lnTo>
                      <a:pt x="115" y="182"/>
                    </a:lnTo>
                    <a:lnTo>
                      <a:pt x="93" y="174"/>
                    </a:lnTo>
                    <a:lnTo>
                      <a:pt x="85" y="178"/>
                    </a:lnTo>
                    <a:lnTo>
                      <a:pt x="78" y="170"/>
                    </a:lnTo>
                    <a:lnTo>
                      <a:pt x="78" y="156"/>
                    </a:lnTo>
                    <a:lnTo>
                      <a:pt x="67" y="141"/>
                    </a:lnTo>
                    <a:lnTo>
                      <a:pt x="59" y="137"/>
                    </a:lnTo>
                    <a:lnTo>
                      <a:pt x="41" y="141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  <p:sp>
            <p:nvSpPr>
              <p:cNvPr id="260" name="Freeform 5"/>
              <p:cNvSpPr>
                <a:spLocks/>
              </p:cNvSpPr>
              <p:nvPr/>
            </p:nvSpPr>
            <p:spPr bwMode="auto">
              <a:xfrm>
                <a:off x="1232" y="3554"/>
                <a:ext cx="31" cy="22"/>
              </a:xfrm>
              <a:custGeom>
                <a:avLst/>
                <a:gdLst>
                  <a:gd name="T0" fmla="*/ 31 w 31"/>
                  <a:gd name="T1" fmla="*/ 0 h 22"/>
                  <a:gd name="T2" fmla="*/ 16 w 31"/>
                  <a:gd name="T3" fmla="*/ 0 h 22"/>
                  <a:gd name="T4" fmla="*/ 0 w 31"/>
                  <a:gd name="T5" fmla="*/ 15 h 22"/>
                  <a:gd name="T6" fmla="*/ 8 w 31"/>
                  <a:gd name="T7" fmla="*/ 22 h 22"/>
                  <a:gd name="T8" fmla="*/ 23 w 31"/>
                  <a:gd name="T9" fmla="*/ 22 h 22"/>
                  <a:gd name="T10" fmla="*/ 31 w 31"/>
                  <a:gd name="T11" fmla="*/ 0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1"/>
                  <a:gd name="T19" fmla="*/ 0 h 22"/>
                  <a:gd name="T20" fmla="*/ 31 w 31"/>
                  <a:gd name="T21" fmla="*/ 22 h 2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1" h="22">
                    <a:moveTo>
                      <a:pt x="31" y="0"/>
                    </a:moveTo>
                    <a:lnTo>
                      <a:pt x="16" y="0"/>
                    </a:lnTo>
                    <a:lnTo>
                      <a:pt x="0" y="15"/>
                    </a:lnTo>
                    <a:lnTo>
                      <a:pt x="8" y="22"/>
                    </a:lnTo>
                    <a:lnTo>
                      <a:pt x="23" y="22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  <p:sp>
            <p:nvSpPr>
              <p:cNvPr id="261" name="Freeform 6"/>
              <p:cNvSpPr>
                <a:spLocks/>
              </p:cNvSpPr>
              <p:nvPr/>
            </p:nvSpPr>
            <p:spPr bwMode="auto">
              <a:xfrm>
                <a:off x="1323" y="3498"/>
                <a:ext cx="71" cy="56"/>
              </a:xfrm>
              <a:custGeom>
                <a:avLst/>
                <a:gdLst>
                  <a:gd name="T0" fmla="*/ 52 w 71"/>
                  <a:gd name="T1" fmla="*/ 0 h 56"/>
                  <a:gd name="T2" fmla="*/ 45 w 71"/>
                  <a:gd name="T3" fmla="*/ 7 h 56"/>
                  <a:gd name="T4" fmla="*/ 15 w 71"/>
                  <a:gd name="T5" fmla="*/ 11 h 56"/>
                  <a:gd name="T6" fmla="*/ 0 w 71"/>
                  <a:gd name="T7" fmla="*/ 30 h 56"/>
                  <a:gd name="T8" fmla="*/ 22 w 71"/>
                  <a:gd name="T9" fmla="*/ 45 h 56"/>
                  <a:gd name="T10" fmla="*/ 34 w 71"/>
                  <a:gd name="T11" fmla="*/ 56 h 56"/>
                  <a:gd name="T12" fmla="*/ 56 w 71"/>
                  <a:gd name="T13" fmla="*/ 52 h 56"/>
                  <a:gd name="T14" fmla="*/ 71 w 71"/>
                  <a:gd name="T15" fmla="*/ 45 h 56"/>
                  <a:gd name="T16" fmla="*/ 67 w 71"/>
                  <a:gd name="T17" fmla="*/ 30 h 56"/>
                  <a:gd name="T18" fmla="*/ 56 w 71"/>
                  <a:gd name="T19" fmla="*/ 19 h 56"/>
                  <a:gd name="T20" fmla="*/ 52 w 71"/>
                  <a:gd name="T21" fmla="*/ 0 h 5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71"/>
                  <a:gd name="T34" fmla="*/ 0 h 56"/>
                  <a:gd name="T35" fmla="*/ 71 w 71"/>
                  <a:gd name="T36" fmla="*/ 56 h 5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71" h="56">
                    <a:moveTo>
                      <a:pt x="52" y="0"/>
                    </a:moveTo>
                    <a:lnTo>
                      <a:pt x="45" y="7"/>
                    </a:lnTo>
                    <a:lnTo>
                      <a:pt x="15" y="11"/>
                    </a:lnTo>
                    <a:lnTo>
                      <a:pt x="0" y="30"/>
                    </a:lnTo>
                    <a:lnTo>
                      <a:pt x="22" y="45"/>
                    </a:lnTo>
                    <a:lnTo>
                      <a:pt x="34" y="56"/>
                    </a:lnTo>
                    <a:lnTo>
                      <a:pt x="56" y="52"/>
                    </a:lnTo>
                    <a:lnTo>
                      <a:pt x="71" y="45"/>
                    </a:lnTo>
                    <a:lnTo>
                      <a:pt x="67" y="30"/>
                    </a:lnTo>
                    <a:lnTo>
                      <a:pt x="56" y="19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  <p:sp>
            <p:nvSpPr>
              <p:cNvPr id="265" name="Freeform 7"/>
              <p:cNvSpPr>
                <a:spLocks/>
              </p:cNvSpPr>
              <p:nvPr/>
            </p:nvSpPr>
            <p:spPr bwMode="auto">
              <a:xfrm>
                <a:off x="1434" y="3502"/>
                <a:ext cx="23" cy="29"/>
              </a:xfrm>
              <a:custGeom>
                <a:avLst/>
                <a:gdLst>
                  <a:gd name="T0" fmla="*/ 15 w 23"/>
                  <a:gd name="T1" fmla="*/ 0 h 29"/>
                  <a:gd name="T2" fmla="*/ 0 w 23"/>
                  <a:gd name="T3" fmla="*/ 7 h 29"/>
                  <a:gd name="T4" fmla="*/ 12 w 23"/>
                  <a:gd name="T5" fmla="*/ 18 h 29"/>
                  <a:gd name="T6" fmla="*/ 23 w 23"/>
                  <a:gd name="T7" fmla="*/ 29 h 29"/>
                  <a:gd name="T8" fmla="*/ 15 w 23"/>
                  <a:gd name="T9" fmla="*/ 0 h 2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3"/>
                  <a:gd name="T16" fmla="*/ 0 h 29"/>
                  <a:gd name="T17" fmla="*/ 23 w 23"/>
                  <a:gd name="T18" fmla="*/ 29 h 2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3" h="29">
                    <a:moveTo>
                      <a:pt x="15" y="0"/>
                    </a:moveTo>
                    <a:lnTo>
                      <a:pt x="0" y="7"/>
                    </a:lnTo>
                    <a:lnTo>
                      <a:pt x="12" y="18"/>
                    </a:lnTo>
                    <a:lnTo>
                      <a:pt x="23" y="29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</p:grpSp>
        <p:grpSp>
          <p:nvGrpSpPr>
            <p:cNvPr id="205" name="Group 8"/>
            <p:cNvGrpSpPr>
              <a:grpSpLocks/>
            </p:cNvGrpSpPr>
            <p:nvPr/>
          </p:nvGrpSpPr>
          <p:grpSpPr bwMode="auto">
            <a:xfrm>
              <a:off x="4532081" y="4085817"/>
              <a:ext cx="1113016" cy="1468603"/>
              <a:chOff x="1701" y="2980"/>
              <a:chExt cx="737" cy="929"/>
            </a:xfrm>
            <a:grpFill/>
          </p:grpSpPr>
          <p:sp>
            <p:nvSpPr>
              <p:cNvPr id="253" name="Freeform 9"/>
              <p:cNvSpPr>
                <a:spLocks/>
              </p:cNvSpPr>
              <p:nvPr/>
            </p:nvSpPr>
            <p:spPr bwMode="auto">
              <a:xfrm>
                <a:off x="1727" y="3472"/>
                <a:ext cx="119" cy="193"/>
              </a:xfrm>
              <a:custGeom>
                <a:avLst/>
                <a:gdLst>
                  <a:gd name="T0" fmla="*/ 71 w 119"/>
                  <a:gd name="T1" fmla="*/ 0 h 193"/>
                  <a:gd name="T2" fmla="*/ 52 w 119"/>
                  <a:gd name="T3" fmla="*/ 11 h 193"/>
                  <a:gd name="T4" fmla="*/ 37 w 119"/>
                  <a:gd name="T5" fmla="*/ 22 h 193"/>
                  <a:gd name="T6" fmla="*/ 22 w 119"/>
                  <a:gd name="T7" fmla="*/ 26 h 193"/>
                  <a:gd name="T8" fmla="*/ 0 w 119"/>
                  <a:gd name="T9" fmla="*/ 22 h 193"/>
                  <a:gd name="T10" fmla="*/ 4 w 119"/>
                  <a:gd name="T11" fmla="*/ 45 h 193"/>
                  <a:gd name="T12" fmla="*/ 15 w 119"/>
                  <a:gd name="T13" fmla="*/ 59 h 193"/>
                  <a:gd name="T14" fmla="*/ 11 w 119"/>
                  <a:gd name="T15" fmla="*/ 97 h 193"/>
                  <a:gd name="T16" fmla="*/ 11 w 119"/>
                  <a:gd name="T17" fmla="*/ 115 h 193"/>
                  <a:gd name="T18" fmla="*/ 15 w 119"/>
                  <a:gd name="T19" fmla="*/ 130 h 193"/>
                  <a:gd name="T20" fmla="*/ 4 w 119"/>
                  <a:gd name="T21" fmla="*/ 160 h 193"/>
                  <a:gd name="T22" fmla="*/ 7 w 119"/>
                  <a:gd name="T23" fmla="*/ 182 h 193"/>
                  <a:gd name="T24" fmla="*/ 22 w 119"/>
                  <a:gd name="T25" fmla="*/ 193 h 193"/>
                  <a:gd name="T26" fmla="*/ 44 w 119"/>
                  <a:gd name="T27" fmla="*/ 178 h 193"/>
                  <a:gd name="T28" fmla="*/ 52 w 119"/>
                  <a:gd name="T29" fmla="*/ 174 h 193"/>
                  <a:gd name="T30" fmla="*/ 75 w 119"/>
                  <a:gd name="T31" fmla="*/ 178 h 193"/>
                  <a:gd name="T32" fmla="*/ 90 w 119"/>
                  <a:gd name="T33" fmla="*/ 163 h 193"/>
                  <a:gd name="T34" fmla="*/ 90 w 119"/>
                  <a:gd name="T35" fmla="*/ 148 h 193"/>
                  <a:gd name="T36" fmla="*/ 108 w 119"/>
                  <a:gd name="T37" fmla="*/ 119 h 193"/>
                  <a:gd name="T38" fmla="*/ 115 w 119"/>
                  <a:gd name="T39" fmla="*/ 100 h 193"/>
                  <a:gd name="T40" fmla="*/ 108 w 119"/>
                  <a:gd name="T41" fmla="*/ 82 h 193"/>
                  <a:gd name="T42" fmla="*/ 119 w 119"/>
                  <a:gd name="T43" fmla="*/ 59 h 193"/>
                  <a:gd name="T44" fmla="*/ 112 w 119"/>
                  <a:gd name="T45" fmla="*/ 26 h 193"/>
                  <a:gd name="T46" fmla="*/ 108 w 119"/>
                  <a:gd name="T47" fmla="*/ 7 h 193"/>
                  <a:gd name="T48" fmla="*/ 71 w 119"/>
                  <a:gd name="T49" fmla="*/ 0 h 19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19"/>
                  <a:gd name="T76" fmla="*/ 0 h 193"/>
                  <a:gd name="T77" fmla="*/ 119 w 119"/>
                  <a:gd name="T78" fmla="*/ 193 h 193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19" h="193">
                    <a:moveTo>
                      <a:pt x="71" y="0"/>
                    </a:moveTo>
                    <a:lnTo>
                      <a:pt x="52" y="11"/>
                    </a:lnTo>
                    <a:lnTo>
                      <a:pt x="37" y="22"/>
                    </a:lnTo>
                    <a:lnTo>
                      <a:pt x="22" y="26"/>
                    </a:lnTo>
                    <a:lnTo>
                      <a:pt x="0" y="22"/>
                    </a:lnTo>
                    <a:lnTo>
                      <a:pt x="4" y="45"/>
                    </a:lnTo>
                    <a:lnTo>
                      <a:pt x="15" y="59"/>
                    </a:lnTo>
                    <a:lnTo>
                      <a:pt x="11" y="97"/>
                    </a:lnTo>
                    <a:lnTo>
                      <a:pt x="11" y="115"/>
                    </a:lnTo>
                    <a:lnTo>
                      <a:pt x="15" y="130"/>
                    </a:lnTo>
                    <a:lnTo>
                      <a:pt x="4" y="160"/>
                    </a:lnTo>
                    <a:lnTo>
                      <a:pt x="7" y="182"/>
                    </a:lnTo>
                    <a:lnTo>
                      <a:pt x="22" y="193"/>
                    </a:lnTo>
                    <a:lnTo>
                      <a:pt x="44" y="178"/>
                    </a:lnTo>
                    <a:lnTo>
                      <a:pt x="52" y="174"/>
                    </a:lnTo>
                    <a:lnTo>
                      <a:pt x="75" y="178"/>
                    </a:lnTo>
                    <a:lnTo>
                      <a:pt x="90" y="163"/>
                    </a:lnTo>
                    <a:lnTo>
                      <a:pt x="90" y="148"/>
                    </a:lnTo>
                    <a:lnTo>
                      <a:pt x="108" y="119"/>
                    </a:lnTo>
                    <a:lnTo>
                      <a:pt x="115" y="100"/>
                    </a:lnTo>
                    <a:lnTo>
                      <a:pt x="108" y="82"/>
                    </a:lnTo>
                    <a:lnTo>
                      <a:pt x="119" y="59"/>
                    </a:lnTo>
                    <a:lnTo>
                      <a:pt x="112" y="26"/>
                    </a:lnTo>
                    <a:lnTo>
                      <a:pt x="108" y="7"/>
                    </a:lnTo>
                    <a:lnTo>
                      <a:pt x="71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  <p:sp>
            <p:nvSpPr>
              <p:cNvPr id="254" name="Freeform 10"/>
              <p:cNvSpPr>
                <a:spLocks/>
              </p:cNvSpPr>
              <p:nvPr/>
            </p:nvSpPr>
            <p:spPr bwMode="auto">
              <a:xfrm>
                <a:off x="2002" y="3773"/>
                <a:ext cx="216" cy="136"/>
              </a:xfrm>
              <a:custGeom>
                <a:avLst/>
                <a:gdLst>
                  <a:gd name="T0" fmla="*/ 205 w 216"/>
                  <a:gd name="T1" fmla="*/ 0 h 136"/>
                  <a:gd name="T2" fmla="*/ 216 w 216"/>
                  <a:gd name="T3" fmla="*/ 11 h 136"/>
                  <a:gd name="T4" fmla="*/ 209 w 216"/>
                  <a:gd name="T5" fmla="*/ 22 h 136"/>
                  <a:gd name="T6" fmla="*/ 201 w 216"/>
                  <a:gd name="T7" fmla="*/ 40 h 136"/>
                  <a:gd name="T8" fmla="*/ 190 w 216"/>
                  <a:gd name="T9" fmla="*/ 51 h 136"/>
                  <a:gd name="T10" fmla="*/ 194 w 216"/>
                  <a:gd name="T11" fmla="*/ 85 h 136"/>
                  <a:gd name="T12" fmla="*/ 201 w 216"/>
                  <a:gd name="T13" fmla="*/ 110 h 136"/>
                  <a:gd name="T14" fmla="*/ 182 w 216"/>
                  <a:gd name="T15" fmla="*/ 121 h 136"/>
                  <a:gd name="T16" fmla="*/ 179 w 216"/>
                  <a:gd name="T17" fmla="*/ 132 h 136"/>
                  <a:gd name="T18" fmla="*/ 164 w 216"/>
                  <a:gd name="T19" fmla="*/ 136 h 136"/>
                  <a:gd name="T20" fmla="*/ 142 w 216"/>
                  <a:gd name="T21" fmla="*/ 114 h 136"/>
                  <a:gd name="T22" fmla="*/ 127 w 216"/>
                  <a:gd name="T23" fmla="*/ 114 h 136"/>
                  <a:gd name="T24" fmla="*/ 115 w 216"/>
                  <a:gd name="T25" fmla="*/ 96 h 136"/>
                  <a:gd name="T26" fmla="*/ 93 w 216"/>
                  <a:gd name="T27" fmla="*/ 85 h 136"/>
                  <a:gd name="T28" fmla="*/ 78 w 216"/>
                  <a:gd name="T29" fmla="*/ 81 h 136"/>
                  <a:gd name="T30" fmla="*/ 63 w 216"/>
                  <a:gd name="T31" fmla="*/ 74 h 136"/>
                  <a:gd name="T32" fmla="*/ 48 w 216"/>
                  <a:gd name="T33" fmla="*/ 62 h 136"/>
                  <a:gd name="T34" fmla="*/ 22 w 216"/>
                  <a:gd name="T35" fmla="*/ 44 h 136"/>
                  <a:gd name="T36" fmla="*/ 11 w 216"/>
                  <a:gd name="T37" fmla="*/ 40 h 136"/>
                  <a:gd name="T38" fmla="*/ 0 w 216"/>
                  <a:gd name="T39" fmla="*/ 29 h 136"/>
                  <a:gd name="T40" fmla="*/ 0 w 216"/>
                  <a:gd name="T41" fmla="*/ 15 h 136"/>
                  <a:gd name="T42" fmla="*/ 4 w 216"/>
                  <a:gd name="T43" fmla="*/ 4 h 136"/>
                  <a:gd name="T44" fmla="*/ 26 w 216"/>
                  <a:gd name="T45" fmla="*/ 7 h 136"/>
                  <a:gd name="T46" fmla="*/ 60 w 216"/>
                  <a:gd name="T47" fmla="*/ 7 h 136"/>
                  <a:gd name="T48" fmla="*/ 67 w 216"/>
                  <a:gd name="T49" fmla="*/ 18 h 136"/>
                  <a:gd name="T50" fmla="*/ 104 w 216"/>
                  <a:gd name="T51" fmla="*/ 18 h 136"/>
                  <a:gd name="T52" fmla="*/ 130 w 216"/>
                  <a:gd name="T53" fmla="*/ 18 h 136"/>
                  <a:gd name="T54" fmla="*/ 164 w 216"/>
                  <a:gd name="T55" fmla="*/ 11 h 136"/>
                  <a:gd name="T56" fmla="*/ 205 w 216"/>
                  <a:gd name="T57" fmla="*/ 0 h 1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216"/>
                  <a:gd name="T88" fmla="*/ 0 h 136"/>
                  <a:gd name="T89" fmla="*/ 216 w 216"/>
                  <a:gd name="T90" fmla="*/ 136 h 1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216" h="136">
                    <a:moveTo>
                      <a:pt x="205" y="0"/>
                    </a:moveTo>
                    <a:lnTo>
                      <a:pt x="216" y="11"/>
                    </a:lnTo>
                    <a:lnTo>
                      <a:pt x="209" y="22"/>
                    </a:lnTo>
                    <a:lnTo>
                      <a:pt x="201" y="40"/>
                    </a:lnTo>
                    <a:lnTo>
                      <a:pt x="190" y="51"/>
                    </a:lnTo>
                    <a:lnTo>
                      <a:pt x="194" y="85"/>
                    </a:lnTo>
                    <a:lnTo>
                      <a:pt x="201" y="110"/>
                    </a:lnTo>
                    <a:lnTo>
                      <a:pt x="182" y="121"/>
                    </a:lnTo>
                    <a:lnTo>
                      <a:pt x="179" y="132"/>
                    </a:lnTo>
                    <a:lnTo>
                      <a:pt x="164" y="136"/>
                    </a:lnTo>
                    <a:lnTo>
                      <a:pt x="142" y="114"/>
                    </a:lnTo>
                    <a:lnTo>
                      <a:pt x="127" y="114"/>
                    </a:lnTo>
                    <a:lnTo>
                      <a:pt x="115" y="96"/>
                    </a:lnTo>
                    <a:lnTo>
                      <a:pt x="93" y="85"/>
                    </a:lnTo>
                    <a:lnTo>
                      <a:pt x="78" y="81"/>
                    </a:lnTo>
                    <a:lnTo>
                      <a:pt x="63" y="74"/>
                    </a:lnTo>
                    <a:lnTo>
                      <a:pt x="48" y="62"/>
                    </a:lnTo>
                    <a:lnTo>
                      <a:pt x="22" y="44"/>
                    </a:lnTo>
                    <a:lnTo>
                      <a:pt x="11" y="40"/>
                    </a:lnTo>
                    <a:lnTo>
                      <a:pt x="0" y="29"/>
                    </a:lnTo>
                    <a:lnTo>
                      <a:pt x="0" y="15"/>
                    </a:lnTo>
                    <a:lnTo>
                      <a:pt x="4" y="4"/>
                    </a:lnTo>
                    <a:lnTo>
                      <a:pt x="26" y="7"/>
                    </a:lnTo>
                    <a:lnTo>
                      <a:pt x="60" y="7"/>
                    </a:lnTo>
                    <a:lnTo>
                      <a:pt x="67" y="18"/>
                    </a:lnTo>
                    <a:lnTo>
                      <a:pt x="104" y="18"/>
                    </a:lnTo>
                    <a:lnTo>
                      <a:pt x="130" y="18"/>
                    </a:lnTo>
                    <a:lnTo>
                      <a:pt x="164" y="11"/>
                    </a:lnTo>
                    <a:lnTo>
                      <a:pt x="205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  <p:sp>
            <p:nvSpPr>
              <p:cNvPr id="255" name="Freeform 11"/>
              <p:cNvSpPr>
                <a:spLocks/>
              </p:cNvSpPr>
              <p:nvPr/>
            </p:nvSpPr>
            <p:spPr bwMode="auto">
              <a:xfrm>
                <a:off x="1701" y="2980"/>
                <a:ext cx="737" cy="830"/>
              </a:xfrm>
              <a:custGeom>
                <a:avLst/>
                <a:gdLst>
                  <a:gd name="T0" fmla="*/ 564 w 737"/>
                  <a:gd name="T1" fmla="*/ 819 h 830"/>
                  <a:gd name="T2" fmla="*/ 609 w 737"/>
                  <a:gd name="T3" fmla="*/ 741 h 830"/>
                  <a:gd name="T4" fmla="*/ 628 w 737"/>
                  <a:gd name="T5" fmla="*/ 715 h 830"/>
                  <a:gd name="T6" fmla="*/ 613 w 737"/>
                  <a:gd name="T7" fmla="*/ 678 h 830"/>
                  <a:gd name="T8" fmla="*/ 594 w 737"/>
                  <a:gd name="T9" fmla="*/ 674 h 830"/>
                  <a:gd name="T10" fmla="*/ 609 w 737"/>
                  <a:gd name="T11" fmla="*/ 645 h 830"/>
                  <a:gd name="T12" fmla="*/ 632 w 737"/>
                  <a:gd name="T13" fmla="*/ 604 h 830"/>
                  <a:gd name="T14" fmla="*/ 702 w 737"/>
                  <a:gd name="T15" fmla="*/ 652 h 830"/>
                  <a:gd name="T16" fmla="*/ 731 w 737"/>
                  <a:gd name="T17" fmla="*/ 652 h 830"/>
                  <a:gd name="T18" fmla="*/ 709 w 737"/>
                  <a:gd name="T19" fmla="*/ 596 h 830"/>
                  <a:gd name="T20" fmla="*/ 687 w 737"/>
                  <a:gd name="T21" fmla="*/ 593 h 830"/>
                  <a:gd name="T22" fmla="*/ 609 w 737"/>
                  <a:gd name="T23" fmla="*/ 530 h 830"/>
                  <a:gd name="T24" fmla="*/ 560 w 737"/>
                  <a:gd name="T25" fmla="*/ 496 h 830"/>
                  <a:gd name="T26" fmla="*/ 564 w 737"/>
                  <a:gd name="T27" fmla="*/ 474 h 830"/>
                  <a:gd name="T28" fmla="*/ 490 w 737"/>
                  <a:gd name="T29" fmla="*/ 440 h 830"/>
                  <a:gd name="T30" fmla="*/ 457 w 737"/>
                  <a:gd name="T31" fmla="*/ 411 h 830"/>
                  <a:gd name="T32" fmla="*/ 379 w 737"/>
                  <a:gd name="T33" fmla="*/ 293 h 830"/>
                  <a:gd name="T34" fmla="*/ 364 w 737"/>
                  <a:gd name="T35" fmla="*/ 200 h 830"/>
                  <a:gd name="T36" fmla="*/ 342 w 737"/>
                  <a:gd name="T37" fmla="*/ 163 h 830"/>
                  <a:gd name="T38" fmla="*/ 405 w 737"/>
                  <a:gd name="T39" fmla="*/ 134 h 830"/>
                  <a:gd name="T40" fmla="*/ 434 w 737"/>
                  <a:gd name="T41" fmla="*/ 70 h 830"/>
                  <a:gd name="T42" fmla="*/ 368 w 737"/>
                  <a:gd name="T43" fmla="*/ 41 h 830"/>
                  <a:gd name="T44" fmla="*/ 357 w 737"/>
                  <a:gd name="T45" fmla="*/ 15 h 830"/>
                  <a:gd name="T46" fmla="*/ 264 w 737"/>
                  <a:gd name="T47" fmla="*/ 4 h 830"/>
                  <a:gd name="T48" fmla="*/ 220 w 737"/>
                  <a:gd name="T49" fmla="*/ 52 h 830"/>
                  <a:gd name="T50" fmla="*/ 182 w 737"/>
                  <a:gd name="T51" fmla="*/ 48 h 830"/>
                  <a:gd name="T52" fmla="*/ 134 w 737"/>
                  <a:gd name="T53" fmla="*/ 63 h 830"/>
                  <a:gd name="T54" fmla="*/ 116 w 737"/>
                  <a:gd name="T55" fmla="*/ 30 h 830"/>
                  <a:gd name="T56" fmla="*/ 90 w 737"/>
                  <a:gd name="T57" fmla="*/ 59 h 830"/>
                  <a:gd name="T58" fmla="*/ 22 w 737"/>
                  <a:gd name="T59" fmla="*/ 85 h 830"/>
                  <a:gd name="T60" fmla="*/ 7 w 737"/>
                  <a:gd name="T61" fmla="*/ 137 h 830"/>
                  <a:gd name="T62" fmla="*/ 0 w 737"/>
                  <a:gd name="T63" fmla="*/ 189 h 830"/>
                  <a:gd name="T64" fmla="*/ 30 w 737"/>
                  <a:gd name="T65" fmla="*/ 208 h 830"/>
                  <a:gd name="T66" fmla="*/ 52 w 737"/>
                  <a:gd name="T67" fmla="*/ 249 h 830"/>
                  <a:gd name="T68" fmla="*/ 123 w 737"/>
                  <a:gd name="T69" fmla="*/ 211 h 830"/>
                  <a:gd name="T70" fmla="*/ 190 w 737"/>
                  <a:gd name="T71" fmla="*/ 271 h 830"/>
                  <a:gd name="T72" fmla="*/ 220 w 737"/>
                  <a:gd name="T73" fmla="*/ 352 h 830"/>
                  <a:gd name="T74" fmla="*/ 271 w 737"/>
                  <a:gd name="T75" fmla="*/ 397 h 830"/>
                  <a:gd name="T76" fmla="*/ 338 w 737"/>
                  <a:gd name="T77" fmla="*/ 478 h 830"/>
                  <a:gd name="T78" fmla="*/ 442 w 737"/>
                  <a:gd name="T79" fmla="*/ 555 h 830"/>
                  <a:gd name="T80" fmla="*/ 475 w 737"/>
                  <a:gd name="T81" fmla="*/ 578 h 830"/>
                  <a:gd name="T82" fmla="*/ 501 w 737"/>
                  <a:gd name="T83" fmla="*/ 630 h 830"/>
                  <a:gd name="T84" fmla="*/ 542 w 737"/>
                  <a:gd name="T85" fmla="*/ 645 h 830"/>
                  <a:gd name="T86" fmla="*/ 557 w 737"/>
                  <a:gd name="T87" fmla="*/ 711 h 830"/>
                  <a:gd name="T88" fmla="*/ 545 w 737"/>
                  <a:gd name="T89" fmla="*/ 760 h 830"/>
                  <a:gd name="T90" fmla="*/ 534 w 737"/>
                  <a:gd name="T91" fmla="*/ 819 h 8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737"/>
                  <a:gd name="T139" fmla="*/ 0 h 830"/>
                  <a:gd name="T140" fmla="*/ 737 w 737"/>
                  <a:gd name="T141" fmla="*/ 830 h 83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737" h="830">
                    <a:moveTo>
                      <a:pt x="534" y="819"/>
                    </a:moveTo>
                    <a:lnTo>
                      <a:pt x="545" y="830"/>
                    </a:lnTo>
                    <a:lnTo>
                      <a:pt x="564" y="819"/>
                    </a:lnTo>
                    <a:lnTo>
                      <a:pt x="586" y="789"/>
                    </a:lnTo>
                    <a:lnTo>
                      <a:pt x="597" y="745"/>
                    </a:lnTo>
                    <a:lnTo>
                      <a:pt x="609" y="741"/>
                    </a:lnTo>
                    <a:lnTo>
                      <a:pt x="617" y="748"/>
                    </a:lnTo>
                    <a:lnTo>
                      <a:pt x="632" y="734"/>
                    </a:lnTo>
                    <a:lnTo>
                      <a:pt x="628" y="715"/>
                    </a:lnTo>
                    <a:lnTo>
                      <a:pt x="635" y="700"/>
                    </a:lnTo>
                    <a:lnTo>
                      <a:pt x="632" y="693"/>
                    </a:lnTo>
                    <a:lnTo>
                      <a:pt x="613" y="678"/>
                    </a:lnTo>
                    <a:lnTo>
                      <a:pt x="606" y="678"/>
                    </a:lnTo>
                    <a:lnTo>
                      <a:pt x="609" y="670"/>
                    </a:lnTo>
                    <a:lnTo>
                      <a:pt x="594" y="674"/>
                    </a:lnTo>
                    <a:lnTo>
                      <a:pt x="586" y="667"/>
                    </a:lnTo>
                    <a:lnTo>
                      <a:pt x="586" y="659"/>
                    </a:lnTo>
                    <a:lnTo>
                      <a:pt x="609" y="645"/>
                    </a:lnTo>
                    <a:lnTo>
                      <a:pt x="620" y="630"/>
                    </a:lnTo>
                    <a:lnTo>
                      <a:pt x="620" y="607"/>
                    </a:lnTo>
                    <a:lnTo>
                      <a:pt x="632" y="604"/>
                    </a:lnTo>
                    <a:lnTo>
                      <a:pt x="669" y="622"/>
                    </a:lnTo>
                    <a:lnTo>
                      <a:pt x="683" y="626"/>
                    </a:lnTo>
                    <a:lnTo>
                      <a:pt x="702" y="652"/>
                    </a:lnTo>
                    <a:lnTo>
                      <a:pt x="709" y="667"/>
                    </a:lnTo>
                    <a:lnTo>
                      <a:pt x="720" y="667"/>
                    </a:lnTo>
                    <a:lnTo>
                      <a:pt x="731" y="652"/>
                    </a:lnTo>
                    <a:lnTo>
                      <a:pt x="737" y="637"/>
                    </a:lnTo>
                    <a:lnTo>
                      <a:pt x="724" y="611"/>
                    </a:lnTo>
                    <a:lnTo>
                      <a:pt x="709" y="596"/>
                    </a:lnTo>
                    <a:lnTo>
                      <a:pt x="695" y="596"/>
                    </a:lnTo>
                    <a:lnTo>
                      <a:pt x="695" y="593"/>
                    </a:lnTo>
                    <a:lnTo>
                      <a:pt x="687" y="593"/>
                    </a:lnTo>
                    <a:lnTo>
                      <a:pt x="650" y="555"/>
                    </a:lnTo>
                    <a:lnTo>
                      <a:pt x="632" y="559"/>
                    </a:lnTo>
                    <a:lnTo>
                      <a:pt x="609" y="530"/>
                    </a:lnTo>
                    <a:lnTo>
                      <a:pt x="594" y="526"/>
                    </a:lnTo>
                    <a:lnTo>
                      <a:pt x="571" y="504"/>
                    </a:lnTo>
                    <a:lnTo>
                      <a:pt x="560" y="496"/>
                    </a:lnTo>
                    <a:lnTo>
                      <a:pt x="568" y="489"/>
                    </a:lnTo>
                    <a:lnTo>
                      <a:pt x="579" y="485"/>
                    </a:lnTo>
                    <a:lnTo>
                      <a:pt x="564" y="474"/>
                    </a:lnTo>
                    <a:lnTo>
                      <a:pt x="545" y="481"/>
                    </a:lnTo>
                    <a:lnTo>
                      <a:pt x="531" y="474"/>
                    </a:lnTo>
                    <a:lnTo>
                      <a:pt x="490" y="440"/>
                    </a:lnTo>
                    <a:lnTo>
                      <a:pt x="486" y="426"/>
                    </a:lnTo>
                    <a:lnTo>
                      <a:pt x="471" y="422"/>
                    </a:lnTo>
                    <a:lnTo>
                      <a:pt x="457" y="411"/>
                    </a:lnTo>
                    <a:lnTo>
                      <a:pt x="419" y="330"/>
                    </a:lnTo>
                    <a:lnTo>
                      <a:pt x="408" y="319"/>
                    </a:lnTo>
                    <a:lnTo>
                      <a:pt x="379" y="293"/>
                    </a:lnTo>
                    <a:lnTo>
                      <a:pt x="345" y="241"/>
                    </a:lnTo>
                    <a:lnTo>
                      <a:pt x="345" y="211"/>
                    </a:lnTo>
                    <a:lnTo>
                      <a:pt x="364" y="200"/>
                    </a:lnTo>
                    <a:lnTo>
                      <a:pt x="364" y="185"/>
                    </a:lnTo>
                    <a:lnTo>
                      <a:pt x="349" y="171"/>
                    </a:lnTo>
                    <a:lnTo>
                      <a:pt x="342" y="163"/>
                    </a:lnTo>
                    <a:lnTo>
                      <a:pt x="345" y="152"/>
                    </a:lnTo>
                    <a:lnTo>
                      <a:pt x="360" y="145"/>
                    </a:lnTo>
                    <a:lnTo>
                      <a:pt x="405" y="134"/>
                    </a:lnTo>
                    <a:lnTo>
                      <a:pt x="423" y="122"/>
                    </a:lnTo>
                    <a:lnTo>
                      <a:pt x="438" y="108"/>
                    </a:lnTo>
                    <a:lnTo>
                      <a:pt x="434" y="70"/>
                    </a:lnTo>
                    <a:lnTo>
                      <a:pt x="438" y="56"/>
                    </a:lnTo>
                    <a:lnTo>
                      <a:pt x="416" y="52"/>
                    </a:lnTo>
                    <a:lnTo>
                      <a:pt x="368" y="41"/>
                    </a:lnTo>
                    <a:lnTo>
                      <a:pt x="360" y="30"/>
                    </a:lnTo>
                    <a:lnTo>
                      <a:pt x="357" y="26"/>
                    </a:lnTo>
                    <a:lnTo>
                      <a:pt x="357" y="15"/>
                    </a:lnTo>
                    <a:lnTo>
                      <a:pt x="353" y="4"/>
                    </a:lnTo>
                    <a:lnTo>
                      <a:pt x="327" y="0"/>
                    </a:lnTo>
                    <a:lnTo>
                      <a:pt x="264" y="4"/>
                    </a:lnTo>
                    <a:lnTo>
                      <a:pt x="257" y="19"/>
                    </a:lnTo>
                    <a:lnTo>
                      <a:pt x="234" y="22"/>
                    </a:lnTo>
                    <a:lnTo>
                      <a:pt x="220" y="52"/>
                    </a:lnTo>
                    <a:lnTo>
                      <a:pt x="220" y="63"/>
                    </a:lnTo>
                    <a:lnTo>
                      <a:pt x="205" y="52"/>
                    </a:lnTo>
                    <a:lnTo>
                      <a:pt x="182" y="48"/>
                    </a:lnTo>
                    <a:lnTo>
                      <a:pt x="168" y="56"/>
                    </a:lnTo>
                    <a:lnTo>
                      <a:pt x="157" y="78"/>
                    </a:lnTo>
                    <a:lnTo>
                      <a:pt x="134" y="63"/>
                    </a:lnTo>
                    <a:lnTo>
                      <a:pt x="138" y="41"/>
                    </a:lnTo>
                    <a:lnTo>
                      <a:pt x="131" y="26"/>
                    </a:lnTo>
                    <a:lnTo>
                      <a:pt x="116" y="30"/>
                    </a:lnTo>
                    <a:lnTo>
                      <a:pt x="112" y="48"/>
                    </a:lnTo>
                    <a:lnTo>
                      <a:pt x="101" y="59"/>
                    </a:lnTo>
                    <a:lnTo>
                      <a:pt x="90" y="59"/>
                    </a:lnTo>
                    <a:lnTo>
                      <a:pt x="37" y="52"/>
                    </a:lnTo>
                    <a:lnTo>
                      <a:pt x="19" y="67"/>
                    </a:lnTo>
                    <a:lnTo>
                      <a:pt x="22" y="85"/>
                    </a:lnTo>
                    <a:lnTo>
                      <a:pt x="26" y="100"/>
                    </a:lnTo>
                    <a:lnTo>
                      <a:pt x="0" y="122"/>
                    </a:lnTo>
                    <a:lnTo>
                      <a:pt x="7" y="137"/>
                    </a:lnTo>
                    <a:lnTo>
                      <a:pt x="15" y="145"/>
                    </a:lnTo>
                    <a:lnTo>
                      <a:pt x="0" y="163"/>
                    </a:lnTo>
                    <a:lnTo>
                      <a:pt x="0" y="189"/>
                    </a:lnTo>
                    <a:lnTo>
                      <a:pt x="7" y="200"/>
                    </a:lnTo>
                    <a:lnTo>
                      <a:pt x="22" y="200"/>
                    </a:lnTo>
                    <a:lnTo>
                      <a:pt x="30" y="208"/>
                    </a:lnTo>
                    <a:lnTo>
                      <a:pt x="37" y="226"/>
                    </a:lnTo>
                    <a:lnTo>
                      <a:pt x="37" y="245"/>
                    </a:lnTo>
                    <a:lnTo>
                      <a:pt x="52" y="249"/>
                    </a:lnTo>
                    <a:lnTo>
                      <a:pt x="63" y="245"/>
                    </a:lnTo>
                    <a:lnTo>
                      <a:pt x="105" y="204"/>
                    </a:lnTo>
                    <a:lnTo>
                      <a:pt x="123" y="211"/>
                    </a:lnTo>
                    <a:lnTo>
                      <a:pt x="160" y="230"/>
                    </a:lnTo>
                    <a:lnTo>
                      <a:pt x="186" y="249"/>
                    </a:lnTo>
                    <a:lnTo>
                      <a:pt x="190" y="271"/>
                    </a:lnTo>
                    <a:lnTo>
                      <a:pt x="205" y="286"/>
                    </a:lnTo>
                    <a:lnTo>
                      <a:pt x="212" y="312"/>
                    </a:lnTo>
                    <a:lnTo>
                      <a:pt x="220" y="352"/>
                    </a:lnTo>
                    <a:lnTo>
                      <a:pt x="231" y="371"/>
                    </a:lnTo>
                    <a:lnTo>
                      <a:pt x="245" y="387"/>
                    </a:lnTo>
                    <a:lnTo>
                      <a:pt x="271" y="397"/>
                    </a:lnTo>
                    <a:lnTo>
                      <a:pt x="294" y="433"/>
                    </a:lnTo>
                    <a:lnTo>
                      <a:pt x="316" y="463"/>
                    </a:lnTo>
                    <a:lnTo>
                      <a:pt x="338" y="478"/>
                    </a:lnTo>
                    <a:lnTo>
                      <a:pt x="379" y="526"/>
                    </a:lnTo>
                    <a:lnTo>
                      <a:pt x="408" y="526"/>
                    </a:lnTo>
                    <a:lnTo>
                      <a:pt x="442" y="555"/>
                    </a:lnTo>
                    <a:lnTo>
                      <a:pt x="442" y="585"/>
                    </a:lnTo>
                    <a:lnTo>
                      <a:pt x="453" y="593"/>
                    </a:lnTo>
                    <a:lnTo>
                      <a:pt x="475" y="578"/>
                    </a:lnTo>
                    <a:lnTo>
                      <a:pt x="479" y="593"/>
                    </a:lnTo>
                    <a:lnTo>
                      <a:pt x="479" y="611"/>
                    </a:lnTo>
                    <a:lnTo>
                      <a:pt x="501" y="630"/>
                    </a:lnTo>
                    <a:lnTo>
                      <a:pt x="508" y="641"/>
                    </a:lnTo>
                    <a:lnTo>
                      <a:pt x="538" y="633"/>
                    </a:lnTo>
                    <a:lnTo>
                      <a:pt x="542" y="645"/>
                    </a:lnTo>
                    <a:lnTo>
                      <a:pt x="538" y="670"/>
                    </a:lnTo>
                    <a:lnTo>
                      <a:pt x="553" y="693"/>
                    </a:lnTo>
                    <a:lnTo>
                      <a:pt x="557" y="711"/>
                    </a:lnTo>
                    <a:lnTo>
                      <a:pt x="564" y="730"/>
                    </a:lnTo>
                    <a:lnTo>
                      <a:pt x="560" y="745"/>
                    </a:lnTo>
                    <a:lnTo>
                      <a:pt x="545" y="760"/>
                    </a:lnTo>
                    <a:lnTo>
                      <a:pt x="542" y="778"/>
                    </a:lnTo>
                    <a:lnTo>
                      <a:pt x="531" y="800"/>
                    </a:lnTo>
                    <a:lnTo>
                      <a:pt x="534" y="819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</p:grpSp>
        <p:sp>
          <p:nvSpPr>
            <p:cNvPr id="206" name="Freeform 12"/>
            <p:cNvSpPr>
              <a:spLocks/>
            </p:cNvSpPr>
            <p:nvPr/>
          </p:nvSpPr>
          <p:spPr bwMode="auto">
            <a:xfrm>
              <a:off x="4477714" y="3900858"/>
              <a:ext cx="450039" cy="306684"/>
            </a:xfrm>
            <a:custGeom>
              <a:avLst/>
              <a:gdLst>
                <a:gd name="T0" fmla="*/ 2147483647 w 298"/>
                <a:gd name="T1" fmla="*/ 2147483647 h 194"/>
                <a:gd name="T2" fmla="*/ 2147483647 w 298"/>
                <a:gd name="T3" fmla="*/ 2147483647 h 194"/>
                <a:gd name="T4" fmla="*/ 2147483647 w 298"/>
                <a:gd name="T5" fmla="*/ 2147483647 h 194"/>
                <a:gd name="T6" fmla="*/ 2147483647 w 298"/>
                <a:gd name="T7" fmla="*/ 2147483647 h 194"/>
                <a:gd name="T8" fmla="*/ 2147483647 w 298"/>
                <a:gd name="T9" fmla="*/ 0 h 194"/>
                <a:gd name="T10" fmla="*/ 2147483647 w 298"/>
                <a:gd name="T11" fmla="*/ 2147483647 h 194"/>
                <a:gd name="T12" fmla="*/ 2147483647 w 298"/>
                <a:gd name="T13" fmla="*/ 2147483647 h 194"/>
                <a:gd name="T14" fmla="*/ 2147483647 w 298"/>
                <a:gd name="T15" fmla="*/ 2147483647 h 194"/>
                <a:gd name="T16" fmla="*/ 2147483647 w 298"/>
                <a:gd name="T17" fmla="*/ 2147483647 h 194"/>
                <a:gd name="T18" fmla="*/ 2147483647 w 298"/>
                <a:gd name="T19" fmla="*/ 2147483647 h 194"/>
                <a:gd name="T20" fmla="*/ 2147483647 w 298"/>
                <a:gd name="T21" fmla="*/ 2147483647 h 194"/>
                <a:gd name="T22" fmla="*/ 2147483647 w 298"/>
                <a:gd name="T23" fmla="*/ 2147483647 h 194"/>
                <a:gd name="T24" fmla="*/ 2147483647 w 298"/>
                <a:gd name="T25" fmla="*/ 2147483647 h 194"/>
                <a:gd name="T26" fmla="*/ 2147483647 w 298"/>
                <a:gd name="T27" fmla="*/ 2147483647 h 194"/>
                <a:gd name="T28" fmla="*/ 2147483647 w 298"/>
                <a:gd name="T29" fmla="*/ 2147483647 h 194"/>
                <a:gd name="T30" fmla="*/ 2147483647 w 298"/>
                <a:gd name="T31" fmla="*/ 2147483647 h 194"/>
                <a:gd name="T32" fmla="*/ 0 w 298"/>
                <a:gd name="T33" fmla="*/ 2147483647 h 194"/>
                <a:gd name="T34" fmla="*/ 2147483647 w 298"/>
                <a:gd name="T35" fmla="*/ 2147483647 h 194"/>
                <a:gd name="T36" fmla="*/ 2147483647 w 298"/>
                <a:gd name="T37" fmla="*/ 2147483647 h 194"/>
                <a:gd name="T38" fmla="*/ 2147483647 w 298"/>
                <a:gd name="T39" fmla="*/ 2147483647 h 194"/>
                <a:gd name="T40" fmla="*/ 2147483647 w 298"/>
                <a:gd name="T41" fmla="*/ 2147483647 h 194"/>
                <a:gd name="T42" fmla="*/ 2147483647 w 298"/>
                <a:gd name="T43" fmla="*/ 2147483647 h 194"/>
                <a:gd name="T44" fmla="*/ 2147483647 w 298"/>
                <a:gd name="T45" fmla="*/ 2147483647 h 194"/>
                <a:gd name="T46" fmla="*/ 2147483647 w 298"/>
                <a:gd name="T47" fmla="*/ 2147483647 h 194"/>
                <a:gd name="T48" fmla="*/ 2147483647 w 298"/>
                <a:gd name="T49" fmla="*/ 2147483647 h 194"/>
                <a:gd name="T50" fmla="*/ 2147483647 w 298"/>
                <a:gd name="T51" fmla="*/ 2147483647 h 194"/>
                <a:gd name="T52" fmla="*/ 2147483647 w 298"/>
                <a:gd name="T53" fmla="*/ 2147483647 h 194"/>
                <a:gd name="T54" fmla="*/ 2147483647 w 298"/>
                <a:gd name="T55" fmla="*/ 2147483647 h 194"/>
                <a:gd name="T56" fmla="*/ 2147483647 w 298"/>
                <a:gd name="T57" fmla="*/ 2147483647 h 194"/>
                <a:gd name="T58" fmla="*/ 2147483647 w 298"/>
                <a:gd name="T59" fmla="*/ 2147483647 h 194"/>
                <a:gd name="T60" fmla="*/ 2147483647 w 298"/>
                <a:gd name="T61" fmla="*/ 2147483647 h 194"/>
                <a:gd name="T62" fmla="*/ 2147483647 w 298"/>
                <a:gd name="T63" fmla="*/ 2147483647 h 194"/>
                <a:gd name="T64" fmla="*/ 2147483647 w 298"/>
                <a:gd name="T65" fmla="*/ 2147483647 h 194"/>
                <a:gd name="T66" fmla="*/ 2147483647 w 298"/>
                <a:gd name="T67" fmla="*/ 2147483647 h 194"/>
                <a:gd name="T68" fmla="*/ 2147483647 w 298"/>
                <a:gd name="T69" fmla="*/ 2147483647 h 194"/>
                <a:gd name="T70" fmla="*/ 2147483647 w 298"/>
                <a:gd name="T71" fmla="*/ 2147483647 h 194"/>
                <a:gd name="T72" fmla="*/ 2147483647 w 298"/>
                <a:gd name="T73" fmla="*/ 2147483647 h 194"/>
                <a:gd name="T74" fmla="*/ 2147483647 w 298"/>
                <a:gd name="T75" fmla="*/ 2147483647 h 194"/>
                <a:gd name="T76" fmla="*/ 2147483647 w 298"/>
                <a:gd name="T77" fmla="*/ 2147483647 h 194"/>
                <a:gd name="T78" fmla="*/ 2147483647 w 298"/>
                <a:gd name="T79" fmla="*/ 2147483647 h 194"/>
                <a:gd name="T80" fmla="*/ 2147483647 w 298"/>
                <a:gd name="T81" fmla="*/ 2147483647 h 194"/>
                <a:gd name="T82" fmla="*/ 2147483647 w 298"/>
                <a:gd name="T83" fmla="*/ 2147483647 h 194"/>
                <a:gd name="T84" fmla="*/ 2147483647 w 298"/>
                <a:gd name="T85" fmla="*/ 2147483647 h 194"/>
                <a:gd name="T86" fmla="*/ 2147483647 w 298"/>
                <a:gd name="T87" fmla="*/ 2147483647 h 194"/>
                <a:gd name="T88" fmla="*/ 2147483647 w 298"/>
                <a:gd name="T89" fmla="*/ 2147483647 h 194"/>
                <a:gd name="T90" fmla="*/ 2147483647 w 298"/>
                <a:gd name="T91" fmla="*/ 2147483647 h 194"/>
                <a:gd name="T92" fmla="*/ 2147483647 w 298"/>
                <a:gd name="T93" fmla="*/ 2147483647 h 194"/>
                <a:gd name="T94" fmla="*/ 2147483647 w 298"/>
                <a:gd name="T95" fmla="*/ 2147483647 h 194"/>
                <a:gd name="T96" fmla="*/ 2147483647 w 298"/>
                <a:gd name="T97" fmla="*/ 2147483647 h 194"/>
                <a:gd name="T98" fmla="*/ 2147483647 w 298"/>
                <a:gd name="T99" fmla="*/ 2147483647 h 194"/>
                <a:gd name="T100" fmla="*/ 2147483647 w 298"/>
                <a:gd name="T101" fmla="*/ 2147483647 h 194"/>
                <a:gd name="T102" fmla="*/ 2147483647 w 298"/>
                <a:gd name="T103" fmla="*/ 2147483647 h 194"/>
                <a:gd name="T104" fmla="*/ 2147483647 w 298"/>
                <a:gd name="T105" fmla="*/ 2147483647 h 194"/>
                <a:gd name="T106" fmla="*/ 2147483647 w 298"/>
                <a:gd name="T107" fmla="*/ 2147483647 h 194"/>
                <a:gd name="T108" fmla="*/ 2147483647 w 298"/>
                <a:gd name="T109" fmla="*/ 2147483647 h 194"/>
                <a:gd name="T110" fmla="*/ 2147483647 w 298"/>
                <a:gd name="T111" fmla="*/ 2147483647 h 194"/>
                <a:gd name="T112" fmla="*/ 2147483647 w 298"/>
                <a:gd name="T113" fmla="*/ 2147483647 h 194"/>
                <a:gd name="T114" fmla="*/ 2147483647 w 298"/>
                <a:gd name="T115" fmla="*/ 2147483647 h 194"/>
                <a:gd name="T116" fmla="*/ 2147483647 w 298"/>
                <a:gd name="T117" fmla="*/ 2147483647 h 194"/>
                <a:gd name="T118" fmla="*/ 2147483647 w 298"/>
                <a:gd name="T119" fmla="*/ 2147483647 h 19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8"/>
                <a:gd name="T181" fmla="*/ 0 h 194"/>
                <a:gd name="T182" fmla="*/ 298 w 298"/>
                <a:gd name="T183" fmla="*/ 194 h 19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8" h="194">
                  <a:moveTo>
                    <a:pt x="157" y="37"/>
                  </a:moveTo>
                  <a:lnTo>
                    <a:pt x="142" y="24"/>
                  </a:lnTo>
                  <a:lnTo>
                    <a:pt x="144" y="19"/>
                  </a:lnTo>
                  <a:lnTo>
                    <a:pt x="135" y="11"/>
                  </a:lnTo>
                  <a:lnTo>
                    <a:pt x="127" y="0"/>
                  </a:lnTo>
                  <a:lnTo>
                    <a:pt x="117" y="11"/>
                  </a:lnTo>
                  <a:lnTo>
                    <a:pt x="111" y="7"/>
                  </a:lnTo>
                  <a:lnTo>
                    <a:pt x="100" y="17"/>
                  </a:lnTo>
                  <a:lnTo>
                    <a:pt x="100" y="22"/>
                  </a:lnTo>
                  <a:lnTo>
                    <a:pt x="87" y="28"/>
                  </a:lnTo>
                  <a:lnTo>
                    <a:pt x="54" y="54"/>
                  </a:lnTo>
                  <a:lnTo>
                    <a:pt x="45" y="65"/>
                  </a:lnTo>
                  <a:lnTo>
                    <a:pt x="45" y="78"/>
                  </a:lnTo>
                  <a:lnTo>
                    <a:pt x="33" y="82"/>
                  </a:lnTo>
                  <a:lnTo>
                    <a:pt x="9" y="108"/>
                  </a:lnTo>
                  <a:lnTo>
                    <a:pt x="9" y="117"/>
                  </a:lnTo>
                  <a:lnTo>
                    <a:pt x="0" y="128"/>
                  </a:lnTo>
                  <a:lnTo>
                    <a:pt x="4" y="141"/>
                  </a:lnTo>
                  <a:lnTo>
                    <a:pt x="15" y="134"/>
                  </a:lnTo>
                  <a:lnTo>
                    <a:pt x="26" y="122"/>
                  </a:lnTo>
                  <a:lnTo>
                    <a:pt x="43" y="119"/>
                  </a:lnTo>
                  <a:lnTo>
                    <a:pt x="54" y="122"/>
                  </a:lnTo>
                  <a:lnTo>
                    <a:pt x="58" y="141"/>
                  </a:lnTo>
                  <a:lnTo>
                    <a:pt x="56" y="154"/>
                  </a:lnTo>
                  <a:lnTo>
                    <a:pt x="63" y="163"/>
                  </a:lnTo>
                  <a:lnTo>
                    <a:pt x="72" y="169"/>
                  </a:lnTo>
                  <a:lnTo>
                    <a:pt x="91" y="171"/>
                  </a:lnTo>
                  <a:lnTo>
                    <a:pt x="133" y="176"/>
                  </a:lnTo>
                  <a:lnTo>
                    <a:pt x="142" y="171"/>
                  </a:lnTo>
                  <a:lnTo>
                    <a:pt x="148" y="163"/>
                  </a:lnTo>
                  <a:lnTo>
                    <a:pt x="152" y="146"/>
                  </a:lnTo>
                  <a:lnTo>
                    <a:pt x="167" y="145"/>
                  </a:lnTo>
                  <a:lnTo>
                    <a:pt x="172" y="156"/>
                  </a:lnTo>
                  <a:lnTo>
                    <a:pt x="172" y="181"/>
                  </a:lnTo>
                  <a:lnTo>
                    <a:pt x="191" y="194"/>
                  </a:lnTo>
                  <a:lnTo>
                    <a:pt x="205" y="172"/>
                  </a:lnTo>
                  <a:lnTo>
                    <a:pt x="220" y="165"/>
                  </a:lnTo>
                  <a:lnTo>
                    <a:pt x="237" y="167"/>
                  </a:lnTo>
                  <a:lnTo>
                    <a:pt x="250" y="174"/>
                  </a:lnTo>
                  <a:lnTo>
                    <a:pt x="255" y="180"/>
                  </a:lnTo>
                  <a:lnTo>
                    <a:pt x="259" y="161"/>
                  </a:lnTo>
                  <a:lnTo>
                    <a:pt x="269" y="139"/>
                  </a:lnTo>
                  <a:lnTo>
                    <a:pt x="291" y="135"/>
                  </a:lnTo>
                  <a:lnTo>
                    <a:pt x="298" y="121"/>
                  </a:lnTo>
                  <a:lnTo>
                    <a:pt x="291" y="109"/>
                  </a:lnTo>
                  <a:lnTo>
                    <a:pt x="281" y="104"/>
                  </a:lnTo>
                  <a:lnTo>
                    <a:pt x="253" y="99"/>
                  </a:lnTo>
                  <a:lnTo>
                    <a:pt x="252" y="85"/>
                  </a:lnTo>
                  <a:lnTo>
                    <a:pt x="252" y="70"/>
                  </a:lnTo>
                  <a:lnTo>
                    <a:pt x="252" y="59"/>
                  </a:lnTo>
                  <a:lnTo>
                    <a:pt x="235" y="50"/>
                  </a:lnTo>
                  <a:lnTo>
                    <a:pt x="226" y="54"/>
                  </a:lnTo>
                  <a:lnTo>
                    <a:pt x="211" y="43"/>
                  </a:lnTo>
                  <a:lnTo>
                    <a:pt x="209" y="35"/>
                  </a:lnTo>
                  <a:lnTo>
                    <a:pt x="203" y="26"/>
                  </a:lnTo>
                  <a:lnTo>
                    <a:pt x="203" y="22"/>
                  </a:lnTo>
                  <a:lnTo>
                    <a:pt x="187" y="17"/>
                  </a:lnTo>
                  <a:lnTo>
                    <a:pt x="181" y="24"/>
                  </a:lnTo>
                  <a:lnTo>
                    <a:pt x="170" y="32"/>
                  </a:lnTo>
                  <a:lnTo>
                    <a:pt x="157" y="37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7" name="Freeform 14"/>
            <p:cNvSpPr>
              <a:spLocks/>
            </p:cNvSpPr>
            <p:nvPr/>
          </p:nvSpPr>
          <p:spPr bwMode="auto">
            <a:xfrm>
              <a:off x="5441220" y="3907182"/>
              <a:ext cx="634283" cy="401534"/>
            </a:xfrm>
            <a:custGeom>
              <a:avLst/>
              <a:gdLst>
                <a:gd name="T0" fmla="*/ 2147483647 w 420"/>
                <a:gd name="T1" fmla="*/ 2147483647 h 254"/>
                <a:gd name="T2" fmla="*/ 2147483647 w 420"/>
                <a:gd name="T3" fmla="*/ 2147483647 h 254"/>
                <a:gd name="T4" fmla="*/ 2147483647 w 420"/>
                <a:gd name="T5" fmla="*/ 2147483647 h 254"/>
                <a:gd name="T6" fmla="*/ 2147483647 w 420"/>
                <a:gd name="T7" fmla="*/ 2147483647 h 254"/>
                <a:gd name="T8" fmla="*/ 2147483647 w 420"/>
                <a:gd name="T9" fmla="*/ 2147483647 h 254"/>
                <a:gd name="T10" fmla="*/ 2147483647 w 420"/>
                <a:gd name="T11" fmla="*/ 2147483647 h 254"/>
                <a:gd name="T12" fmla="*/ 2147483647 w 420"/>
                <a:gd name="T13" fmla="*/ 2147483647 h 254"/>
                <a:gd name="T14" fmla="*/ 2147483647 w 420"/>
                <a:gd name="T15" fmla="*/ 2147483647 h 254"/>
                <a:gd name="T16" fmla="*/ 2147483647 w 420"/>
                <a:gd name="T17" fmla="*/ 2147483647 h 254"/>
                <a:gd name="T18" fmla="*/ 2147483647 w 420"/>
                <a:gd name="T19" fmla="*/ 2147483647 h 254"/>
                <a:gd name="T20" fmla="*/ 2147483647 w 420"/>
                <a:gd name="T21" fmla="*/ 2147483647 h 254"/>
                <a:gd name="T22" fmla="*/ 2147483647 w 420"/>
                <a:gd name="T23" fmla="*/ 2147483647 h 254"/>
                <a:gd name="T24" fmla="*/ 2147483647 w 420"/>
                <a:gd name="T25" fmla="*/ 2147483647 h 254"/>
                <a:gd name="T26" fmla="*/ 2147483647 w 420"/>
                <a:gd name="T27" fmla="*/ 2147483647 h 254"/>
                <a:gd name="T28" fmla="*/ 2147483647 w 420"/>
                <a:gd name="T29" fmla="*/ 2147483647 h 254"/>
                <a:gd name="T30" fmla="*/ 2147483647 w 420"/>
                <a:gd name="T31" fmla="*/ 2147483647 h 254"/>
                <a:gd name="T32" fmla="*/ 2147483647 w 420"/>
                <a:gd name="T33" fmla="*/ 2147483647 h 254"/>
                <a:gd name="T34" fmla="*/ 2147483647 w 420"/>
                <a:gd name="T35" fmla="*/ 2147483647 h 254"/>
                <a:gd name="T36" fmla="*/ 2147483647 w 420"/>
                <a:gd name="T37" fmla="*/ 2147483647 h 254"/>
                <a:gd name="T38" fmla="*/ 2147483647 w 420"/>
                <a:gd name="T39" fmla="*/ 2147483647 h 254"/>
                <a:gd name="T40" fmla="*/ 2147483647 w 420"/>
                <a:gd name="T41" fmla="*/ 2147483647 h 254"/>
                <a:gd name="T42" fmla="*/ 2147483647 w 420"/>
                <a:gd name="T43" fmla="*/ 2147483647 h 254"/>
                <a:gd name="T44" fmla="*/ 2147483647 w 420"/>
                <a:gd name="T45" fmla="*/ 2147483647 h 254"/>
                <a:gd name="T46" fmla="*/ 2147483647 w 420"/>
                <a:gd name="T47" fmla="*/ 2147483647 h 254"/>
                <a:gd name="T48" fmla="*/ 2147483647 w 420"/>
                <a:gd name="T49" fmla="*/ 2147483647 h 254"/>
                <a:gd name="T50" fmla="*/ 2147483647 w 420"/>
                <a:gd name="T51" fmla="*/ 2147483647 h 254"/>
                <a:gd name="T52" fmla="*/ 2147483647 w 420"/>
                <a:gd name="T53" fmla="*/ 2147483647 h 254"/>
                <a:gd name="T54" fmla="*/ 2147483647 w 420"/>
                <a:gd name="T55" fmla="*/ 2147483647 h 254"/>
                <a:gd name="T56" fmla="*/ 2147483647 w 420"/>
                <a:gd name="T57" fmla="*/ 2147483647 h 254"/>
                <a:gd name="T58" fmla="*/ 2147483647 w 420"/>
                <a:gd name="T59" fmla="*/ 2147483647 h 254"/>
                <a:gd name="T60" fmla="*/ 2147483647 w 420"/>
                <a:gd name="T61" fmla="*/ 2147483647 h 254"/>
                <a:gd name="T62" fmla="*/ 2147483647 w 420"/>
                <a:gd name="T63" fmla="*/ 2147483647 h 254"/>
                <a:gd name="T64" fmla="*/ 2147483647 w 420"/>
                <a:gd name="T65" fmla="*/ 0 h 254"/>
                <a:gd name="T66" fmla="*/ 2147483647 w 420"/>
                <a:gd name="T67" fmla="*/ 2147483647 h 254"/>
                <a:gd name="T68" fmla="*/ 2147483647 w 420"/>
                <a:gd name="T69" fmla="*/ 2147483647 h 254"/>
                <a:gd name="T70" fmla="*/ 2147483647 w 420"/>
                <a:gd name="T71" fmla="*/ 2147483647 h 254"/>
                <a:gd name="T72" fmla="*/ 2147483647 w 420"/>
                <a:gd name="T73" fmla="*/ 2147483647 h 254"/>
                <a:gd name="T74" fmla="*/ 2147483647 w 420"/>
                <a:gd name="T75" fmla="*/ 2147483647 h 254"/>
                <a:gd name="T76" fmla="*/ 2147483647 w 420"/>
                <a:gd name="T77" fmla="*/ 2147483647 h 254"/>
                <a:gd name="T78" fmla="*/ 2147483647 w 420"/>
                <a:gd name="T79" fmla="*/ 2147483647 h 254"/>
                <a:gd name="T80" fmla="*/ 2147483647 w 420"/>
                <a:gd name="T81" fmla="*/ 2147483647 h 254"/>
                <a:gd name="T82" fmla="*/ 2147483647 w 420"/>
                <a:gd name="T83" fmla="*/ 2147483647 h 254"/>
                <a:gd name="T84" fmla="*/ 2147483647 w 420"/>
                <a:gd name="T85" fmla="*/ 2147483647 h 254"/>
                <a:gd name="T86" fmla="*/ 2147483647 w 420"/>
                <a:gd name="T87" fmla="*/ 2147483647 h 254"/>
                <a:gd name="T88" fmla="*/ 2147483647 w 420"/>
                <a:gd name="T89" fmla="*/ 2147483647 h 254"/>
                <a:gd name="T90" fmla="*/ 2147483647 w 420"/>
                <a:gd name="T91" fmla="*/ 2147483647 h 254"/>
                <a:gd name="T92" fmla="*/ 2147483647 w 420"/>
                <a:gd name="T93" fmla="*/ 2147483647 h 254"/>
                <a:gd name="T94" fmla="*/ 2147483647 w 420"/>
                <a:gd name="T95" fmla="*/ 2147483647 h 254"/>
                <a:gd name="T96" fmla="*/ 2147483647 w 420"/>
                <a:gd name="T97" fmla="*/ 2147483647 h 254"/>
                <a:gd name="T98" fmla="*/ 2147483647 w 420"/>
                <a:gd name="T99" fmla="*/ 2147483647 h 254"/>
                <a:gd name="T100" fmla="*/ 2147483647 w 420"/>
                <a:gd name="T101" fmla="*/ 2147483647 h 254"/>
                <a:gd name="T102" fmla="*/ 2147483647 w 420"/>
                <a:gd name="T103" fmla="*/ 2147483647 h 254"/>
                <a:gd name="T104" fmla="*/ 2147483647 w 420"/>
                <a:gd name="T105" fmla="*/ 2147483647 h 254"/>
                <a:gd name="T106" fmla="*/ 2147483647 w 420"/>
                <a:gd name="T107" fmla="*/ 2147483647 h 254"/>
                <a:gd name="T108" fmla="*/ 2147483647 w 420"/>
                <a:gd name="T109" fmla="*/ 2147483647 h 254"/>
                <a:gd name="T110" fmla="*/ 2147483647 w 420"/>
                <a:gd name="T111" fmla="*/ 2147483647 h 254"/>
                <a:gd name="T112" fmla="*/ 2147483647 w 420"/>
                <a:gd name="T113" fmla="*/ 2147483647 h 254"/>
                <a:gd name="T114" fmla="*/ 2147483647 w 420"/>
                <a:gd name="T115" fmla="*/ 2147483647 h 254"/>
                <a:gd name="T116" fmla="*/ 2147483647 w 420"/>
                <a:gd name="T117" fmla="*/ 2147483647 h 254"/>
                <a:gd name="T118" fmla="*/ 2147483647 w 420"/>
                <a:gd name="T119" fmla="*/ 2147483647 h 254"/>
                <a:gd name="T120" fmla="*/ 0 w 420"/>
                <a:gd name="T121" fmla="*/ 2147483647 h 254"/>
                <a:gd name="T122" fmla="*/ 2147483647 w 420"/>
                <a:gd name="T123" fmla="*/ 2147483647 h 2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20"/>
                <a:gd name="T187" fmla="*/ 0 h 254"/>
                <a:gd name="T188" fmla="*/ 420 w 420"/>
                <a:gd name="T189" fmla="*/ 254 h 2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20" h="254">
                  <a:moveTo>
                    <a:pt x="2" y="161"/>
                  </a:moveTo>
                  <a:lnTo>
                    <a:pt x="15" y="172"/>
                  </a:lnTo>
                  <a:lnTo>
                    <a:pt x="13" y="178"/>
                  </a:lnTo>
                  <a:lnTo>
                    <a:pt x="17" y="189"/>
                  </a:lnTo>
                  <a:lnTo>
                    <a:pt x="28" y="189"/>
                  </a:lnTo>
                  <a:lnTo>
                    <a:pt x="70" y="230"/>
                  </a:lnTo>
                  <a:lnTo>
                    <a:pt x="83" y="232"/>
                  </a:lnTo>
                  <a:lnTo>
                    <a:pt x="117" y="254"/>
                  </a:lnTo>
                  <a:lnTo>
                    <a:pt x="133" y="241"/>
                  </a:lnTo>
                  <a:lnTo>
                    <a:pt x="157" y="243"/>
                  </a:lnTo>
                  <a:lnTo>
                    <a:pt x="165" y="248"/>
                  </a:lnTo>
                  <a:lnTo>
                    <a:pt x="183" y="241"/>
                  </a:lnTo>
                  <a:lnTo>
                    <a:pt x="220" y="226"/>
                  </a:lnTo>
                  <a:lnTo>
                    <a:pt x="263" y="219"/>
                  </a:lnTo>
                  <a:lnTo>
                    <a:pt x="281" y="222"/>
                  </a:lnTo>
                  <a:lnTo>
                    <a:pt x="287" y="232"/>
                  </a:lnTo>
                  <a:lnTo>
                    <a:pt x="302" y="215"/>
                  </a:lnTo>
                  <a:lnTo>
                    <a:pt x="322" y="208"/>
                  </a:lnTo>
                  <a:lnTo>
                    <a:pt x="341" y="205"/>
                  </a:lnTo>
                  <a:lnTo>
                    <a:pt x="374" y="172"/>
                  </a:lnTo>
                  <a:lnTo>
                    <a:pt x="383" y="152"/>
                  </a:lnTo>
                  <a:lnTo>
                    <a:pt x="387" y="113"/>
                  </a:lnTo>
                  <a:lnTo>
                    <a:pt x="391" y="81"/>
                  </a:lnTo>
                  <a:lnTo>
                    <a:pt x="404" y="80"/>
                  </a:lnTo>
                  <a:lnTo>
                    <a:pt x="414" y="68"/>
                  </a:lnTo>
                  <a:lnTo>
                    <a:pt x="420" y="59"/>
                  </a:lnTo>
                  <a:lnTo>
                    <a:pt x="407" y="50"/>
                  </a:lnTo>
                  <a:lnTo>
                    <a:pt x="400" y="54"/>
                  </a:lnTo>
                  <a:lnTo>
                    <a:pt x="381" y="50"/>
                  </a:lnTo>
                  <a:lnTo>
                    <a:pt x="370" y="35"/>
                  </a:lnTo>
                  <a:lnTo>
                    <a:pt x="359" y="15"/>
                  </a:lnTo>
                  <a:lnTo>
                    <a:pt x="346" y="15"/>
                  </a:lnTo>
                  <a:lnTo>
                    <a:pt x="326" y="0"/>
                  </a:lnTo>
                  <a:lnTo>
                    <a:pt x="315" y="2"/>
                  </a:lnTo>
                  <a:lnTo>
                    <a:pt x="274" y="7"/>
                  </a:lnTo>
                  <a:lnTo>
                    <a:pt x="266" y="19"/>
                  </a:lnTo>
                  <a:lnTo>
                    <a:pt x="255" y="33"/>
                  </a:lnTo>
                  <a:lnTo>
                    <a:pt x="240" y="41"/>
                  </a:lnTo>
                  <a:lnTo>
                    <a:pt x="226" y="44"/>
                  </a:lnTo>
                  <a:lnTo>
                    <a:pt x="216" y="41"/>
                  </a:lnTo>
                  <a:lnTo>
                    <a:pt x="207" y="35"/>
                  </a:lnTo>
                  <a:lnTo>
                    <a:pt x="200" y="33"/>
                  </a:lnTo>
                  <a:lnTo>
                    <a:pt x="187" y="39"/>
                  </a:lnTo>
                  <a:lnTo>
                    <a:pt x="170" y="48"/>
                  </a:lnTo>
                  <a:lnTo>
                    <a:pt x="135" y="63"/>
                  </a:lnTo>
                  <a:lnTo>
                    <a:pt x="120" y="65"/>
                  </a:lnTo>
                  <a:lnTo>
                    <a:pt x="83" y="63"/>
                  </a:lnTo>
                  <a:lnTo>
                    <a:pt x="78" y="61"/>
                  </a:lnTo>
                  <a:lnTo>
                    <a:pt x="68" y="46"/>
                  </a:lnTo>
                  <a:lnTo>
                    <a:pt x="56" y="39"/>
                  </a:lnTo>
                  <a:lnTo>
                    <a:pt x="52" y="44"/>
                  </a:lnTo>
                  <a:lnTo>
                    <a:pt x="50" y="59"/>
                  </a:lnTo>
                  <a:lnTo>
                    <a:pt x="43" y="74"/>
                  </a:lnTo>
                  <a:lnTo>
                    <a:pt x="30" y="74"/>
                  </a:lnTo>
                  <a:lnTo>
                    <a:pt x="26" y="78"/>
                  </a:lnTo>
                  <a:lnTo>
                    <a:pt x="33" y="93"/>
                  </a:lnTo>
                  <a:lnTo>
                    <a:pt x="31" y="108"/>
                  </a:lnTo>
                  <a:lnTo>
                    <a:pt x="22" y="122"/>
                  </a:lnTo>
                  <a:lnTo>
                    <a:pt x="15" y="128"/>
                  </a:lnTo>
                  <a:lnTo>
                    <a:pt x="4" y="133"/>
                  </a:lnTo>
                  <a:lnTo>
                    <a:pt x="0" y="145"/>
                  </a:lnTo>
                  <a:lnTo>
                    <a:pt x="2" y="161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8" name="Freeform 15"/>
            <p:cNvSpPr>
              <a:spLocks/>
            </p:cNvSpPr>
            <p:nvPr/>
          </p:nvSpPr>
          <p:spPr bwMode="auto">
            <a:xfrm>
              <a:off x="5166364" y="4160116"/>
              <a:ext cx="300530" cy="181797"/>
            </a:xfrm>
            <a:custGeom>
              <a:avLst/>
              <a:gdLst>
                <a:gd name="T0" fmla="*/ 2147483647 w 199"/>
                <a:gd name="T1" fmla="*/ 2147483647 h 115"/>
                <a:gd name="T2" fmla="*/ 2147483647 w 199"/>
                <a:gd name="T3" fmla="*/ 2147483647 h 115"/>
                <a:gd name="T4" fmla="*/ 2147483647 w 199"/>
                <a:gd name="T5" fmla="*/ 2147483647 h 115"/>
                <a:gd name="T6" fmla="*/ 2147483647 w 199"/>
                <a:gd name="T7" fmla="*/ 2147483647 h 115"/>
                <a:gd name="T8" fmla="*/ 2147483647 w 199"/>
                <a:gd name="T9" fmla="*/ 2147483647 h 115"/>
                <a:gd name="T10" fmla="*/ 0 w 199"/>
                <a:gd name="T11" fmla="*/ 2147483647 h 115"/>
                <a:gd name="T12" fmla="*/ 2147483647 w 199"/>
                <a:gd name="T13" fmla="*/ 2147483647 h 115"/>
                <a:gd name="T14" fmla="*/ 2147483647 w 199"/>
                <a:gd name="T15" fmla="*/ 2147483647 h 115"/>
                <a:gd name="T16" fmla="*/ 2147483647 w 199"/>
                <a:gd name="T17" fmla="*/ 2147483647 h 115"/>
                <a:gd name="T18" fmla="*/ 2147483647 w 199"/>
                <a:gd name="T19" fmla="*/ 2147483647 h 115"/>
                <a:gd name="T20" fmla="*/ 2147483647 w 199"/>
                <a:gd name="T21" fmla="*/ 2147483647 h 115"/>
                <a:gd name="T22" fmla="*/ 2147483647 w 199"/>
                <a:gd name="T23" fmla="*/ 2147483647 h 115"/>
                <a:gd name="T24" fmla="*/ 2147483647 w 199"/>
                <a:gd name="T25" fmla="*/ 2147483647 h 115"/>
                <a:gd name="T26" fmla="*/ 2147483647 w 199"/>
                <a:gd name="T27" fmla="*/ 2147483647 h 115"/>
                <a:gd name="T28" fmla="*/ 2147483647 w 199"/>
                <a:gd name="T29" fmla="*/ 2147483647 h 115"/>
                <a:gd name="T30" fmla="*/ 2147483647 w 199"/>
                <a:gd name="T31" fmla="*/ 2147483647 h 115"/>
                <a:gd name="T32" fmla="*/ 2147483647 w 199"/>
                <a:gd name="T33" fmla="*/ 0 h 115"/>
                <a:gd name="T34" fmla="*/ 2147483647 w 199"/>
                <a:gd name="T35" fmla="*/ 2147483647 h 115"/>
                <a:gd name="T36" fmla="*/ 2147483647 w 199"/>
                <a:gd name="T37" fmla="*/ 2147483647 h 115"/>
                <a:gd name="T38" fmla="*/ 2147483647 w 199"/>
                <a:gd name="T39" fmla="*/ 2147483647 h 115"/>
                <a:gd name="T40" fmla="*/ 2147483647 w 199"/>
                <a:gd name="T41" fmla="*/ 2147483647 h 115"/>
                <a:gd name="T42" fmla="*/ 2147483647 w 199"/>
                <a:gd name="T43" fmla="*/ 2147483647 h 115"/>
                <a:gd name="T44" fmla="*/ 2147483647 w 199"/>
                <a:gd name="T45" fmla="*/ 2147483647 h 115"/>
                <a:gd name="T46" fmla="*/ 2147483647 w 199"/>
                <a:gd name="T47" fmla="*/ 2147483647 h 115"/>
                <a:gd name="T48" fmla="*/ 2147483647 w 199"/>
                <a:gd name="T49" fmla="*/ 2147483647 h 115"/>
                <a:gd name="T50" fmla="*/ 2147483647 w 199"/>
                <a:gd name="T51" fmla="*/ 2147483647 h 115"/>
                <a:gd name="T52" fmla="*/ 2147483647 w 199"/>
                <a:gd name="T53" fmla="*/ 2147483647 h 115"/>
                <a:gd name="T54" fmla="*/ 2147483647 w 199"/>
                <a:gd name="T55" fmla="*/ 2147483647 h 115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99"/>
                <a:gd name="T85" fmla="*/ 0 h 115"/>
                <a:gd name="T86" fmla="*/ 199 w 199"/>
                <a:gd name="T87" fmla="*/ 115 h 115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99" h="115">
                  <a:moveTo>
                    <a:pt x="17" y="63"/>
                  </a:moveTo>
                  <a:lnTo>
                    <a:pt x="37" y="83"/>
                  </a:lnTo>
                  <a:lnTo>
                    <a:pt x="31" y="93"/>
                  </a:lnTo>
                  <a:lnTo>
                    <a:pt x="22" y="100"/>
                  </a:lnTo>
                  <a:lnTo>
                    <a:pt x="11" y="102"/>
                  </a:lnTo>
                  <a:lnTo>
                    <a:pt x="0" y="104"/>
                  </a:lnTo>
                  <a:lnTo>
                    <a:pt x="20" y="113"/>
                  </a:lnTo>
                  <a:lnTo>
                    <a:pt x="28" y="115"/>
                  </a:lnTo>
                  <a:lnTo>
                    <a:pt x="53" y="100"/>
                  </a:lnTo>
                  <a:lnTo>
                    <a:pt x="108" y="114"/>
                  </a:lnTo>
                  <a:lnTo>
                    <a:pt x="144" y="74"/>
                  </a:lnTo>
                  <a:lnTo>
                    <a:pt x="151" y="57"/>
                  </a:lnTo>
                  <a:lnTo>
                    <a:pt x="158" y="52"/>
                  </a:lnTo>
                  <a:lnTo>
                    <a:pt x="178" y="54"/>
                  </a:lnTo>
                  <a:lnTo>
                    <a:pt x="199" y="30"/>
                  </a:lnTo>
                  <a:lnTo>
                    <a:pt x="197" y="15"/>
                  </a:lnTo>
                  <a:lnTo>
                    <a:pt x="183" y="0"/>
                  </a:lnTo>
                  <a:lnTo>
                    <a:pt x="173" y="2"/>
                  </a:lnTo>
                  <a:lnTo>
                    <a:pt x="163" y="5"/>
                  </a:lnTo>
                  <a:lnTo>
                    <a:pt x="145" y="1"/>
                  </a:lnTo>
                  <a:lnTo>
                    <a:pt x="127" y="2"/>
                  </a:lnTo>
                  <a:lnTo>
                    <a:pt x="109" y="7"/>
                  </a:lnTo>
                  <a:lnTo>
                    <a:pt x="84" y="5"/>
                  </a:lnTo>
                  <a:lnTo>
                    <a:pt x="73" y="20"/>
                  </a:lnTo>
                  <a:lnTo>
                    <a:pt x="31" y="7"/>
                  </a:lnTo>
                  <a:lnTo>
                    <a:pt x="15" y="7"/>
                  </a:lnTo>
                  <a:lnTo>
                    <a:pt x="15" y="32"/>
                  </a:lnTo>
                  <a:lnTo>
                    <a:pt x="17" y="63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9" name="Freeform 17"/>
            <p:cNvSpPr>
              <a:spLocks/>
            </p:cNvSpPr>
            <p:nvPr/>
          </p:nvSpPr>
          <p:spPr bwMode="auto">
            <a:xfrm>
              <a:off x="5713056" y="4767160"/>
              <a:ext cx="223509" cy="392049"/>
            </a:xfrm>
            <a:custGeom>
              <a:avLst/>
              <a:gdLst>
                <a:gd name="T0" fmla="*/ 2147483647 w 148"/>
                <a:gd name="T1" fmla="*/ 2147483647 h 248"/>
                <a:gd name="T2" fmla="*/ 2147483647 w 148"/>
                <a:gd name="T3" fmla="*/ 2147483647 h 248"/>
                <a:gd name="T4" fmla="*/ 2147483647 w 148"/>
                <a:gd name="T5" fmla="*/ 2147483647 h 248"/>
                <a:gd name="T6" fmla="*/ 2147483647 w 148"/>
                <a:gd name="T7" fmla="*/ 2147483647 h 248"/>
                <a:gd name="T8" fmla="*/ 2147483647 w 148"/>
                <a:gd name="T9" fmla="*/ 2147483647 h 248"/>
                <a:gd name="T10" fmla="*/ 2147483647 w 148"/>
                <a:gd name="T11" fmla="*/ 2147483647 h 248"/>
                <a:gd name="T12" fmla="*/ 2147483647 w 148"/>
                <a:gd name="T13" fmla="*/ 2147483647 h 248"/>
                <a:gd name="T14" fmla="*/ 2147483647 w 148"/>
                <a:gd name="T15" fmla="*/ 2147483647 h 248"/>
                <a:gd name="T16" fmla="*/ 2147483647 w 148"/>
                <a:gd name="T17" fmla="*/ 2147483647 h 248"/>
                <a:gd name="T18" fmla="*/ 0 w 148"/>
                <a:gd name="T19" fmla="*/ 2147483647 h 248"/>
                <a:gd name="T20" fmla="*/ 2147483647 w 148"/>
                <a:gd name="T21" fmla="*/ 2147483647 h 248"/>
                <a:gd name="T22" fmla="*/ 2147483647 w 148"/>
                <a:gd name="T23" fmla="*/ 2147483647 h 248"/>
                <a:gd name="T24" fmla="*/ 2147483647 w 148"/>
                <a:gd name="T25" fmla="*/ 2147483647 h 248"/>
                <a:gd name="T26" fmla="*/ 2147483647 w 148"/>
                <a:gd name="T27" fmla="*/ 2147483647 h 248"/>
                <a:gd name="T28" fmla="*/ 2147483647 w 148"/>
                <a:gd name="T29" fmla="*/ 2147483647 h 248"/>
                <a:gd name="T30" fmla="*/ 2147483647 w 148"/>
                <a:gd name="T31" fmla="*/ 2147483647 h 248"/>
                <a:gd name="T32" fmla="*/ 2147483647 w 148"/>
                <a:gd name="T33" fmla="*/ 2147483647 h 248"/>
                <a:gd name="T34" fmla="*/ 2147483647 w 148"/>
                <a:gd name="T35" fmla="*/ 2147483647 h 248"/>
                <a:gd name="T36" fmla="*/ 2147483647 w 148"/>
                <a:gd name="T37" fmla="*/ 2147483647 h 248"/>
                <a:gd name="T38" fmla="*/ 2147483647 w 148"/>
                <a:gd name="T39" fmla="*/ 2147483647 h 248"/>
                <a:gd name="T40" fmla="*/ 2147483647 w 148"/>
                <a:gd name="T41" fmla="*/ 2147483647 h 248"/>
                <a:gd name="T42" fmla="*/ 2147483647 w 148"/>
                <a:gd name="T43" fmla="*/ 2147483647 h 248"/>
                <a:gd name="T44" fmla="*/ 2147483647 w 148"/>
                <a:gd name="T45" fmla="*/ 2147483647 h 248"/>
                <a:gd name="T46" fmla="*/ 2147483647 w 148"/>
                <a:gd name="T47" fmla="*/ 2147483647 h 248"/>
                <a:gd name="T48" fmla="*/ 2147483647 w 148"/>
                <a:gd name="T49" fmla="*/ 2147483647 h 248"/>
                <a:gd name="T50" fmla="*/ 2147483647 w 148"/>
                <a:gd name="T51" fmla="*/ 2147483647 h 248"/>
                <a:gd name="T52" fmla="*/ 2147483647 w 148"/>
                <a:gd name="T53" fmla="*/ 2147483647 h 248"/>
                <a:gd name="T54" fmla="*/ 2147483647 w 148"/>
                <a:gd name="T55" fmla="*/ 2147483647 h 248"/>
                <a:gd name="T56" fmla="*/ 2147483647 w 148"/>
                <a:gd name="T57" fmla="*/ 2147483647 h 248"/>
                <a:gd name="T58" fmla="*/ 2147483647 w 148"/>
                <a:gd name="T59" fmla="*/ 2147483647 h 248"/>
                <a:gd name="T60" fmla="*/ 2147483647 w 148"/>
                <a:gd name="T61" fmla="*/ 2147483647 h 248"/>
                <a:gd name="T62" fmla="*/ 2147483647 w 148"/>
                <a:gd name="T63" fmla="*/ 2147483647 h 248"/>
                <a:gd name="T64" fmla="*/ 2147483647 w 148"/>
                <a:gd name="T65" fmla="*/ 2147483647 h 248"/>
                <a:gd name="T66" fmla="*/ 2147483647 w 148"/>
                <a:gd name="T67" fmla="*/ 2147483647 h 248"/>
                <a:gd name="T68" fmla="*/ 2147483647 w 148"/>
                <a:gd name="T69" fmla="*/ 2147483647 h 248"/>
                <a:gd name="T70" fmla="*/ 2147483647 w 148"/>
                <a:gd name="T71" fmla="*/ 2147483647 h 248"/>
                <a:gd name="T72" fmla="*/ 2147483647 w 148"/>
                <a:gd name="T73" fmla="*/ 2147483647 h 248"/>
                <a:gd name="T74" fmla="*/ 2147483647 w 148"/>
                <a:gd name="T75" fmla="*/ 2147483647 h 248"/>
                <a:gd name="T76" fmla="*/ 2147483647 w 148"/>
                <a:gd name="T77" fmla="*/ 2147483647 h 248"/>
                <a:gd name="T78" fmla="*/ 2147483647 w 148"/>
                <a:gd name="T79" fmla="*/ 2147483647 h 248"/>
                <a:gd name="T80" fmla="*/ 2147483647 w 148"/>
                <a:gd name="T81" fmla="*/ 2147483647 h 248"/>
                <a:gd name="T82" fmla="*/ 2147483647 w 148"/>
                <a:gd name="T83" fmla="*/ 2147483647 h 248"/>
                <a:gd name="T84" fmla="*/ 2147483647 w 148"/>
                <a:gd name="T85" fmla="*/ 2147483647 h 248"/>
                <a:gd name="T86" fmla="*/ 2147483647 w 148"/>
                <a:gd name="T87" fmla="*/ 0 h 248"/>
                <a:gd name="T88" fmla="*/ 2147483647 w 148"/>
                <a:gd name="T89" fmla="*/ 2147483647 h 248"/>
                <a:gd name="T90" fmla="*/ 2147483647 w 148"/>
                <a:gd name="T91" fmla="*/ 2147483647 h 248"/>
                <a:gd name="T92" fmla="*/ 2147483647 w 148"/>
                <a:gd name="T93" fmla="*/ 2147483647 h 248"/>
                <a:gd name="T94" fmla="*/ 2147483647 w 148"/>
                <a:gd name="T95" fmla="*/ 0 h 248"/>
                <a:gd name="T96" fmla="*/ 2147483647 w 148"/>
                <a:gd name="T97" fmla="*/ 2147483647 h 248"/>
                <a:gd name="T98" fmla="*/ 2147483647 w 148"/>
                <a:gd name="T99" fmla="*/ 2147483647 h 248"/>
                <a:gd name="T100" fmla="*/ 2147483647 w 148"/>
                <a:gd name="T101" fmla="*/ 2147483647 h 248"/>
                <a:gd name="T102" fmla="*/ 2147483647 w 148"/>
                <a:gd name="T103" fmla="*/ 2147483647 h 24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48"/>
                <a:gd name="T157" fmla="*/ 0 h 248"/>
                <a:gd name="T158" fmla="*/ 148 w 148"/>
                <a:gd name="T159" fmla="*/ 248 h 24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48" h="248">
                  <a:moveTo>
                    <a:pt x="11" y="56"/>
                  </a:moveTo>
                  <a:lnTo>
                    <a:pt x="20" y="63"/>
                  </a:lnTo>
                  <a:lnTo>
                    <a:pt x="20" y="74"/>
                  </a:lnTo>
                  <a:lnTo>
                    <a:pt x="19" y="81"/>
                  </a:lnTo>
                  <a:lnTo>
                    <a:pt x="13" y="91"/>
                  </a:lnTo>
                  <a:lnTo>
                    <a:pt x="13" y="115"/>
                  </a:lnTo>
                  <a:lnTo>
                    <a:pt x="17" y="124"/>
                  </a:lnTo>
                  <a:lnTo>
                    <a:pt x="4" y="144"/>
                  </a:lnTo>
                  <a:lnTo>
                    <a:pt x="7" y="148"/>
                  </a:lnTo>
                  <a:lnTo>
                    <a:pt x="0" y="159"/>
                  </a:lnTo>
                  <a:lnTo>
                    <a:pt x="6" y="170"/>
                  </a:lnTo>
                  <a:lnTo>
                    <a:pt x="7" y="178"/>
                  </a:lnTo>
                  <a:lnTo>
                    <a:pt x="11" y="168"/>
                  </a:lnTo>
                  <a:lnTo>
                    <a:pt x="22" y="181"/>
                  </a:lnTo>
                  <a:lnTo>
                    <a:pt x="20" y="194"/>
                  </a:lnTo>
                  <a:lnTo>
                    <a:pt x="15" y="200"/>
                  </a:lnTo>
                  <a:lnTo>
                    <a:pt x="22" y="211"/>
                  </a:lnTo>
                  <a:lnTo>
                    <a:pt x="31" y="215"/>
                  </a:lnTo>
                  <a:lnTo>
                    <a:pt x="46" y="224"/>
                  </a:lnTo>
                  <a:lnTo>
                    <a:pt x="59" y="235"/>
                  </a:lnTo>
                  <a:lnTo>
                    <a:pt x="61" y="242"/>
                  </a:lnTo>
                  <a:lnTo>
                    <a:pt x="76" y="248"/>
                  </a:lnTo>
                  <a:lnTo>
                    <a:pt x="89" y="242"/>
                  </a:lnTo>
                  <a:lnTo>
                    <a:pt x="105" y="233"/>
                  </a:lnTo>
                  <a:lnTo>
                    <a:pt x="113" y="217"/>
                  </a:lnTo>
                  <a:lnTo>
                    <a:pt x="120" y="207"/>
                  </a:lnTo>
                  <a:lnTo>
                    <a:pt x="133" y="183"/>
                  </a:lnTo>
                  <a:lnTo>
                    <a:pt x="137" y="165"/>
                  </a:lnTo>
                  <a:lnTo>
                    <a:pt x="139" y="148"/>
                  </a:lnTo>
                  <a:lnTo>
                    <a:pt x="148" y="137"/>
                  </a:lnTo>
                  <a:lnTo>
                    <a:pt x="133" y="133"/>
                  </a:lnTo>
                  <a:lnTo>
                    <a:pt x="128" y="126"/>
                  </a:lnTo>
                  <a:lnTo>
                    <a:pt x="120" y="128"/>
                  </a:lnTo>
                  <a:lnTo>
                    <a:pt x="107" y="122"/>
                  </a:lnTo>
                  <a:lnTo>
                    <a:pt x="104" y="105"/>
                  </a:lnTo>
                  <a:lnTo>
                    <a:pt x="100" y="93"/>
                  </a:lnTo>
                  <a:lnTo>
                    <a:pt x="107" y="80"/>
                  </a:lnTo>
                  <a:lnTo>
                    <a:pt x="107" y="41"/>
                  </a:lnTo>
                  <a:lnTo>
                    <a:pt x="107" y="28"/>
                  </a:lnTo>
                  <a:lnTo>
                    <a:pt x="100" y="20"/>
                  </a:lnTo>
                  <a:lnTo>
                    <a:pt x="87" y="19"/>
                  </a:lnTo>
                  <a:lnTo>
                    <a:pt x="78" y="15"/>
                  </a:lnTo>
                  <a:lnTo>
                    <a:pt x="70" y="2"/>
                  </a:lnTo>
                  <a:lnTo>
                    <a:pt x="61" y="0"/>
                  </a:lnTo>
                  <a:lnTo>
                    <a:pt x="57" y="6"/>
                  </a:lnTo>
                  <a:lnTo>
                    <a:pt x="56" y="2"/>
                  </a:lnTo>
                  <a:lnTo>
                    <a:pt x="41" y="4"/>
                  </a:lnTo>
                  <a:lnTo>
                    <a:pt x="33" y="0"/>
                  </a:lnTo>
                  <a:lnTo>
                    <a:pt x="22" y="7"/>
                  </a:lnTo>
                  <a:lnTo>
                    <a:pt x="20" y="30"/>
                  </a:lnTo>
                  <a:lnTo>
                    <a:pt x="17" y="44"/>
                  </a:lnTo>
                  <a:lnTo>
                    <a:pt x="11" y="56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0" name="Freeform 19"/>
            <p:cNvSpPr>
              <a:spLocks/>
            </p:cNvSpPr>
            <p:nvPr/>
          </p:nvSpPr>
          <p:spPr bwMode="auto">
            <a:xfrm>
              <a:off x="4326695" y="3338078"/>
              <a:ext cx="317141" cy="292455"/>
            </a:xfrm>
            <a:custGeom>
              <a:avLst/>
              <a:gdLst>
                <a:gd name="T0" fmla="*/ 0 w 210"/>
                <a:gd name="T1" fmla="*/ 2147483647 h 185"/>
                <a:gd name="T2" fmla="*/ 2147483647 w 210"/>
                <a:gd name="T3" fmla="*/ 2147483647 h 185"/>
                <a:gd name="T4" fmla="*/ 2147483647 w 210"/>
                <a:gd name="T5" fmla="*/ 2147483647 h 185"/>
                <a:gd name="T6" fmla="*/ 2147483647 w 210"/>
                <a:gd name="T7" fmla="*/ 0 h 185"/>
                <a:gd name="T8" fmla="*/ 2147483647 w 210"/>
                <a:gd name="T9" fmla="*/ 2147483647 h 185"/>
                <a:gd name="T10" fmla="*/ 2147483647 w 210"/>
                <a:gd name="T11" fmla="*/ 2147483647 h 185"/>
                <a:gd name="T12" fmla="*/ 2147483647 w 210"/>
                <a:gd name="T13" fmla="*/ 2147483647 h 185"/>
                <a:gd name="T14" fmla="*/ 2147483647 w 210"/>
                <a:gd name="T15" fmla="*/ 2147483647 h 185"/>
                <a:gd name="T16" fmla="*/ 2147483647 w 210"/>
                <a:gd name="T17" fmla="*/ 2147483647 h 185"/>
                <a:gd name="T18" fmla="*/ 2147483647 w 210"/>
                <a:gd name="T19" fmla="*/ 2147483647 h 185"/>
                <a:gd name="T20" fmla="*/ 2147483647 w 210"/>
                <a:gd name="T21" fmla="*/ 2147483647 h 185"/>
                <a:gd name="T22" fmla="*/ 2147483647 w 210"/>
                <a:gd name="T23" fmla="*/ 2147483647 h 185"/>
                <a:gd name="T24" fmla="*/ 2147483647 w 210"/>
                <a:gd name="T25" fmla="*/ 2147483647 h 185"/>
                <a:gd name="T26" fmla="*/ 2147483647 w 210"/>
                <a:gd name="T27" fmla="*/ 2147483647 h 185"/>
                <a:gd name="T28" fmla="*/ 2147483647 w 210"/>
                <a:gd name="T29" fmla="*/ 2147483647 h 185"/>
                <a:gd name="T30" fmla="*/ 2147483647 w 210"/>
                <a:gd name="T31" fmla="*/ 2147483647 h 185"/>
                <a:gd name="T32" fmla="*/ 2147483647 w 210"/>
                <a:gd name="T33" fmla="*/ 2147483647 h 185"/>
                <a:gd name="T34" fmla="*/ 2147483647 w 210"/>
                <a:gd name="T35" fmla="*/ 2147483647 h 185"/>
                <a:gd name="T36" fmla="*/ 2147483647 w 210"/>
                <a:gd name="T37" fmla="*/ 2147483647 h 185"/>
                <a:gd name="T38" fmla="*/ 2147483647 w 210"/>
                <a:gd name="T39" fmla="*/ 2147483647 h 185"/>
                <a:gd name="T40" fmla="*/ 2147483647 w 210"/>
                <a:gd name="T41" fmla="*/ 2147483647 h 185"/>
                <a:gd name="T42" fmla="*/ 2147483647 w 210"/>
                <a:gd name="T43" fmla="*/ 2147483647 h 185"/>
                <a:gd name="T44" fmla="*/ 2147483647 w 210"/>
                <a:gd name="T45" fmla="*/ 2147483647 h 185"/>
                <a:gd name="T46" fmla="*/ 2147483647 w 210"/>
                <a:gd name="T47" fmla="*/ 2147483647 h 185"/>
                <a:gd name="T48" fmla="*/ 2147483647 w 210"/>
                <a:gd name="T49" fmla="*/ 2147483647 h 185"/>
                <a:gd name="T50" fmla="*/ 2147483647 w 210"/>
                <a:gd name="T51" fmla="*/ 2147483647 h 185"/>
                <a:gd name="T52" fmla="*/ 2147483647 w 210"/>
                <a:gd name="T53" fmla="*/ 2147483647 h 185"/>
                <a:gd name="T54" fmla="*/ 2147483647 w 210"/>
                <a:gd name="T55" fmla="*/ 2147483647 h 185"/>
                <a:gd name="T56" fmla="*/ 2147483647 w 210"/>
                <a:gd name="T57" fmla="*/ 2147483647 h 185"/>
                <a:gd name="T58" fmla="*/ 2147483647 w 210"/>
                <a:gd name="T59" fmla="*/ 2147483647 h 185"/>
                <a:gd name="T60" fmla="*/ 2147483647 w 210"/>
                <a:gd name="T61" fmla="*/ 2147483647 h 185"/>
                <a:gd name="T62" fmla="*/ 2147483647 w 210"/>
                <a:gd name="T63" fmla="*/ 2147483647 h 185"/>
                <a:gd name="T64" fmla="*/ 2147483647 w 210"/>
                <a:gd name="T65" fmla="*/ 2147483647 h 185"/>
                <a:gd name="T66" fmla="*/ 2147483647 w 210"/>
                <a:gd name="T67" fmla="*/ 2147483647 h 185"/>
                <a:gd name="T68" fmla="*/ 2147483647 w 210"/>
                <a:gd name="T69" fmla="*/ 2147483647 h 185"/>
                <a:gd name="T70" fmla="*/ 2147483647 w 210"/>
                <a:gd name="T71" fmla="*/ 2147483647 h 185"/>
                <a:gd name="T72" fmla="*/ 2147483647 w 210"/>
                <a:gd name="T73" fmla="*/ 2147483647 h 185"/>
                <a:gd name="T74" fmla="*/ 2147483647 w 210"/>
                <a:gd name="T75" fmla="*/ 2147483647 h 185"/>
                <a:gd name="T76" fmla="*/ 2147483647 w 210"/>
                <a:gd name="T77" fmla="*/ 2147483647 h 185"/>
                <a:gd name="T78" fmla="*/ 0 w 210"/>
                <a:gd name="T79" fmla="*/ 2147483647 h 18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10"/>
                <a:gd name="T121" fmla="*/ 0 h 185"/>
                <a:gd name="T122" fmla="*/ 210 w 210"/>
                <a:gd name="T123" fmla="*/ 185 h 18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10" h="185">
                  <a:moveTo>
                    <a:pt x="0" y="33"/>
                  </a:moveTo>
                  <a:lnTo>
                    <a:pt x="5" y="26"/>
                  </a:lnTo>
                  <a:lnTo>
                    <a:pt x="3" y="17"/>
                  </a:lnTo>
                  <a:lnTo>
                    <a:pt x="35" y="0"/>
                  </a:lnTo>
                  <a:lnTo>
                    <a:pt x="38" y="6"/>
                  </a:lnTo>
                  <a:lnTo>
                    <a:pt x="61" y="2"/>
                  </a:lnTo>
                  <a:lnTo>
                    <a:pt x="79" y="3"/>
                  </a:lnTo>
                  <a:lnTo>
                    <a:pt x="72" y="12"/>
                  </a:lnTo>
                  <a:lnTo>
                    <a:pt x="76" y="24"/>
                  </a:lnTo>
                  <a:lnTo>
                    <a:pt x="91" y="29"/>
                  </a:lnTo>
                  <a:lnTo>
                    <a:pt x="106" y="28"/>
                  </a:lnTo>
                  <a:lnTo>
                    <a:pt x="118" y="19"/>
                  </a:lnTo>
                  <a:lnTo>
                    <a:pt x="138" y="17"/>
                  </a:lnTo>
                  <a:lnTo>
                    <a:pt x="144" y="25"/>
                  </a:lnTo>
                  <a:lnTo>
                    <a:pt x="156" y="32"/>
                  </a:lnTo>
                  <a:lnTo>
                    <a:pt x="173" y="33"/>
                  </a:lnTo>
                  <a:lnTo>
                    <a:pt x="170" y="47"/>
                  </a:lnTo>
                  <a:lnTo>
                    <a:pt x="171" y="75"/>
                  </a:lnTo>
                  <a:lnTo>
                    <a:pt x="174" y="92"/>
                  </a:lnTo>
                  <a:lnTo>
                    <a:pt x="193" y="90"/>
                  </a:lnTo>
                  <a:lnTo>
                    <a:pt x="199" y="102"/>
                  </a:lnTo>
                  <a:lnTo>
                    <a:pt x="200" y="112"/>
                  </a:lnTo>
                  <a:lnTo>
                    <a:pt x="210" y="126"/>
                  </a:lnTo>
                  <a:lnTo>
                    <a:pt x="198" y="136"/>
                  </a:lnTo>
                  <a:lnTo>
                    <a:pt x="187" y="144"/>
                  </a:lnTo>
                  <a:lnTo>
                    <a:pt x="175" y="144"/>
                  </a:lnTo>
                  <a:lnTo>
                    <a:pt x="161" y="148"/>
                  </a:lnTo>
                  <a:lnTo>
                    <a:pt x="161" y="163"/>
                  </a:lnTo>
                  <a:lnTo>
                    <a:pt x="155" y="173"/>
                  </a:lnTo>
                  <a:lnTo>
                    <a:pt x="140" y="185"/>
                  </a:lnTo>
                  <a:lnTo>
                    <a:pt x="115" y="166"/>
                  </a:lnTo>
                  <a:lnTo>
                    <a:pt x="108" y="149"/>
                  </a:lnTo>
                  <a:lnTo>
                    <a:pt x="85" y="144"/>
                  </a:lnTo>
                  <a:lnTo>
                    <a:pt x="77" y="122"/>
                  </a:lnTo>
                  <a:lnTo>
                    <a:pt x="61" y="109"/>
                  </a:lnTo>
                  <a:lnTo>
                    <a:pt x="55" y="93"/>
                  </a:lnTo>
                  <a:lnTo>
                    <a:pt x="42" y="77"/>
                  </a:lnTo>
                  <a:lnTo>
                    <a:pt x="33" y="61"/>
                  </a:lnTo>
                  <a:lnTo>
                    <a:pt x="16" y="49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1" name="Freeform 20"/>
            <p:cNvSpPr>
              <a:spLocks/>
            </p:cNvSpPr>
            <p:nvPr/>
          </p:nvSpPr>
          <p:spPr bwMode="auto">
            <a:xfrm>
              <a:off x="4542653" y="3565720"/>
              <a:ext cx="86080" cy="112240"/>
            </a:xfrm>
            <a:custGeom>
              <a:avLst/>
              <a:gdLst>
                <a:gd name="T0" fmla="*/ 2147483647 w 57"/>
                <a:gd name="T1" fmla="*/ 2147483647 h 71"/>
                <a:gd name="T2" fmla="*/ 2147483647 w 57"/>
                <a:gd name="T3" fmla="*/ 2147483647 h 71"/>
                <a:gd name="T4" fmla="*/ 2147483647 w 57"/>
                <a:gd name="T5" fmla="*/ 2147483647 h 71"/>
                <a:gd name="T6" fmla="*/ 2147483647 w 57"/>
                <a:gd name="T7" fmla="*/ 2147483647 h 71"/>
                <a:gd name="T8" fmla="*/ 2147483647 w 57"/>
                <a:gd name="T9" fmla="*/ 2147483647 h 71"/>
                <a:gd name="T10" fmla="*/ 2147483647 w 57"/>
                <a:gd name="T11" fmla="*/ 2147483647 h 71"/>
                <a:gd name="T12" fmla="*/ 2147483647 w 57"/>
                <a:gd name="T13" fmla="*/ 0 h 71"/>
                <a:gd name="T14" fmla="*/ 2147483647 w 57"/>
                <a:gd name="T15" fmla="*/ 0 h 71"/>
                <a:gd name="T16" fmla="*/ 2147483647 w 57"/>
                <a:gd name="T17" fmla="*/ 2147483647 h 71"/>
                <a:gd name="T18" fmla="*/ 2147483647 w 57"/>
                <a:gd name="T19" fmla="*/ 2147483647 h 71"/>
                <a:gd name="T20" fmla="*/ 2147483647 w 57"/>
                <a:gd name="T21" fmla="*/ 2147483647 h 71"/>
                <a:gd name="T22" fmla="*/ 0 w 57"/>
                <a:gd name="T23" fmla="*/ 2147483647 h 71"/>
                <a:gd name="T24" fmla="*/ 2147483647 w 57"/>
                <a:gd name="T25" fmla="*/ 2147483647 h 71"/>
                <a:gd name="T26" fmla="*/ 2147483647 w 57"/>
                <a:gd name="T27" fmla="*/ 2147483647 h 71"/>
                <a:gd name="T28" fmla="*/ 2147483647 w 57"/>
                <a:gd name="T29" fmla="*/ 2147483647 h 71"/>
                <a:gd name="T30" fmla="*/ 2147483647 w 57"/>
                <a:gd name="T31" fmla="*/ 2147483647 h 71"/>
                <a:gd name="T32" fmla="*/ 2147483647 w 57"/>
                <a:gd name="T33" fmla="*/ 2147483647 h 7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7"/>
                <a:gd name="T52" fmla="*/ 0 h 71"/>
                <a:gd name="T53" fmla="*/ 57 w 57"/>
                <a:gd name="T54" fmla="*/ 71 h 7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7" h="71">
                  <a:moveTo>
                    <a:pt x="41" y="71"/>
                  </a:moveTo>
                  <a:lnTo>
                    <a:pt x="44" y="48"/>
                  </a:lnTo>
                  <a:lnTo>
                    <a:pt x="57" y="39"/>
                  </a:lnTo>
                  <a:lnTo>
                    <a:pt x="57" y="28"/>
                  </a:lnTo>
                  <a:lnTo>
                    <a:pt x="50" y="20"/>
                  </a:lnTo>
                  <a:lnTo>
                    <a:pt x="43" y="9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4"/>
                  </a:lnTo>
                  <a:lnTo>
                    <a:pt x="17" y="19"/>
                  </a:lnTo>
                  <a:lnTo>
                    <a:pt x="9" y="32"/>
                  </a:lnTo>
                  <a:lnTo>
                    <a:pt x="0" y="36"/>
                  </a:lnTo>
                  <a:lnTo>
                    <a:pt x="4" y="47"/>
                  </a:lnTo>
                  <a:lnTo>
                    <a:pt x="16" y="50"/>
                  </a:lnTo>
                  <a:lnTo>
                    <a:pt x="28" y="53"/>
                  </a:lnTo>
                  <a:lnTo>
                    <a:pt x="35" y="60"/>
                  </a:lnTo>
                  <a:lnTo>
                    <a:pt x="41" y="71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2" name="Freeform 21"/>
            <p:cNvSpPr>
              <a:spLocks/>
            </p:cNvSpPr>
            <p:nvPr/>
          </p:nvSpPr>
          <p:spPr bwMode="auto">
            <a:xfrm>
              <a:off x="4436940" y="3124665"/>
              <a:ext cx="324692" cy="358851"/>
            </a:xfrm>
            <a:custGeom>
              <a:avLst/>
              <a:gdLst>
                <a:gd name="T0" fmla="*/ 2147483647 w 215"/>
                <a:gd name="T1" fmla="*/ 2147483647 h 227"/>
                <a:gd name="T2" fmla="*/ 2147483647 w 215"/>
                <a:gd name="T3" fmla="*/ 2147483647 h 227"/>
                <a:gd name="T4" fmla="*/ 2147483647 w 215"/>
                <a:gd name="T5" fmla="*/ 2147483647 h 227"/>
                <a:gd name="T6" fmla="*/ 2147483647 w 215"/>
                <a:gd name="T7" fmla="*/ 2147483647 h 227"/>
                <a:gd name="T8" fmla="*/ 2147483647 w 215"/>
                <a:gd name="T9" fmla="*/ 2147483647 h 227"/>
                <a:gd name="T10" fmla="*/ 2147483647 w 215"/>
                <a:gd name="T11" fmla="*/ 2147483647 h 227"/>
                <a:gd name="T12" fmla="*/ 2147483647 w 215"/>
                <a:gd name="T13" fmla="*/ 2147483647 h 227"/>
                <a:gd name="T14" fmla="*/ 2147483647 w 215"/>
                <a:gd name="T15" fmla="*/ 2147483647 h 227"/>
                <a:gd name="T16" fmla="*/ 2147483647 w 215"/>
                <a:gd name="T17" fmla="*/ 2147483647 h 227"/>
                <a:gd name="T18" fmla="*/ 2147483647 w 215"/>
                <a:gd name="T19" fmla="*/ 2147483647 h 227"/>
                <a:gd name="T20" fmla="*/ 2147483647 w 215"/>
                <a:gd name="T21" fmla="*/ 2147483647 h 227"/>
                <a:gd name="T22" fmla="*/ 2147483647 w 215"/>
                <a:gd name="T23" fmla="*/ 2147483647 h 227"/>
                <a:gd name="T24" fmla="*/ 2147483647 w 215"/>
                <a:gd name="T25" fmla="*/ 2147483647 h 227"/>
                <a:gd name="T26" fmla="*/ 0 w 215"/>
                <a:gd name="T27" fmla="*/ 2147483647 h 227"/>
                <a:gd name="T28" fmla="*/ 2147483647 w 215"/>
                <a:gd name="T29" fmla="*/ 2147483647 h 227"/>
                <a:gd name="T30" fmla="*/ 2147483647 w 215"/>
                <a:gd name="T31" fmla="*/ 2147483647 h 227"/>
                <a:gd name="T32" fmla="*/ 2147483647 w 215"/>
                <a:gd name="T33" fmla="*/ 2147483647 h 227"/>
                <a:gd name="T34" fmla="*/ 2147483647 w 215"/>
                <a:gd name="T35" fmla="*/ 2147483647 h 227"/>
                <a:gd name="T36" fmla="*/ 2147483647 w 215"/>
                <a:gd name="T37" fmla="*/ 2147483647 h 227"/>
                <a:gd name="T38" fmla="*/ 2147483647 w 215"/>
                <a:gd name="T39" fmla="*/ 2147483647 h 227"/>
                <a:gd name="T40" fmla="*/ 2147483647 w 215"/>
                <a:gd name="T41" fmla="*/ 2147483647 h 227"/>
                <a:gd name="T42" fmla="*/ 2147483647 w 215"/>
                <a:gd name="T43" fmla="*/ 2147483647 h 227"/>
                <a:gd name="T44" fmla="*/ 2147483647 w 215"/>
                <a:gd name="T45" fmla="*/ 2147483647 h 227"/>
                <a:gd name="T46" fmla="*/ 2147483647 w 215"/>
                <a:gd name="T47" fmla="*/ 2147483647 h 227"/>
                <a:gd name="T48" fmla="*/ 2147483647 w 215"/>
                <a:gd name="T49" fmla="*/ 2147483647 h 227"/>
                <a:gd name="T50" fmla="*/ 2147483647 w 215"/>
                <a:gd name="T51" fmla="*/ 2147483647 h 227"/>
                <a:gd name="T52" fmla="*/ 2147483647 w 215"/>
                <a:gd name="T53" fmla="*/ 2147483647 h 227"/>
                <a:gd name="T54" fmla="*/ 2147483647 w 215"/>
                <a:gd name="T55" fmla="*/ 2147483647 h 227"/>
                <a:gd name="T56" fmla="*/ 2147483647 w 215"/>
                <a:gd name="T57" fmla="*/ 2147483647 h 227"/>
                <a:gd name="T58" fmla="*/ 2147483647 w 215"/>
                <a:gd name="T59" fmla="*/ 2147483647 h 227"/>
                <a:gd name="T60" fmla="*/ 2147483647 w 215"/>
                <a:gd name="T61" fmla="*/ 2147483647 h 227"/>
                <a:gd name="T62" fmla="*/ 2147483647 w 215"/>
                <a:gd name="T63" fmla="*/ 2147483647 h 227"/>
                <a:gd name="T64" fmla="*/ 2147483647 w 215"/>
                <a:gd name="T65" fmla="*/ 2147483647 h 227"/>
                <a:gd name="T66" fmla="*/ 2147483647 w 215"/>
                <a:gd name="T67" fmla="*/ 2147483647 h 227"/>
                <a:gd name="T68" fmla="*/ 2147483647 w 215"/>
                <a:gd name="T69" fmla="*/ 2147483647 h 227"/>
                <a:gd name="T70" fmla="*/ 2147483647 w 215"/>
                <a:gd name="T71" fmla="*/ 2147483647 h 227"/>
                <a:gd name="T72" fmla="*/ 2147483647 w 215"/>
                <a:gd name="T73" fmla="*/ 2147483647 h 227"/>
                <a:gd name="T74" fmla="*/ 2147483647 w 215"/>
                <a:gd name="T75" fmla="*/ 2147483647 h 227"/>
                <a:gd name="T76" fmla="*/ 2147483647 w 215"/>
                <a:gd name="T77" fmla="*/ 2147483647 h 227"/>
                <a:gd name="T78" fmla="*/ 2147483647 w 215"/>
                <a:gd name="T79" fmla="*/ 0 h 227"/>
                <a:gd name="T80" fmla="*/ 2147483647 w 215"/>
                <a:gd name="T81" fmla="*/ 0 h 227"/>
                <a:gd name="T82" fmla="*/ 2147483647 w 215"/>
                <a:gd name="T83" fmla="*/ 2147483647 h 227"/>
                <a:gd name="T84" fmla="*/ 2147483647 w 215"/>
                <a:gd name="T85" fmla="*/ 2147483647 h 227"/>
                <a:gd name="T86" fmla="*/ 2147483647 w 215"/>
                <a:gd name="T87" fmla="*/ 2147483647 h 227"/>
                <a:gd name="T88" fmla="*/ 2147483647 w 215"/>
                <a:gd name="T89" fmla="*/ 2147483647 h 227"/>
                <a:gd name="T90" fmla="*/ 2147483647 w 215"/>
                <a:gd name="T91" fmla="*/ 2147483647 h 227"/>
                <a:gd name="T92" fmla="*/ 2147483647 w 215"/>
                <a:gd name="T93" fmla="*/ 2147483647 h 227"/>
                <a:gd name="T94" fmla="*/ 2147483647 w 215"/>
                <a:gd name="T95" fmla="*/ 2147483647 h 227"/>
                <a:gd name="T96" fmla="*/ 2147483647 w 215"/>
                <a:gd name="T97" fmla="*/ 2147483647 h 227"/>
                <a:gd name="T98" fmla="*/ 2147483647 w 215"/>
                <a:gd name="T99" fmla="*/ 2147483647 h 227"/>
                <a:gd name="T100" fmla="*/ 2147483647 w 215"/>
                <a:gd name="T101" fmla="*/ 2147483647 h 227"/>
                <a:gd name="T102" fmla="*/ 2147483647 w 215"/>
                <a:gd name="T103" fmla="*/ 2147483647 h 227"/>
                <a:gd name="T104" fmla="*/ 2147483647 w 215"/>
                <a:gd name="T105" fmla="*/ 2147483647 h 227"/>
                <a:gd name="T106" fmla="*/ 2147483647 w 215"/>
                <a:gd name="T107" fmla="*/ 2147483647 h 227"/>
                <a:gd name="T108" fmla="*/ 2147483647 w 215"/>
                <a:gd name="T109" fmla="*/ 2147483647 h 227"/>
                <a:gd name="T110" fmla="*/ 2147483647 w 215"/>
                <a:gd name="T111" fmla="*/ 2147483647 h 22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15"/>
                <a:gd name="T169" fmla="*/ 0 h 227"/>
                <a:gd name="T170" fmla="*/ 215 w 215"/>
                <a:gd name="T171" fmla="*/ 227 h 22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15" h="227">
                  <a:moveTo>
                    <a:pt x="89" y="6"/>
                  </a:moveTo>
                  <a:lnTo>
                    <a:pt x="67" y="33"/>
                  </a:lnTo>
                  <a:lnTo>
                    <a:pt x="67" y="41"/>
                  </a:lnTo>
                  <a:lnTo>
                    <a:pt x="54" y="54"/>
                  </a:lnTo>
                  <a:lnTo>
                    <a:pt x="56" y="57"/>
                  </a:lnTo>
                  <a:lnTo>
                    <a:pt x="52" y="66"/>
                  </a:lnTo>
                  <a:lnTo>
                    <a:pt x="39" y="79"/>
                  </a:lnTo>
                  <a:lnTo>
                    <a:pt x="26" y="94"/>
                  </a:lnTo>
                  <a:lnTo>
                    <a:pt x="21" y="102"/>
                  </a:lnTo>
                  <a:lnTo>
                    <a:pt x="26" y="109"/>
                  </a:lnTo>
                  <a:lnTo>
                    <a:pt x="22" y="120"/>
                  </a:lnTo>
                  <a:lnTo>
                    <a:pt x="15" y="129"/>
                  </a:lnTo>
                  <a:lnTo>
                    <a:pt x="9" y="133"/>
                  </a:lnTo>
                  <a:lnTo>
                    <a:pt x="0" y="144"/>
                  </a:lnTo>
                  <a:lnTo>
                    <a:pt x="1" y="155"/>
                  </a:lnTo>
                  <a:lnTo>
                    <a:pt x="11" y="161"/>
                  </a:lnTo>
                  <a:lnTo>
                    <a:pt x="35" y="161"/>
                  </a:lnTo>
                  <a:lnTo>
                    <a:pt x="49" y="153"/>
                  </a:lnTo>
                  <a:lnTo>
                    <a:pt x="63" y="151"/>
                  </a:lnTo>
                  <a:lnTo>
                    <a:pt x="74" y="161"/>
                  </a:lnTo>
                  <a:lnTo>
                    <a:pt x="85" y="166"/>
                  </a:lnTo>
                  <a:lnTo>
                    <a:pt x="100" y="168"/>
                  </a:lnTo>
                  <a:lnTo>
                    <a:pt x="96" y="185"/>
                  </a:lnTo>
                  <a:lnTo>
                    <a:pt x="101" y="227"/>
                  </a:lnTo>
                  <a:lnTo>
                    <a:pt x="114" y="226"/>
                  </a:lnTo>
                  <a:lnTo>
                    <a:pt x="122" y="225"/>
                  </a:lnTo>
                  <a:lnTo>
                    <a:pt x="125" y="213"/>
                  </a:lnTo>
                  <a:lnTo>
                    <a:pt x="127" y="188"/>
                  </a:lnTo>
                  <a:lnTo>
                    <a:pt x="137" y="175"/>
                  </a:lnTo>
                  <a:lnTo>
                    <a:pt x="137" y="153"/>
                  </a:lnTo>
                  <a:lnTo>
                    <a:pt x="145" y="140"/>
                  </a:lnTo>
                  <a:lnTo>
                    <a:pt x="162" y="133"/>
                  </a:lnTo>
                  <a:lnTo>
                    <a:pt x="193" y="98"/>
                  </a:lnTo>
                  <a:lnTo>
                    <a:pt x="197" y="83"/>
                  </a:lnTo>
                  <a:lnTo>
                    <a:pt x="192" y="59"/>
                  </a:lnTo>
                  <a:lnTo>
                    <a:pt x="212" y="43"/>
                  </a:lnTo>
                  <a:lnTo>
                    <a:pt x="215" y="16"/>
                  </a:lnTo>
                  <a:lnTo>
                    <a:pt x="201" y="4"/>
                  </a:lnTo>
                  <a:lnTo>
                    <a:pt x="192" y="2"/>
                  </a:lnTo>
                  <a:lnTo>
                    <a:pt x="175" y="0"/>
                  </a:lnTo>
                  <a:lnTo>
                    <a:pt x="137" y="0"/>
                  </a:lnTo>
                  <a:lnTo>
                    <a:pt x="126" y="9"/>
                  </a:lnTo>
                  <a:lnTo>
                    <a:pt x="117" y="20"/>
                  </a:lnTo>
                  <a:lnTo>
                    <a:pt x="119" y="30"/>
                  </a:lnTo>
                  <a:lnTo>
                    <a:pt x="132" y="39"/>
                  </a:lnTo>
                  <a:lnTo>
                    <a:pt x="141" y="50"/>
                  </a:lnTo>
                  <a:lnTo>
                    <a:pt x="141" y="65"/>
                  </a:lnTo>
                  <a:lnTo>
                    <a:pt x="126" y="76"/>
                  </a:lnTo>
                  <a:lnTo>
                    <a:pt x="111" y="79"/>
                  </a:lnTo>
                  <a:lnTo>
                    <a:pt x="100" y="81"/>
                  </a:lnTo>
                  <a:lnTo>
                    <a:pt x="95" y="72"/>
                  </a:lnTo>
                  <a:lnTo>
                    <a:pt x="91" y="59"/>
                  </a:lnTo>
                  <a:lnTo>
                    <a:pt x="98" y="48"/>
                  </a:lnTo>
                  <a:lnTo>
                    <a:pt x="96" y="35"/>
                  </a:lnTo>
                  <a:lnTo>
                    <a:pt x="95" y="22"/>
                  </a:lnTo>
                  <a:lnTo>
                    <a:pt x="89" y="6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213" name="Freeform 22"/>
            <p:cNvSpPr>
              <a:spLocks/>
            </p:cNvSpPr>
            <p:nvPr/>
          </p:nvSpPr>
          <p:spPr bwMode="auto">
            <a:xfrm>
              <a:off x="3334495" y="2560305"/>
              <a:ext cx="457589" cy="437893"/>
            </a:xfrm>
            <a:custGeom>
              <a:avLst/>
              <a:gdLst>
                <a:gd name="T0" fmla="*/ 2147483647 w 303"/>
                <a:gd name="T1" fmla="*/ 2147483647 h 277"/>
                <a:gd name="T2" fmla="*/ 2147483647 w 303"/>
                <a:gd name="T3" fmla="*/ 2147483647 h 277"/>
                <a:gd name="T4" fmla="*/ 2147483647 w 303"/>
                <a:gd name="T5" fmla="*/ 2147483647 h 277"/>
                <a:gd name="T6" fmla="*/ 2147483647 w 303"/>
                <a:gd name="T7" fmla="*/ 2147483647 h 277"/>
                <a:gd name="T8" fmla="*/ 2147483647 w 303"/>
                <a:gd name="T9" fmla="*/ 2147483647 h 277"/>
                <a:gd name="T10" fmla="*/ 2147483647 w 303"/>
                <a:gd name="T11" fmla="*/ 2147483647 h 277"/>
                <a:gd name="T12" fmla="*/ 2147483647 w 303"/>
                <a:gd name="T13" fmla="*/ 2147483647 h 277"/>
                <a:gd name="T14" fmla="*/ 2147483647 w 303"/>
                <a:gd name="T15" fmla="*/ 2147483647 h 277"/>
                <a:gd name="T16" fmla="*/ 2147483647 w 303"/>
                <a:gd name="T17" fmla="*/ 2147483647 h 277"/>
                <a:gd name="T18" fmla="*/ 2147483647 w 303"/>
                <a:gd name="T19" fmla="*/ 2147483647 h 277"/>
                <a:gd name="T20" fmla="*/ 2147483647 w 303"/>
                <a:gd name="T21" fmla="*/ 2147483647 h 277"/>
                <a:gd name="T22" fmla="*/ 2147483647 w 303"/>
                <a:gd name="T23" fmla="*/ 2147483647 h 277"/>
                <a:gd name="T24" fmla="*/ 2147483647 w 303"/>
                <a:gd name="T25" fmla="*/ 2147483647 h 277"/>
                <a:gd name="T26" fmla="*/ 2147483647 w 303"/>
                <a:gd name="T27" fmla="*/ 2147483647 h 277"/>
                <a:gd name="T28" fmla="*/ 2147483647 w 303"/>
                <a:gd name="T29" fmla="*/ 2147483647 h 277"/>
                <a:gd name="T30" fmla="*/ 2147483647 w 303"/>
                <a:gd name="T31" fmla="*/ 2147483647 h 277"/>
                <a:gd name="T32" fmla="*/ 2147483647 w 303"/>
                <a:gd name="T33" fmla="*/ 2147483647 h 277"/>
                <a:gd name="T34" fmla="*/ 2147483647 w 303"/>
                <a:gd name="T35" fmla="*/ 2147483647 h 277"/>
                <a:gd name="T36" fmla="*/ 2147483647 w 303"/>
                <a:gd name="T37" fmla="*/ 2147483647 h 277"/>
                <a:gd name="T38" fmla="*/ 2147483647 w 303"/>
                <a:gd name="T39" fmla="*/ 2147483647 h 277"/>
                <a:gd name="T40" fmla="*/ 2147483647 w 303"/>
                <a:gd name="T41" fmla="*/ 2147483647 h 277"/>
                <a:gd name="T42" fmla="*/ 2147483647 w 303"/>
                <a:gd name="T43" fmla="*/ 2147483647 h 277"/>
                <a:gd name="T44" fmla="*/ 2147483647 w 303"/>
                <a:gd name="T45" fmla="*/ 2147483647 h 277"/>
                <a:gd name="T46" fmla="*/ 2147483647 w 303"/>
                <a:gd name="T47" fmla="*/ 2147483647 h 277"/>
                <a:gd name="T48" fmla="*/ 2147483647 w 303"/>
                <a:gd name="T49" fmla="*/ 0 h 277"/>
                <a:gd name="T50" fmla="*/ 2147483647 w 303"/>
                <a:gd name="T51" fmla="*/ 2147483647 h 277"/>
                <a:gd name="T52" fmla="*/ 2147483647 w 303"/>
                <a:gd name="T53" fmla="*/ 2147483647 h 277"/>
                <a:gd name="T54" fmla="*/ 2147483647 w 303"/>
                <a:gd name="T55" fmla="*/ 2147483647 h 277"/>
                <a:gd name="T56" fmla="*/ 2147483647 w 303"/>
                <a:gd name="T57" fmla="*/ 2147483647 h 277"/>
                <a:gd name="T58" fmla="*/ 2147483647 w 303"/>
                <a:gd name="T59" fmla="*/ 2147483647 h 277"/>
                <a:gd name="T60" fmla="*/ 2147483647 w 303"/>
                <a:gd name="T61" fmla="*/ 2147483647 h 277"/>
                <a:gd name="T62" fmla="*/ 2147483647 w 303"/>
                <a:gd name="T63" fmla="*/ 2147483647 h 277"/>
                <a:gd name="T64" fmla="*/ 2147483647 w 303"/>
                <a:gd name="T65" fmla="*/ 2147483647 h 277"/>
                <a:gd name="T66" fmla="*/ 2147483647 w 303"/>
                <a:gd name="T67" fmla="*/ 2147483647 h 277"/>
                <a:gd name="T68" fmla="*/ 2147483647 w 303"/>
                <a:gd name="T69" fmla="*/ 2147483647 h 277"/>
                <a:gd name="T70" fmla="*/ 2147483647 w 303"/>
                <a:gd name="T71" fmla="*/ 2147483647 h 27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03"/>
                <a:gd name="T109" fmla="*/ 0 h 277"/>
                <a:gd name="T110" fmla="*/ 303 w 303"/>
                <a:gd name="T111" fmla="*/ 277 h 27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03" h="277">
                  <a:moveTo>
                    <a:pt x="112" y="104"/>
                  </a:moveTo>
                  <a:lnTo>
                    <a:pt x="108" y="115"/>
                  </a:lnTo>
                  <a:lnTo>
                    <a:pt x="112" y="130"/>
                  </a:lnTo>
                  <a:lnTo>
                    <a:pt x="106" y="139"/>
                  </a:lnTo>
                  <a:lnTo>
                    <a:pt x="97" y="133"/>
                  </a:lnTo>
                  <a:lnTo>
                    <a:pt x="86" y="135"/>
                  </a:lnTo>
                  <a:lnTo>
                    <a:pt x="86" y="146"/>
                  </a:lnTo>
                  <a:lnTo>
                    <a:pt x="63" y="167"/>
                  </a:lnTo>
                  <a:lnTo>
                    <a:pt x="50" y="172"/>
                  </a:lnTo>
                  <a:lnTo>
                    <a:pt x="33" y="191"/>
                  </a:lnTo>
                  <a:lnTo>
                    <a:pt x="22" y="196"/>
                  </a:lnTo>
                  <a:lnTo>
                    <a:pt x="13" y="195"/>
                  </a:lnTo>
                  <a:lnTo>
                    <a:pt x="9" y="198"/>
                  </a:lnTo>
                  <a:lnTo>
                    <a:pt x="6" y="201"/>
                  </a:lnTo>
                  <a:lnTo>
                    <a:pt x="11" y="208"/>
                  </a:lnTo>
                  <a:lnTo>
                    <a:pt x="11" y="221"/>
                  </a:lnTo>
                  <a:lnTo>
                    <a:pt x="0" y="233"/>
                  </a:lnTo>
                  <a:lnTo>
                    <a:pt x="4" y="245"/>
                  </a:lnTo>
                  <a:lnTo>
                    <a:pt x="17" y="245"/>
                  </a:lnTo>
                  <a:lnTo>
                    <a:pt x="22" y="236"/>
                  </a:lnTo>
                  <a:lnTo>
                    <a:pt x="30" y="244"/>
                  </a:lnTo>
                  <a:lnTo>
                    <a:pt x="20" y="251"/>
                  </a:lnTo>
                  <a:lnTo>
                    <a:pt x="24" y="262"/>
                  </a:lnTo>
                  <a:lnTo>
                    <a:pt x="30" y="264"/>
                  </a:lnTo>
                  <a:lnTo>
                    <a:pt x="54" y="268"/>
                  </a:lnTo>
                  <a:lnTo>
                    <a:pt x="58" y="270"/>
                  </a:lnTo>
                  <a:lnTo>
                    <a:pt x="80" y="277"/>
                  </a:lnTo>
                  <a:lnTo>
                    <a:pt x="89" y="273"/>
                  </a:lnTo>
                  <a:lnTo>
                    <a:pt x="108" y="262"/>
                  </a:lnTo>
                  <a:lnTo>
                    <a:pt x="136" y="268"/>
                  </a:lnTo>
                  <a:lnTo>
                    <a:pt x="186" y="268"/>
                  </a:lnTo>
                  <a:lnTo>
                    <a:pt x="214" y="262"/>
                  </a:lnTo>
                  <a:lnTo>
                    <a:pt x="227" y="242"/>
                  </a:lnTo>
                  <a:lnTo>
                    <a:pt x="244" y="233"/>
                  </a:lnTo>
                  <a:lnTo>
                    <a:pt x="249" y="221"/>
                  </a:lnTo>
                  <a:lnTo>
                    <a:pt x="255" y="205"/>
                  </a:lnTo>
                  <a:lnTo>
                    <a:pt x="268" y="195"/>
                  </a:lnTo>
                  <a:lnTo>
                    <a:pt x="279" y="167"/>
                  </a:lnTo>
                  <a:lnTo>
                    <a:pt x="277" y="135"/>
                  </a:lnTo>
                  <a:lnTo>
                    <a:pt x="303" y="120"/>
                  </a:lnTo>
                  <a:lnTo>
                    <a:pt x="288" y="107"/>
                  </a:lnTo>
                  <a:lnTo>
                    <a:pt x="283" y="85"/>
                  </a:lnTo>
                  <a:lnTo>
                    <a:pt x="273" y="76"/>
                  </a:lnTo>
                  <a:lnTo>
                    <a:pt x="262" y="76"/>
                  </a:lnTo>
                  <a:lnTo>
                    <a:pt x="251" y="70"/>
                  </a:lnTo>
                  <a:lnTo>
                    <a:pt x="231" y="46"/>
                  </a:lnTo>
                  <a:lnTo>
                    <a:pt x="240" y="41"/>
                  </a:lnTo>
                  <a:lnTo>
                    <a:pt x="275" y="9"/>
                  </a:lnTo>
                  <a:lnTo>
                    <a:pt x="271" y="0"/>
                  </a:lnTo>
                  <a:lnTo>
                    <a:pt x="260" y="2"/>
                  </a:lnTo>
                  <a:lnTo>
                    <a:pt x="223" y="4"/>
                  </a:lnTo>
                  <a:lnTo>
                    <a:pt x="210" y="13"/>
                  </a:lnTo>
                  <a:lnTo>
                    <a:pt x="201" y="19"/>
                  </a:lnTo>
                  <a:lnTo>
                    <a:pt x="188" y="17"/>
                  </a:lnTo>
                  <a:lnTo>
                    <a:pt x="180" y="22"/>
                  </a:lnTo>
                  <a:lnTo>
                    <a:pt x="186" y="32"/>
                  </a:lnTo>
                  <a:lnTo>
                    <a:pt x="204" y="44"/>
                  </a:lnTo>
                  <a:lnTo>
                    <a:pt x="191" y="46"/>
                  </a:lnTo>
                  <a:lnTo>
                    <a:pt x="158" y="50"/>
                  </a:lnTo>
                  <a:lnTo>
                    <a:pt x="136" y="41"/>
                  </a:lnTo>
                  <a:lnTo>
                    <a:pt x="113" y="32"/>
                  </a:lnTo>
                  <a:lnTo>
                    <a:pt x="106" y="37"/>
                  </a:lnTo>
                  <a:lnTo>
                    <a:pt x="100" y="54"/>
                  </a:lnTo>
                  <a:lnTo>
                    <a:pt x="102" y="63"/>
                  </a:lnTo>
                  <a:lnTo>
                    <a:pt x="99" y="67"/>
                  </a:lnTo>
                  <a:lnTo>
                    <a:pt x="86" y="72"/>
                  </a:lnTo>
                  <a:lnTo>
                    <a:pt x="87" y="89"/>
                  </a:lnTo>
                  <a:lnTo>
                    <a:pt x="86" y="93"/>
                  </a:lnTo>
                  <a:lnTo>
                    <a:pt x="72" y="111"/>
                  </a:lnTo>
                  <a:lnTo>
                    <a:pt x="84" y="128"/>
                  </a:lnTo>
                  <a:lnTo>
                    <a:pt x="89" y="126"/>
                  </a:lnTo>
                  <a:lnTo>
                    <a:pt x="112" y="104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214" name="Group 23"/>
            <p:cNvGrpSpPr>
              <a:grpSpLocks/>
            </p:cNvGrpSpPr>
            <p:nvPr/>
          </p:nvGrpSpPr>
          <p:grpSpPr bwMode="auto">
            <a:xfrm>
              <a:off x="4891509" y="2591922"/>
              <a:ext cx="519508" cy="429989"/>
              <a:chOff x="1939" y="2035"/>
              <a:chExt cx="344" cy="272"/>
            </a:xfrm>
            <a:grpFill/>
          </p:grpSpPr>
          <p:sp>
            <p:nvSpPr>
              <p:cNvPr id="247" name="Freeform 24"/>
              <p:cNvSpPr>
                <a:spLocks/>
              </p:cNvSpPr>
              <p:nvPr/>
            </p:nvSpPr>
            <p:spPr bwMode="auto">
              <a:xfrm>
                <a:off x="1939" y="2090"/>
                <a:ext cx="145" cy="179"/>
              </a:xfrm>
              <a:custGeom>
                <a:avLst/>
                <a:gdLst>
                  <a:gd name="T0" fmla="*/ 11 w 145"/>
                  <a:gd name="T1" fmla="*/ 153 h 179"/>
                  <a:gd name="T2" fmla="*/ 19 w 145"/>
                  <a:gd name="T3" fmla="*/ 166 h 179"/>
                  <a:gd name="T4" fmla="*/ 35 w 145"/>
                  <a:gd name="T5" fmla="*/ 166 h 179"/>
                  <a:gd name="T6" fmla="*/ 50 w 145"/>
                  <a:gd name="T7" fmla="*/ 170 h 179"/>
                  <a:gd name="T8" fmla="*/ 61 w 145"/>
                  <a:gd name="T9" fmla="*/ 179 h 179"/>
                  <a:gd name="T10" fmla="*/ 73 w 145"/>
                  <a:gd name="T11" fmla="*/ 179 h 179"/>
                  <a:gd name="T12" fmla="*/ 65 w 145"/>
                  <a:gd name="T13" fmla="*/ 168 h 179"/>
                  <a:gd name="T14" fmla="*/ 71 w 145"/>
                  <a:gd name="T15" fmla="*/ 153 h 179"/>
                  <a:gd name="T16" fmla="*/ 78 w 145"/>
                  <a:gd name="T17" fmla="*/ 136 h 179"/>
                  <a:gd name="T18" fmla="*/ 82 w 145"/>
                  <a:gd name="T19" fmla="*/ 117 h 179"/>
                  <a:gd name="T20" fmla="*/ 99 w 145"/>
                  <a:gd name="T21" fmla="*/ 106 h 179"/>
                  <a:gd name="T22" fmla="*/ 113 w 145"/>
                  <a:gd name="T23" fmla="*/ 98 h 179"/>
                  <a:gd name="T24" fmla="*/ 112 w 145"/>
                  <a:gd name="T25" fmla="*/ 87 h 179"/>
                  <a:gd name="T26" fmla="*/ 112 w 145"/>
                  <a:gd name="T27" fmla="*/ 69 h 179"/>
                  <a:gd name="T28" fmla="*/ 115 w 145"/>
                  <a:gd name="T29" fmla="*/ 61 h 179"/>
                  <a:gd name="T30" fmla="*/ 128 w 145"/>
                  <a:gd name="T31" fmla="*/ 59 h 179"/>
                  <a:gd name="T32" fmla="*/ 134 w 145"/>
                  <a:gd name="T33" fmla="*/ 63 h 179"/>
                  <a:gd name="T34" fmla="*/ 145 w 145"/>
                  <a:gd name="T35" fmla="*/ 50 h 179"/>
                  <a:gd name="T36" fmla="*/ 141 w 145"/>
                  <a:gd name="T37" fmla="*/ 39 h 179"/>
                  <a:gd name="T38" fmla="*/ 134 w 145"/>
                  <a:gd name="T39" fmla="*/ 37 h 179"/>
                  <a:gd name="T40" fmla="*/ 121 w 145"/>
                  <a:gd name="T41" fmla="*/ 37 h 179"/>
                  <a:gd name="T42" fmla="*/ 115 w 145"/>
                  <a:gd name="T43" fmla="*/ 37 h 179"/>
                  <a:gd name="T44" fmla="*/ 112 w 145"/>
                  <a:gd name="T45" fmla="*/ 20 h 179"/>
                  <a:gd name="T46" fmla="*/ 113 w 145"/>
                  <a:gd name="T47" fmla="*/ 4 h 179"/>
                  <a:gd name="T48" fmla="*/ 104 w 145"/>
                  <a:gd name="T49" fmla="*/ 0 h 179"/>
                  <a:gd name="T50" fmla="*/ 100 w 145"/>
                  <a:gd name="T51" fmla="*/ 6 h 179"/>
                  <a:gd name="T52" fmla="*/ 78 w 145"/>
                  <a:gd name="T53" fmla="*/ 2 h 179"/>
                  <a:gd name="T54" fmla="*/ 73 w 145"/>
                  <a:gd name="T55" fmla="*/ 7 h 179"/>
                  <a:gd name="T56" fmla="*/ 78 w 145"/>
                  <a:gd name="T57" fmla="*/ 22 h 179"/>
                  <a:gd name="T58" fmla="*/ 76 w 145"/>
                  <a:gd name="T59" fmla="*/ 37 h 179"/>
                  <a:gd name="T60" fmla="*/ 67 w 145"/>
                  <a:gd name="T61" fmla="*/ 26 h 179"/>
                  <a:gd name="T62" fmla="*/ 63 w 145"/>
                  <a:gd name="T63" fmla="*/ 17 h 179"/>
                  <a:gd name="T64" fmla="*/ 50 w 145"/>
                  <a:gd name="T65" fmla="*/ 19 h 179"/>
                  <a:gd name="T66" fmla="*/ 45 w 145"/>
                  <a:gd name="T67" fmla="*/ 28 h 179"/>
                  <a:gd name="T68" fmla="*/ 41 w 145"/>
                  <a:gd name="T69" fmla="*/ 32 h 179"/>
                  <a:gd name="T70" fmla="*/ 41 w 145"/>
                  <a:gd name="T71" fmla="*/ 45 h 179"/>
                  <a:gd name="T72" fmla="*/ 39 w 145"/>
                  <a:gd name="T73" fmla="*/ 43 h 179"/>
                  <a:gd name="T74" fmla="*/ 28 w 145"/>
                  <a:gd name="T75" fmla="*/ 26 h 179"/>
                  <a:gd name="T76" fmla="*/ 22 w 145"/>
                  <a:gd name="T77" fmla="*/ 20 h 179"/>
                  <a:gd name="T78" fmla="*/ 15 w 145"/>
                  <a:gd name="T79" fmla="*/ 24 h 179"/>
                  <a:gd name="T80" fmla="*/ 17 w 145"/>
                  <a:gd name="T81" fmla="*/ 33 h 179"/>
                  <a:gd name="T82" fmla="*/ 17 w 145"/>
                  <a:gd name="T83" fmla="*/ 39 h 179"/>
                  <a:gd name="T84" fmla="*/ 7 w 145"/>
                  <a:gd name="T85" fmla="*/ 43 h 179"/>
                  <a:gd name="T86" fmla="*/ 7 w 145"/>
                  <a:gd name="T87" fmla="*/ 56 h 179"/>
                  <a:gd name="T88" fmla="*/ 15 w 145"/>
                  <a:gd name="T89" fmla="*/ 69 h 179"/>
                  <a:gd name="T90" fmla="*/ 15 w 145"/>
                  <a:gd name="T91" fmla="*/ 78 h 179"/>
                  <a:gd name="T92" fmla="*/ 11 w 145"/>
                  <a:gd name="T93" fmla="*/ 87 h 179"/>
                  <a:gd name="T94" fmla="*/ 0 w 145"/>
                  <a:gd name="T95" fmla="*/ 96 h 179"/>
                  <a:gd name="T96" fmla="*/ 2 w 145"/>
                  <a:gd name="T97" fmla="*/ 106 h 179"/>
                  <a:gd name="T98" fmla="*/ 13 w 145"/>
                  <a:gd name="T99" fmla="*/ 115 h 179"/>
                  <a:gd name="T100" fmla="*/ 17 w 145"/>
                  <a:gd name="T101" fmla="*/ 124 h 179"/>
                  <a:gd name="T102" fmla="*/ 15 w 145"/>
                  <a:gd name="T103" fmla="*/ 142 h 179"/>
                  <a:gd name="T104" fmla="*/ 11 w 145"/>
                  <a:gd name="T105" fmla="*/ 153 h 17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45"/>
                  <a:gd name="T160" fmla="*/ 0 h 179"/>
                  <a:gd name="T161" fmla="*/ 145 w 145"/>
                  <a:gd name="T162" fmla="*/ 179 h 17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45" h="179">
                    <a:moveTo>
                      <a:pt x="11" y="153"/>
                    </a:moveTo>
                    <a:lnTo>
                      <a:pt x="19" y="166"/>
                    </a:lnTo>
                    <a:lnTo>
                      <a:pt x="35" y="166"/>
                    </a:lnTo>
                    <a:lnTo>
                      <a:pt x="50" y="170"/>
                    </a:lnTo>
                    <a:lnTo>
                      <a:pt x="61" y="179"/>
                    </a:lnTo>
                    <a:lnTo>
                      <a:pt x="73" y="179"/>
                    </a:lnTo>
                    <a:lnTo>
                      <a:pt x="65" y="168"/>
                    </a:lnTo>
                    <a:lnTo>
                      <a:pt x="71" y="153"/>
                    </a:lnTo>
                    <a:lnTo>
                      <a:pt x="78" y="136"/>
                    </a:lnTo>
                    <a:lnTo>
                      <a:pt x="82" y="117"/>
                    </a:lnTo>
                    <a:lnTo>
                      <a:pt x="99" y="106"/>
                    </a:lnTo>
                    <a:lnTo>
                      <a:pt x="113" y="98"/>
                    </a:lnTo>
                    <a:lnTo>
                      <a:pt x="112" y="87"/>
                    </a:lnTo>
                    <a:lnTo>
                      <a:pt x="112" y="69"/>
                    </a:lnTo>
                    <a:lnTo>
                      <a:pt x="115" y="61"/>
                    </a:lnTo>
                    <a:lnTo>
                      <a:pt x="128" y="59"/>
                    </a:lnTo>
                    <a:lnTo>
                      <a:pt x="134" y="63"/>
                    </a:lnTo>
                    <a:lnTo>
                      <a:pt x="145" y="50"/>
                    </a:lnTo>
                    <a:lnTo>
                      <a:pt x="141" y="39"/>
                    </a:lnTo>
                    <a:lnTo>
                      <a:pt x="134" y="37"/>
                    </a:lnTo>
                    <a:lnTo>
                      <a:pt x="121" y="37"/>
                    </a:lnTo>
                    <a:lnTo>
                      <a:pt x="115" y="37"/>
                    </a:lnTo>
                    <a:lnTo>
                      <a:pt x="112" y="20"/>
                    </a:lnTo>
                    <a:lnTo>
                      <a:pt x="113" y="4"/>
                    </a:lnTo>
                    <a:lnTo>
                      <a:pt x="104" y="0"/>
                    </a:lnTo>
                    <a:lnTo>
                      <a:pt x="100" y="6"/>
                    </a:lnTo>
                    <a:lnTo>
                      <a:pt x="78" y="2"/>
                    </a:lnTo>
                    <a:lnTo>
                      <a:pt x="73" y="7"/>
                    </a:lnTo>
                    <a:lnTo>
                      <a:pt x="78" y="22"/>
                    </a:lnTo>
                    <a:lnTo>
                      <a:pt x="76" y="37"/>
                    </a:lnTo>
                    <a:lnTo>
                      <a:pt x="67" y="26"/>
                    </a:lnTo>
                    <a:lnTo>
                      <a:pt x="63" y="17"/>
                    </a:lnTo>
                    <a:lnTo>
                      <a:pt x="50" y="19"/>
                    </a:lnTo>
                    <a:lnTo>
                      <a:pt x="45" y="28"/>
                    </a:lnTo>
                    <a:lnTo>
                      <a:pt x="41" y="32"/>
                    </a:lnTo>
                    <a:lnTo>
                      <a:pt x="41" y="45"/>
                    </a:lnTo>
                    <a:lnTo>
                      <a:pt x="39" y="43"/>
                    </a:lnTo>
                    <a:lnTo>
                      <a:pt x="28" y="26"/>
                    </a:lnTo>
                    <a:lnTo>
                      <a:pt x="22" y="20"/>
                    </a:lnTo>
                    <a:lnTo>
                      <a:pt x="15" y="24"/>
                    </a:lnTo>
                    <a:lnTo>
                      <a:pt x="17" y="33"/>
                    </a:lnTo>
                    <a:lnTo>
                      <a:pt x="17" y="39"/>
                    </a:lnTo>
                    <a:lnTo>
                      <a:pt x="7" y="43"/>
                    </a:lnTo>
                    <a:lnTo>
                      <a:pt x="7" y="56"/>
                    </a:lnTo>
                    <a:lnTo>
                      <a:pt x="15" y="69"/>
                    </a:lnTo>
                    <a:lnTo>
                      <a:pt x="15" y="78"/>
                    </a:lnTo>
                    <a:lnTo>
                      <a:pt x="11" y="87"/>
                    </a:lnTo>
                    <a:lnTo>
                      <a:pt x="0" y="96"/>
                    </a:lnTo>
                    <a:lnTo>
                      <a:pt x="2" y="106"/>
                    </a:lnTo>
                    <a:lnTo>
                      <a:pt x="13" y="115"/>
                    </a:lnTo>
                    <a:lnTo>
                      <a:pt x="17" y="124"/>
                    </a:lnTo>
                    <a:lnTo>
                      <a:pt x="15" y="142"/>
                    </a:lnTo>
                    <a:lnTo>
                      <a:pt x="11" y="153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48" name="Freeform 25"/>
              <p:cNvSpPr>
                <a:spLocks/>
              </p:cNvSpPr>
              <p:nvPr/>
            </p:nvSpPr>
            <p:spPr bwMode="auto">
              <a:xfrm>
                <a:off x="1969" y="2035"/>
                <a:ext cx="109" cy="68"/>
              </a:xfrm>
              <a:custGeom>
                <a:avLst/>
                <a:gdLst>
                  <a:gd name="T0" fmla="*/ 0 w 109"/>
                  <a:gd name="T1" fmla="*/ 66 h 68"/>
                  <a:gd name="T2" fmla="*/ 9 w 109"/>
                  <a:gd name="T3" fmla="*/ 68 h 68"/>
                  <a:gd name="T4" fmla="*/ 20 w 109"/>
                  <a:gd name="T5" fmla="*/ 60 h 68"/>
                  <a:gd name="T6" fmla="*/ 31 w 109"/>
                  <a:gd name="T7" fmla="*/ 47 h 68"/>
                  <a:gd name="T8" fmla="*/ 61 w 109"/>
                  <a:gd name="T9" fmla="*/ 47 h 68"/>
                  <a:gd name="T10" fmla="*/ 87 w 109"/>
                  <a:gd name="T11" fmla="*/ 42 h 68"/>
                  <a:gd name="T12" fmla="*/ 102 w 109"/>
                  <a:gd name="T13" fmla="*/ 30 h 68"/>
                  <a:gd name="T14" fmla="*/ 107 w 109"/>
                  <a:gd name="T15" fmla="*/ 15 h 68"/>
                  <a:gd name="T16" fmla="*/ 109 w 109"/>
                  <a:gd name="T17" fmla="*/ 0 h 68"/>
                  <a:gd name="T18" fmla="*/ 89 w 109"/>
                  <a:gd name="T19" fmla="*/ 9 h 68"/>
                  <a:gd name="T20" fmla="*/ 52 w 109"/>
                  <a:gd name="T21" fmla="*/ 26 h 68"/>
                  <a:gd name="T22" fmla="*/ 42 w 109"/>
                  <a:gd name="T23" fmla="*/ 28 h 68"/>
                  <a:gd name="T24" fmla="*/ 31 w 109"/>
                  <a:gd name="T25" fmla="*/ 36 h 68"/>
                  <a:gd name="T26" fmla="*/ 9 w 109"/>
                  <a:gd name="T27" fmla="*/ 40 h 68"/>
                  <a:gd name="T28" fmla="*/ 0 w 109"/>
                  <a:gd name="T29" fmla="*/ 45 h 68"/>
                  <a:gd name="T30" fmla="*/ 0 w 109"/>
                  <a:gd name="T31" fmla="*/ 66 h 6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09"/>
                  <a:gd name="T49" fmla="*/ 0 h 68"/>
                  <a:gd name="T50" fmla="*/ 109 w 109"/>
                  <a:gd name="T51" fmla="*/ 68 h 68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09" h="68">
                    <a:moveTo>
                      <a:pt x="0" y="66"/>
                    </a:moveTo>
                    <a:lnTo>
                      <a:pt x="9" y="68"/>
                    </a:lnTo>
                    <a:lnTo>
                      <a:pt x="20" y="60"/>
                    </a:lnTo>
                    <a:lnTo>
                      <a:pt x="31" y="47"/>
                    </a:lnTo>
                    <a:lnTo>
                      <a:pt x="61" y="47"/>
                    </a:lnTo>
                    <a:lnTo>
                      <a:pt x="87" y="42"/>
                    </a:lnTo>
                    <a:lnTo>
                      <a:pt x="102" y="30"/>
                    </a:lnTo>
                    <a:lnTo>
                      <a:pt x="107" y="15"/>
                    </a:lnTo>
                    <a:lnTo>
                      <a:pt x="109" y="0"/>
                    </a:lnTo>
                    <a:lnTo>
                      <a:pt x="89" y="9"/>
                    </a:lnTo>
                    <a:lnTo>
                      <a:pt x="52" y="26"/>
                    </a:lnTo>
                    <a:lnTo>
                      <a:pt x="42" y="28"/>
                    </a:lnTo>
                    <a:lnTo>
                      <a:pt x="31" y="36"/>
                    </a:lnTo>
                    <a:lnTo>
                      <a:pt x="9" y="40"/>
                    </a:lnTo>
                    <a:lnTo>
                      <a:pt x="0" y="45"/>
                    </a:lnTo>
                    <a:lnTo>
                      <a:pt x="0" y="66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49" name="Freeform 26"/>
              <p:cNvSpPr>
                <a:spLocks/>
              </p:cNvSpPr>
              <p:nvPr/>
            </p:nvSpPr>
            <p:spPr bwMode="auto">
              <a:xfrm>
                <a:off x="2025" y="2202"/>
                <a:ext cx="47" cy="57"/>
              </a:xfrm>
              <a:custGeom>
                <a:avLst/>
                <a:gdLst>
                  <a:gd name="T0" fmla="*/ 15 w 47"/>
                  <a:gd name="T1" fmla="*/ 0 h 57"/>
                  <a:gd name="T2" fmla="*/ 45 w 47"/>
                  <a:gd name="T3" fmla="*/ 20 h 57"/>
                  <a:gd name="T4" fmla="*/ 47 w 47"/>
                  <a:gd name="T5" fmla="*/ 29 h 57"/>
                  <a:gd name="T6" fmla="*/ 36 w 47"/>
                  <a:gd name="T7" fmla="*/ 40 h 57"/>
                  <a:gd name="T8" fmla="*/ 26 w 47"/>
                  <a:gd name="T9" fmla="*/ 48 h 57"/>
                  <a:gd name="T10" fmla="*/ 28 w 47"/>
                  <a:gd name="T11" fmla="*/ 57 h 57"/>
                  <a:gd name="T12" fmla="*/ 15 w 47"/>
                  <a:gd name="T13" fmla="*/ 55 h 57"/>
                  <a:gd name="T14" fmla="*/ 2 w 47"/>
                  <a:gd name="T15" fmla="*/ 40 h 57"/>
                  <a:gd name="T16" fmla="*/ 0 w 47"/>
                  <a:gd name="T17" fmla="*/ 29 h 57"/>
                  <a:gd name="T18" fmla="*/ 6 w 47"/>
                  <a:gd name="T19" fmla="*/ 17 h 57"/>
                  <a:gd name="T20" fmla="*/ 15 w 47"/>
                  <a:gd name="T21" fmla="*/ 0 h 5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7"/>
                  <a:gd name="T34" fmla="*/ 0 h 57"/>
                  <a:gd name="T35" fmla="*/ 47 w 47"/>
                  <a:gd name="T36" fmla="*/ 57 h 5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7" h="57">
                    <a:moveTo>
                      <a:pt x="15" y="0"/>
                    </a:moveTo>
                    <a:lnTo>
                      <a:pt x="45" y="20"/>
                    </a:lnTo>
                    <a:lnTo>
                      <a:pt x="47" y="29"/>
                    </a:lnTo>
                    <a:lnTo>
                      <a:pt x="36" y="40"/>
                    </a:lnTo>
                    <a:lnTo>
                      <a:pt x="26" y="48"/>
                    </a:lnTo>
                    <a:lnTo>
                      <a:pt x="28" y="57"/>
                    </a:lnTo>
                    <a:lnTo>
                      <a:pt x="15" y="55"/>
                    </a:lnTo>
                    <a:lnTo>
                      <a:pt x="2" y="40"/>
                    </a:lnTo>
                    <a:lnTo>
                      <a:pt x="0" y="29"/>
                    </a:lnTo>
                    <a:lnTo>
                      <a:pt x="6" y="17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50" name="Freeform 27"/>
              <p:cNvSpPr>
                <a:spLocks/>
              </p:cNvSpPr>
              <p:nvPr/>
            </p:nvSpPr>
            <p:spPr bwMode="auto">
              <a:xfrm>
                <a:off x="2084" y="2186"/>
                <a:ext cx="69" cy="83"/>
              </a:xfrm>
              <a:custGeom>
                <a:avLst/>
                <a:gdLst>
                  <a:gd name="T0" fmla="*/ 65 w 69"/>
                  <a:gd name="T1" fmla="*/ 0 h 83"/>
                  <a:gd name="T2" fmla="*/ 69 w 69"/>
                  <a:gd name="T3" fmla="*/ 4 h 83"/>
                  <a:gd name="T4" fmla="*/ 65 w 69"/>
                  <a:gd name="T5" fmla="*/ 9 h 83"/>
                  <a:gd name="T6" fmla="*/ 69 w 69"/>
                  <a:gd name="T7" fmla="*/ 18 h 83"/>
                  <a:gd name="T8" fmla="*/ 64 w 69"/>
                  <a:gd name="T9" fmla="*/ 29 h 83"/>
                  <a:gd name="T10" fmla="*/ 54 w 69"/>
                  <a:gd name="T11" fmla="*/ 37 h 83"/>
                  <a:gd name="T12" fmla="*/ 58 w 69"/>
                  <a:gd name="T13" fmla="*/ 46 h 83"/>
                  <a:gd name="T14" fmla="*/ 54 w 69"/>
                  <a:gd name="T15" fmla="*/ 54 h 83"/>
                  <a:gd name="T16" fmla="*/ 58 w 69"/>
                  <a:gd name="T17" fmla="*/ 63 h 83"/>
                  <a:gd name="T18" fmla="*/ 45 w 69"/>
                  <a:gd name="T19" fmla="*/ 83 h 83"/>
                  <a:gd name="T20" fmla="*/ 16 w 69"/>
                  <a:gd name="T21" fmla="*/ 63 h 83"/>
                  <a:gd name="T22" fmla="*/ 0 w 69"/>
                  <a:gd name="T23" fmla="*/ 52 h 83"/>
                  <a:gd name="T24" fmla="*/ 9 w 69"/>
                  <a:gd name="T25" fmla="*/ 46 h 83"/>
                  <a:gd name="T26" fmla="*/ 9 w 69"/>
                  <a:gd name="T27" fmla="*/ 33 h 83"/>
                  <a:gd name="T28" fmla="*/ 27 w 69"/>
                  <a:gd name="T29" fmla="*/ 22 h 83"/>
                  <a:gd name="T30" fmla="*/ 36 w 69"/>
                  <a:gd name="T31" fmla="*/ 26 h 83"/>
                  <a:gd name="T32" fmla="*/ 45 w 69"/>
                  <a:gd name="T33" fmla="*/ 22 h 83"/>
                  <a:gd name="T34" fmla="*/ 60 w 69"/>
                  <a:gd name="T35" fmla="*/ 11 h 83"/>
                  <a:gd name="T36" fmla="*/ 65 w 69"/>
                  <a:gd name="T37" fmla="*/ 0 h 8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9"/>
                  <a:gd name="T58" fmla="*/ 0 h 83"/>
                  <a:gd name="T59" fmla="*/ 69 w 69"/>
                  <a:gd name="T60" fmla="*/ 83 h 8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9" h="83">
                    <a:moveTo>
                      <a:pt x="65" y="0"/>
                    </a:moveTo>
                    <a:lnTo>
                      <a:pt x="69" y="4"/>
                    </a:lnTo>
                    <a:lnTo>
                      <a:pt x="65" y="9"/>
                    </a:lnTo>
                    <a:lnTo>
                      <a:pt x="69" y="18"/>
                    </a:lnTo>
                    <a:lnTo>
                      <a:pt x="64" y="29"/>
                    </a:lnTo>
                    <a:lnTo>
                      <a:pt x="54" y="37"/>
                    </a:lnTo>
                    <a:lnTo>
                      <a:pt x="58" y="46"/>
                    </a:lnTo>
                    <a:lnTo>
                      <a:pt x="54" y="54"/>
                    </a:lnTo>
                    <a:lnTo>
                      <a:pt x="58" y="63"/>
                    </a:lnTo>
                    <a:lnTo>
                      <a:pt x="45" y="83"/>
                    </a:lnTo>
                    <a:lnTo>
                      <a:pt x="16" y="63"/>
                    </a:lnTo>
                    <a:lnTo>
                      <a:pt x="0" y="52"/>
                    </a:lnTo>
                    <a:lnTo>
                      <a:pt x="9" y="46"/>
                    </a:lnTo>
                    <a:lnTo>
                      <a:pt x="9" y="33"/>
                    </a:lnTo>
                    <a:lnTo>
                      <a:pt x="27" y="22"/>
                    </a:lnTo>
                    <a:lnTo>
                      <a:pt x="36" y="26"/>
                    </a:lnTo>
                    <a:lnTo>
                      <a:pt x="45" y="22"/>
                    </a:lnTo>
                    <a:lnTo>
                      <a:pt x="60" y="11"/>
                    </a:lnTo>
                    <a:lnTo>
                      <a:pt x="65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51" name="Freeform 28"/>
              <p:cNvSpPr>
                <a:spLocks/>
              </p:cNvSpPr>
              <p:nvPr/>
            </p:nvSpPr>
            <p:spPr bwMode="auto">
              <a:xfrm>
                <a:off x="2075" y="2272"/>
                <a:ext cx="28" cy="35"/>
              </a:xfrm>
              <a:custGeom>
                <a:avLst/>
                <a:gdLst>
                  <a:gd name="T0" fmla="*/ 0 w 28"/>
                  <a:gd name="T1" fmla="*/ 0 h 35"/>
                  <a:gd name="T2" fmla="*/ 19 w 28"/>
                  <a:gd name="T3" fmla="*/ 6 h 35"/>
                  <a:gd name="T4" fmla="*/ 26 w 28"/>
                  <a:gd name="T5" fmla="*/ 15 h 35"/>
                  <a:gd name="T6" fmla="*/ 28 w 28"/>
                  <a:gd name="T7" fmla="*/ 28 h 35"/>
                  <a:gd name="T8" fmla="*/ 19 w 28"/>
                  <a:gd name="T9" fmla="*/ 35 h 35"/>
                  <a:gd name="T10" fmla="*/ 5 w 28"/>
                  <a:gd name="T11" fmla="*/ 29 h 35"/>
                  <a:gd name="T12" fmla="*/ 2 w 28"/>
                  <a:gd name="T13" fmla="*/ 20 h 35"/>
                  <a:gd name="T14" fmla="*/ 0 w 28"/>
                  <a:gd name="T15" fmla="*/ 0 h 3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8"/>
                  <a:gd name="T25" fmla="*/ 0 h 35"/>
                  <a:gd name="T26" fmla="*/ 28 w 28"/>
                  <a:gd name="T27" fmla="*/ 35 h 3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8" h="35">
                    <a:moveTo>
                      <a:pt x="0" y="0"/>
                    </a:moveTo>
                    <a:lnTo>
                      <a:pt x="19" y="6"/>
                    </a:lnTo>
                    <a:lnTo>
                      <a:pt x="26" y="15"/>
                    </a:lnTo>
                    <a:lnTo>
                      <a:pt x="28" y="28"/>
                    </a:lnTo>
                    <a:lnTo>
                      <a:pt x="19" y="35"/>
                    </a:lnTo>
                    <a:lnTo>
                      <a:pt x="5" y="29"/>
                    </a:lnTo>
                    <a:lnTo>
                      <a:pt x="2" y="2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52" name="Freeform 29"/>
              <p:cNvSpPr>
                <a:spLocks/>
              </p:cNvSpPr>
              <p:nvPr/>
            </p:nvSpPr>
            <p:spPr bwMode="auto">
              <a:xfrm>
                <a:off x="2267" y="2263"/>
                <a:ext cx="16" cy="29"/>
              </a:xfrm>
              <a:custGeom>
                <a:avLst/>
                <a:gdLst>
                  <a:gd name="T0" fmla="*/ 5 w 16"/>
                  <a:gd name="T1" fmla="*/ 0 h 29"/>
                  <a:gd name="T2" fmla="*/ 0 w 16"/>
                  <a:gd name="T3" fmla="*/ 5 h 29"/>
                  <a:gd name="T4" fmla="*/ 0 w 16"/>
                  <a:gd name="T5" fmla="*/ 20 h 29"/>
                  <a:gd name="T6" fmla="*/ 11 w 16"/>
                  <a:gd name="T7" fmla="*/ 29 h 29"/>
                  <a:gd name="T8" fmla="*/ 16 w 16"/>
                  <a:gd name="T9" fmla="*/ 16 h 29"/>
                  <a:gd name="T10" fmla="*/ 5 w 16"/>
                  <a:gd name="T11" fmla="*/ 0 h 2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29"/>
                  <a:gd name="T20" fmla="*/ 16 w 16"/>
                  <a:gd name="T21" fmla="*/ 29 h 2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29">
                    <a:moveTo>
                      <a:pt x="5" y="0"/>
                    </a:moveTo>
                    <a:lnTo>
                      <a:pt x="0" y="5"/>
                    </a:lnTo>
                    <a:lnTo>
                      <a:pt x="0" y="20"/>
                    </a:lnTo>
                    <a:lnTo>
                      <a:pt x="11" y="29"/>
                    </a:lnTo>
                    <a:lnTo>
                      <a:pt x="16" y="16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215" name="Group 30"/>
            <p:cNvGrpSpPr>
              <a:grpSpLocks/>
            </p:cNvGrpSpPr>
            <p:nvPr/>
          </p:nvGrpSpPr>
          <p:grpSpPr bwMode="auto">
            <a:xfrm>
              <a:off x="4601550" y="2939707"/>
              <a:ext cx="773221" cy="1081296"/>
              <a:chOff x="1747" y="2255"/>
              <a:chExt cx="512" cy="684"/>
            </a:xfrm>
            <a:grpFill/>
          </p:grpSpPr>
          <p:sp>
            <p:nvSpPr>
              <p:cNvPr id="245" name="Freeform 31"/>
              <p:cNvSpPr>
                <a:spLocks/>
              </p:cNvSpPr>
              <p:nvPr/>
            </p:nvSpPr>
            <p:spPr bwMode="auto">
              <a:xfrm>
                <a:off x="2181" y="2320"/>
                <a:ext cx="24" cy="22"/>
              </a:xfrm>
              <a:custGeom>
                <a:avLst/>
                <a:gdLst>
                  <a:gd name="T0" fmla="*/ 2 w 24"/>
                  <a:gd name="T1" fmla="*/ 0 h 22"/>
                  <a:gd name="T2" fmla="*/ 0 w 24"/>
                  <a:gd name="T3" fmla="*/ 4 h 22"/>
                  <a:gd name="T4" fmla="*/ 2 w 24"/>
                  <a:gd name="T5" fmla="*/ 15 h 22"/>
                  <a:gd name="T6" fmla="*/ 15 w 24"/>
                  <a:gd name="T7" fmla="*/ 22 h 22"/>
                  <a:gd name="T8" fmla="*/ 24 w 24"/>
                  <a:gd name="T9" fmla="*/ 13 h 22"/>
                  <a:gd name="T10" fmla="*/ 2 w 24"/>
                  <a:gd name="T11" fmla="*/ 0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4"/>
                  <a:gd name="T19" fmla="*/ 0 h 22"/>
                  <a:gd name="T20" fmla="*/ 24 w 24"/>
                  <a:gd name="T21" fmla="*/ 22 h 2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4" h="22">
                    <a:moveTo>
                      <a:pt x="2" y="0"/>
                    </a:moveTo>
                    <a:lnTo>
                      <a:pt x="0" y="4"/>
                    </a:lnTo>
                    <a:lnTo>
                      <a:pt x="2" y="15"/>
                    </a:lnTo>
                    <a:lnTo>
                      <a:pt x="15" y="22"/>
                    </a:lnTo>
                    <a:lnTo>
                      <a:pt x="24" y="1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46" name="Freeform 32"/>
              <p:cNvSpPr>
                <a:spLocks/>
              </p:cNvSpPr>
              <p:nvPr/>
            </p:nvSpPr>
            <p:spPr bwMode="auto">
              <a:xfrm>
                <a:off x="1747" y="2255"/>
                <a:ext cx="512" cy="684"/>
              </a:xfrm>
              <a:custGeom>
                <a:avLst/>
                <a:gdLst>
                  <a:gd name="T0" fmla="*/ 201 w 512"/>
                  <a:gd name="T1" fmla="*/ 15 h 684"/>
                  <a:gd name="T2" fmla="*/ 207 w 512"/>
                  <a:gd name="T3" fmla="*/ 48 h 684"/>
                  <a:gd name="T4" fmla="*/ 203 w 512"/>
                  <a:gd name="T5" fmla="*/ 72 h 684"/>
                  <a:gd name="T6" fmla="*/ 231 w 512"/>
                  <a:gd name="T7" fmla="*/ 107 h 684"/>
                  <a:gd name="T8" fmla="*/ 190 w 512"/>
                  <a:gd name="T9" fmla="*/ 96 h 684"/>
                  <a:gd name="T10" fmla="*/ 158 w 512"/>
                  <a:gd name="T11" fmla="*/ 122 h 684"/>
                  <a:gd name="T12" fmla="*/ 136 w 512"/>
                  <a:gd name="T13" fmla="*/ 100 h 684"/>
                  <a:gd name="T14" fmla="*/ 95 w 512"/>
                  <a:gd name="T15" fmla="*/ 122 h 684"/>
                  <a:gd name="T16" fmla="*/ 103 w 512"/>
                  <a:gd name="T17" fmla="*/ 157 h 684"/>
                  <a:gd name="T18" fmla="*/ 82 w 512"/>
                  <a:gd name="T19" fmla="*/ 176 h 684"/>
                  <a:gd name="T20" fmla="*/ 86 w 512"/>
                  <a:gd name="T21" fmla="*/ 209 h 684"/>
                  <a:gd name="T22" fmla="*/ 58 w 512"/>
                  <a:gd name="T23" fmla="*/ 244 h 684"/>
                  <a:gd name="T24" fmla="*/ 28 w 512"/>
                  <a:gd name="T25" fmla="*/ 272 h 684"/>
                  <a:gd name="T26" fmla="*/ 19 w 512"/>
                  <a:gd name="T27" fmla="*/ 326 h 684"/>
                  <a:gd name="T28" fmla="*/ 15 w 512"/>
                  <a:gd name="T29" fmla="*/ 350 h 684"/>
                  <a:gd name="T30" fmla="*/ 2 w 512"/>
                  <a:gd name="T31" fmla="*/ 400 h 684"/>
                  <a:gd name="T32" fmla="*/ 19 w 512"/>
                  <a:gd name="T33" fmla="*/ 424 h 684"/>
                  <a:gd name="T34" fmla="*/ 0 w 512"/>
                  <a:gd name="T35" fmla="*/ 455 h 684"/>
                  <a:gd name="T36" fmla="*/ 28 w 512"/>
                  <a:gd name="T37" fmla="*/ 489 h 684"/>
                  <a:gd name="T38" fmla="*/ 81 w 512"/>
                  <a:gd name="T39" fmla="*/ 496 h 684"/>
                  <a:gd name="T40" fmla="*/ 90 w 512"/>
                  <a:gd name="T41" fmla="*/ 520 h 684"/>
                  <a:gd name="T42" fmla="*/ 66 w 512"/>
                  <a:gd name="T43" fmla="*/ 553 h 684"/>
                  <a:gd name="T44" fmla="*/ 45 w 512"/>
                  <a:gd name="T45" fmla="*/ 608 h 684"/>
                  <a:gd name="T46" fmla="*/ 73 w 512"/>
                  <a:gd name="T47" fmla="*/ 641 h 684"/>
                  <a:gd name="T48" fmla="*/ 99 w 512"/>
                  <a:gd name="T49" fmla="*/ 628 h 684"/>
                  <a:gd name="T50" fmla="*/ 125 w 512"/>
                  <a:gd name="T51" fmla="*/ 638 h 684"/>
                  <a:gd name="T52" fmla="*/ 149 w 512"/>
                  <a:gd name="T53" fmla="*/ 660 h 684"/>
                  <a:gd name="T54" fmla="*/ 197 w 512"/>
                  <a:gd name="T55" fmla="*/ 667 h 684"/>
                  <a:gd name="T56" fmla="*/ 229 w 512"/>
                  <a:gd name="T57" fmla="*/ 673 h 684"/>
                  <a:gd name="T58" fmla="*/ 277 w 512"/>
                  <a:gd name="T59" fmla="*/ 673 h 684"/>
                  <a:gd name="T60" fmla="*/ 308 w 512"/>
                  <a:gd name="T61" fmla="*/ 669 h 684"/>
                  <a:gd name="T62" fmla="*/ 342 w 512"/>
                  <a:gd name="T63" fmla="*/ 669 h 684"/>
                  <a:gd name="T64" fmla="*/ 382 w 512"/>
                  <a:gd name="T65" fmla="*/ 678 h 684"/>
                  <a:gd name="T66" fmla="*/ 373 w 512"/>
                  <a:gd name="T67" fmla="*/ 649 h 684"/>
                  <a:gd name="T68" fmla="*/ 432 w 512"/>
                  <a:gd name="T69" fmla="*/ 593 h 684"/>
                  <a:gd name="T70" fmla="*/ 403 w 512"/>
                  <a:gd name="T71" fmla="*/ 567 h 684"/>
                  <a:gd name="T72" fmla="*/ 347 w 512"/>
                  <a:gd name="T73" fmla="*/ 511 h 684"/>
                  <a:gd name="T74" fmla="*/ 333 w 512"/>
                  <a:gd name="T75" fmla="*/ 461 h 684"/>
                  <a:gd name="T76" fmla="*/ 352 w 512"/>
                  <a:gd name="T77" fmla="*/ 449 h 684"/>
                  <a:gd name="T78" fmla="*/ 463 w 512"/>
                  <a:gd name="T79" fmla="*/ 400 h 684"/>
                  <a:gd name="T80" fmla="*/ 503 w 512"/>
                  <a:gd name="T81" fmla="*/ 397 h 684"/>
                  <a:gd name="T82" fmla="*/ 512 w 512"/>
                  <a:gd name="T83" fmla="*/ 363 h 684"/>
                  <a:gd name="T84" fmla="*/ 501 w 512"/>
                  <a:gd name="T85" fmla="*/ 300 h 684"/>
                  <a:gd name="T86" fmla="*/ 492 w 512"/>
                  <a:gd name="T87" fmla="*/ 256 h 684"/>
                  <a:gd name="T88" fmla="*/ 479 w 512"/>
                  <a:gd name="T89" fmla="*/ 207 h 684"/>
                  <a:gd name="T90" fmla="*/ 458 w 512"/>
                  <a:gd name="T91" fmla="*/ 130 h 684"/>
                  <a:gd name="T92" fmla="*/ 414 w 512"/>
                  <a:gd name="T93" fmla="*/ 85 h 684"/>
                  <a:gd name="T94" fmla="*/ 379 w 512"/>
                  <a:gd name="T95" fmla="*/ 83 h 684"/>
                  <a:gd name="T96" fmla="*/ 319 w 512"/>
                  <a:gd name="T97" fmla="*/ 106 h 684"/>
                  <a:gd name="T98" fmla="*/ 314 w 512"/>
                  <a:gd name="T99" fmla="*/ 87 h 684"/>
                  <a:gd name="T100" fmla="*/ 284 w 512"/>
                  <a:gd name="T101" fmla="*/ 59 h 684"/>
                  <a:gd name="T102" fmla="*/ 260 w 512"/>
                  <a:gd name="T103" fmla="*/ 15 h 684"/>
                  <a:gd name="T104" fmla="*/ 225 w 512"/>
                  <a:gd name="T105" fmla="*/ 2 h 68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12"/>
                  <a:gd name="T160" fmla="*/ 0 h 684"/>
                  <a:gd name="T161" fmla="*/ 512 w 512"/>
                  <a:gd name="T162" fmla="*/ 684 h 68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12" h="684">
                    <a:moveTo>
                      <a:pt x="212" y="0"/>
                    </a:moveTo>
                    <a:lnTo>
                      <a:pt x="201" y="7"/>
                    </a:lnTo>
                    <a:lnTo>
                      <a:pt x="201" y="15"/>
                    </a:lnTo>
                    <a:lnTo>
                      <a:pt x="203" y="22"/>
                    </a:lnTo>
                    <a:lnTo>
                      <a:pt x="205" y="33"/>
                    </a:lnTo>
                    <a:lnTo>
                      <a:pt x="207" y="48"/>
                    </a:lnTo>
                    <a:lnTo>
                      <a:pt x="201" y="54"/>
                    </a:lnTo>
                    <a:lnTo>
                      <a:pt x="201" y="63"/>
                    </a:lnTo>
                    <a:lnTo>
                      <a:pt x="203" y="72"/>
                    </a:lnTo>
                    <a:lnTo>
                      <a:pt x="218" y="85"/>
                    </a:lnTo>
                    <a:lnTo>
                      <a:pt x="227" y="87"/>
                    </a:lnTo>
                    <a:lnTo>
                      <a:pt x="231" y="107"/>
                    </a:lnTo>
                    <a:lnTo>
                      <a:pt x="210" y="102"/>
                    </a:lnTo>
                    <a:lnTo>
                      <a:pt x="199" y="91"/>
                    </a:lnTo>
                    <a:lnTo>
                      <a:pt x="190" y="96"/>
                    </a:lnTo>
                    <a:lnTo>
                      <a:pt x="173" y="117"/>
                    </a:lnTo>
                    <a:lnTo>
                      <a:pt x="166" y="124"/>
                    </a:lnTo>
                    <a:lnTo>
                      <a:pt x="158" y="122"/>
                    </a:lnTo>
                    <a:lnTo>
                      <a:pt x="157" y="113"/>
                    </a:lnTo>
                    <a:lnTo>
                      <a:pt x="151" y="106"/>
                    </a:lnTo>
                    <a:lnTo>
                      <a:pt x="136" y="100"/>
                    </a:lnTo>
                    <a:lnTo>
                      <a:pt x="114" y="100"/>
                    </a:lnTo>
                    <a:lnTo>
                      <a:pt x="107" y="109"/>
                    </a:lnTo>
                    <a:lnTo>
                      <a:pt x="95" y="122"/>
                    </a:lnTo>
                    <a:lnTo>
                      <a:pt x="105" y="131"/>
                    </a:lnTo>
                    <a:lnTo>
                      <a:pt x="105" y="148"/>
                    </a:lnTo>
                    <a:lnTo>
                      <a:pt x="103" y="157"/>
                    </a:lnTo>
                    <a:lnTo>
                      <a:pt x="99" y="165"/>
                    </a:lnTo>
                    <a:lnTo>
                      <a:pt x="86" y="174"/>
                    </a:lnTo>
                    <a:lnTo>
                      <a:pt x="82" y="176"/>
                    </a:lnTo>
                    <a:lnTo>
                      <a:pt x="84" y="189"/>
                    </a:lnTo>
                    <a:lnTo>
                      <a:pt x="90" y="198"/>
                    </a:lnTo>
                    <a:lnTo>
                      <a:pt x="86" y="209"/>
                    </a:lnTo>
                    <a:lnTo>
                      <a:pt x="77" y="222"/>
                    </a:lnTo>
                    <a:lnTo>
                      <a:pt x="66" y="235"/>
                    </a:lnTo>
                    <a:lnTo>
                      <a:pt x="58" y="244"/>
                    </a:lnTo>
                    <a:lnTo>
                      <a:pt x="45" y="254"/>
                    </a:lnTo>
                    <a:lnTo>
                      <a:pt x="35" y="257"/>
                    </a:lnTo>
                    <a:lnTo>
                      <a:pt x="28" y="272"/>
                    </a:lnTo>
                    <a:lnTo>
                      <a:pt x="26" y="294"/>
                    </a:lnTo>
                    <a:lnTo>
                      <a:pt x="19" y="307"/>
                    </a:lnTo>
                    <a:lnTo>
                      <a:pt x="19" y="326"/>
                    </a:lnTo>
                    <a:lnTo>
                      <a:pt x="11" y="335"/>
                    </a:lnTo>
                    <a:lnTo>
                      <a:pt x="9" y="341"/>
                    </a:lnTo>
                    <a:lnTo>
                      <a:pt x="15" y="350"/>
                    </a:lnTo>
                    <a:lnTo>
                      <a:pt x="19" y="365"/>
                    </a:lnTo>
                    <a:lnTo>
                      <a:pt x="28" y="378"/>
                    </a:lnTo>
                    <a:lnTo>
                      <a:pt x="2" y="400"/>
                    </a:lnTo>
                    <a:lnTo>
                      <a:pt x="7" y="413"/>
                    </a:lnTo>
                    <a:lnTo>
                      <a:pt x="17" y="422"/>
                    </a:lnTo>
                    <a:lnTo>
                      <a:pt x="19" y="424"/>
                    </a:lnTo>
                    <a:lnTo>
                      <a:pt x="19" y="433"/>
                    </a:lnTo>
                    <a:lnTo>
                      <a:pt x="6" y="442"/>
                    </a:lnTo>
                    <a:lnTo>
                      <a:pt x="0" y="455"/>
                    </a:lnTo>
                    <a:lnTo>
                      <a:pt x="6" y="472"/>
                    </a:lnTo>
                    <a:lnTo>
                      <a:pt x="13" y="483"/>
                    </a:lnTo>
                    <a:lnTo>
                      <a:pt x="28" y="489"/>
                    </a:lnTo>
                    <a:lnTo>
                      <a:pt x="47" y="492"/>
                    </a:lnTo>
                    <a:lnTo>
                      <a:pt x="66" y="494"/>
                    </a:lnTo>
                    <a:lnTo>
                      <a:pt x="81" y="496"/>
                    </a:lnTo>
                    <a:lnTo>
                      <a:pt x="92" y="504"/>
                    </a:lnTo>
                    <a:lnTo>
                      <a:pt x="103" y="513"/>
                    </a:lnTo>
                    <a:lnTo>
                      <a:pt x="90" y="520"/>
                    </a:lnTo>
                    <a:lnTo>
                      <a:pt x="79" y="531"/>
                    </a:lnTo>
                    <a:lnTo>
                      <a:pt x="68" y="541"/>
                    </a:lnTo>
                    <a:lnTo>
                      <a:pt x="66" y="553"/>
                    </a:lnTo>
                    <a:lnTo>
                      <a:pt x="60" y="580"/>
                    </a:lnTo>
                    <a:lnTo>
                      <a:pt x="51" y="597"/>
                    </a:lnTo>
                    <a:lnTo>
                      <a:pt x="45" y="608"/>
                    </a:lnTo>
                    <a:lnTo>
                      <a:pt x="60" y="628"/>
                    </a:lnTo>
                    <a:lnTo>
                      <a:pt x="64" y="634"/>
                    </a:lnTo>
                    <a:lnTo>
                      <a:pt x="73" y="641"/>
                    </a:lnTo>
                    <a:lnTo>
                      <a:pt x="82" y="640"/>
                    </a:lnTo>
                    <a:lnTo>
                      <a:pt x="94" y="634"/>
                    </a:lnTo>
                    <a:lnTo>
                      <a:pt x="99" y="628"/>
                    </a:lnTo>
                    <a:lnTo>
                      <a:pt x="101" y="625"/>
                    </a:lnTo>
                    <a:lnTo>
                      <a:pt x="118" y="628"/>
                    </a:lnTo>
                    <a:lnTo>
                      <a:pt x="125" y="638"/>
                    </a:lnTo>
                    <a:lnTo>
                      <a:pt x="131" y="649"/>
                    </a:lnTo>
                    <a:lnTo>
                      <a:pt x="138" y="658"/>
                    </a:lnTo>
                    <a:lnTo>
                      <a:pt x="149" y="660"/>
                    </a:lnTo>
                    <a:lnTo>
                      <a:pt x="171" y="658"/>
                    </a:lnTo>
                    <a:lnTo>
                      <a:pt x="182" y="656"/>
                    </a:lnTo>
                    <a:lnTo>
                      <a:pt x="197" y="667"/>
                    </a:lnTo>
                    <a:lnTo>
                      <a:pt x="208" y="662"/>
                    </a:lnTo>
                    <a:lnTo>
                      <a:pt x="219" y="665"/>
                    </a:lnTo>
                    <a:lnTo>
                      <a:pt x="229" y="673"/>
                    </a:lnTo>
                    <a:lnTo>
                      <a:pt x="247" y="665"/>
                    </a:lnTo>
                    <a:lnTo>
                      <a:pt x="264" y="665"/>
                    </a:lnTo>
                    <a:lnTo>
                      <a:pt x="277" y="673"/>
                    </a:lnTo>
                    <a:lnTo>
                      <a:pt x="286" y="677"/>
                    </a:lnTo>
                    <a:lnTo>
                      <a:pt x="297" y="669"/>
                    </a:lnTo>
                    <a:lnTo>
                      <a:pt x="308" y="669"/>
                    </a:lnTo>
                    <a:lnTo>
                      <a:pt x="327" y="665"/>
                    </a:lnTo>
                    <a:lnTo>
                      <a:pt x="340" y="673"/>
                    </a:lnTo>
                    <a:lnTo>
                      <a:pt x="342" y="669"/>
                    </a:lnTo>
                    <a:lnTo>
                      <a:pt x="356" y="678"/>
                    </a:lnTo>
                    <a:lnTo>
                      <a:pt x="368" y="684"/>
                    </a:lnTo>
                    <a:lnTo>
                      <a:pt x="382" y="678"/>
                    </a:lnTo>
                    <a:lnTo>
                      <a:pt x="384" y="669"/>
                    </a:lnTo>
                    <a:lnTo>
                      <a:pt x="375" y="656"/>
                    </a:lnTo>
                    <a:lnTo>
                      <a:pt x="373" y="649"/>
                    </a:lnTo>
                    <a:lnTo>
                      <a:pt x="368" y="627"/>
                    </a:lnTo>
                    <a:lnTo>
                      <a:pt x="419" y="593"/>
                    </a:lnTo>
                    <a:lnTo>
                      <a:pt x="432" y="593"/>
                    </a:lnTo>
                    <a:lnTo>
                      <a:pt x="434" y="588"/>
                    </a:lnTo>
                    <a:lnTo>
                      <a:pt x="416" y="581"/>
                    </a:lnTo>
                    <a:lnTo>
                      <a:pt x="403" y="567"/>
                    </a:lnTo>
                    <a:lnTo>
                      <a:pt x="370" y="538"/>
                    </a:lnTo>
                    <a:lnTo>
                      <a:pt x="366" y="515"/>
                    </a:lnTo>
                    <a:lnTo>
                      <a:pt x="347" y="511"/>
                    </a:lnTo>
                    <a:lnTo>
                      <a:pt x="345" y="489"/>
                    </a:lnTo>
                    <a:lnTo>
                      <a:pt x="341" y="470"/>
                    </a:lnTo>
                    <a:lnTo>
                      <a:pt x="333" y="461"/>
                    </a:lnTo>
                    <a:lnTo>
                      <a:pt x="338" y="452"/>
                    </a:lnTo>
                    <a:lnTo>
                      <a:pt x="342" y="448"/>
                    </a:lnTo>
                    <a:lnTo>
                      <a:pt x="352" y="449"/>
                    </a:lnTo>
                    <a:lnTo>
                      <a:pt x="383" y="440"/>
                    </a:lnTo>
                    <a:lnTo>
                      <a:pt x="449" y="406"/>
                    </a:lnTo>
                    <a:lnTo>
                      <a:pt x="463" y="400"/>
                    </a:lnTo>
                    <a:lnTo>
                      <a:pt x="477" y="391"/>
                    </a:lnTo>
                    <a:lnTo>
                      <a:pt x="488" y="403"/>
                    </a:lnTo>
                    <a:lnTo>
                      <a:pt x="503" y="397"/>
                    </a:lnTo>
                    <a:lnTo>
                      <a:pt x="507" y="382"/>
                    </a:lnTo>
                    <a:lnTo>
                      <a:pt x="506" y="373"/>
                    </a:lnTo>
                    <a:lnTo>
                      <a:pt x="512" y="363"/>
                    </a:lnTo>
                    <a:lnTo>
                      <a:pt x="504" y="351"/>
                    </a:lnTo>
                    <a:lnTo>
                      <a:pt x="495" y="330"/>
                    </a:lnTo>
                    <a:lnTo>
                      <a:pt x="501" y="300"/>
                    </a:lnTo>
                    <a:lnTo>
                      <a:pt x="491" y="285"/>
                    </a:lnTo>
                    <a:lnTo>
                      <a:pt x="487" y="270"/>
                    </a:lnTo>
                    <a:lnTo>
                      <a:pt x="492" y="256"/>
                    </a:lnTo>
                    <a:lnTo>
                      <a:pt x="489" y="244"/>
                    </a:lnTo>
                    <a:lnTo>
                      <a:pt x="468" y="221"/>
                    </a:lnTo>
                    <a:lnTo>
                      <a:pt x="479" y="207"/>
                    </a:lnTo>
                    <a:lnTo>
                      <a:pt x="479" y="183"/>
                    </a:lnTo>
                    <a:lnTo>
                      <a:pt x="481" y="155"/>
                    </a:lnTo>
                    <a:lnTo>
                      <a:pt x="458" y="130"/>
                    </a:lnTo>
                    <a:lnTo>
                      <a:pt x="447" y="115"/>
                    </a:lnTo>
                    <a:lnTo>
                      <a:pt x="434" y="102"/>
                    </a:lnTo>
                    <a:lnTo>
                      <a:pt x="414" y="85"/>
                    </a:lnTo>
                    <a:lnTo>
                      <a:pt x="401" y="76"/>
                    </a:lnTo>
                    <a:lnTo>
                      <a:pt x="392" y="74"/>
                    </a:lnTo>
                    <a:lnTo>
                      <a:pt x="379" y="83"/>
                    </a:lnTo>
                    <a:lnTo>
                      <a:pt x="369" y="89"/>
                    </a:lnTo>
                    <a:lnTo>
                      <a:pt x="340" y="111"/>
                    </a:lnTo>
                    <a:lnTo>
                      <a:pt x="319" y="106"/>
                    </a:lnTo>
                    <a:lnTo>
                      <a:pt x="310" y="106"/>
                    </a:lnTo>
                    <a:lnTo>
                      <a:pt x="310" y="98"/>
                    </a:lnTo>
                    <a:lnTo>
                      <a:pt x="314" y="87"/>
                    </a:lnTo>
                    <a:lnTo>
                      <a:pt x="319" y="78"/>
                    </a:lnTo>
                    <a:lnTo>
                      <a:pt x="292" y="61"/>
                    </a:lnTo>
                    <a:lnTo>
                      <a:pt x="284" y="59"/>
                    </a:lnTo>
                    <a:lnTo>
                      <a:pt x="271" y="48"/>
                    </a:lnTo>
                    <a:lnTo>
                      <a:pt x="266" y="28"/>
                    </a:lnTo>
                    <a:lnTo>
                      <a:pt x="260" y="15"/>
                    </a:lnTo>
                    <a:lnTo>
                      <a:pt x="251" y="17"/>
                    </a:lnTo>
                    <a:lnTo>
                      <a:pt x="240" y="4"/>
                    </a:lnTo>
                    <a:lnTo>
                      <a:pt x="225" y="2"/>
                    </a:lnTo>
                    <a:lnTo>
                      <a:pt x="212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216" name="Freeform 33"/>
            <p:cNvSpPr>
              <a:spLocks/>
            </p:cNvSpPr>
            <p:nvPr/>
          </p:nvSpPr>
          <p:spPr bwMode="auto">
            <a:xfrm>
              <a:off x="5308323" y="3026652"/>
              <a:ext cx="832119" cy="818876"/>
            </a:xfrm>
            <a:custGeom>
              <a:avLst/>
              <a:gdLst>
                <a:gd name="T0" fmla="*/ 2147483647 w 551"/>
                <a:gd name="T1" fmla="*/ 2147483647 h 518"/>
                <a:gd name="T2" fmla="*/ 0 w 551"/>
                <a:gd name="T3" fmla="*/ 2147483647 h 518"/>
                <a:gd name="T4" fmla="*/ 2147483647 w 551"/>
                <a:gd name="T5" fmla="*/ 2147483647 h 518"/>
                <a:gd name="T6" fmla="*/ 2147483647 w 551"/>
                <a:gd name="T7" fmla="*/ 2147483647 h 518"/>
                <a:gd name="T8" fmla="*/ 2147483647 w 551"/>
                <a:gd name="T9" fmla="*/ 2147483647 h 518"/>
                <a:gd name="T10" fmla="*/ 2147483647 w 551"/>
                <a:gd name="T11" fmla="*/ 2147483647 h 518"/>
                <a:gd name="T12" fmla="*/ 2147483647 w 551"/>
                <a:gd name="T13" fmla="*/ 2147483647 h 518"/>
                <a:gd name="T14" fmla="*/ 2147483647 w 551"/>
                <a:gd name="T15" fmla="*/ 2147483647 h 518"/>
                <a:gd name="T16" fmla="*/ 2147483647 w 551"/>
                <a:gd name="T17" fmla="*/ 2147483647 h 518"/>
                <a:gd name="T18" fmla="*/ 2147483647 w 551"/>
                <a:gd name="T19" fmla="*/ 2147483647 h 518"/>
                <a:gd name="T20" fmla="*/ 2147483647 w 551"/>
                <a:gd name="T21" fmla="*/ 2147483647 h 518"/>
                <a:gd name="T22" fmla="*/ 2147483647 w 551"/>
                <a:gd name="T23" fmla="*/ 2147483647 h 518"/>
                <a:gd name="T24" fmla="*/ 2147483647 w 551"/>
                <a:gd name="T25" fmla="*/ 2147483647 h 518"/>
                <a:gd name="T26" fmla="*/ 2147483647 w 551"/>
                <a:gd name="T27" fmla="*/ 2147483647 h 518"/>
                <a:gd name="T28" fmla="*/ 2147483647 w 551"/>
                <a:gd name="T29" fmla="*/ 2147483647 h 518"/>
                <a:gd name="T30" fmla="*/ 2147483647 w 551"/>
                <a:gd name="T31" fmla="*/ 2147483647 h 518"/>
                <a:gd name="T32" fmla="*/ 2147483647 w 551"/>
                <a:gd name="T33" fmla="*/ 2147483647 h 518"/>
                <a:gd name="T34" fmla="*/ 2147483647 w 551"/>
                <a:gd name="T35" fmla="*/ 2147483647 h 518"/>
                <a:gd name="T36" fmla="*/ 2147483647 w 551"/>
                <a:gd name="T37" fmla="*/ 2147483647 h 518"/>
                <a:gd name="T38" fmla="*/ 2147483647 w 551"/>
                <a:gd name="T39" fmla="*/ 2147483647 h 518"/>
                <a:gd name="T40" fmla="*/ 2147483647 w 551"/>
                <a:gd name="T41" fmla="*/ 2147483647 h 518"/>
                <a:gd name="T42" fmla="*/ 2147483647 w 551"/>
                <a:gd name="T43" fmla="*/ 2147483647 h 518"/>
                <a:gd name="T44" fmla="*/ 2147483647 w 551"/>
                <a:gd name="T45" fmla="*/ 2147483647 h 518"/>
                <a:gd name="T46" fmla="*/ 2147483647 w 551"/>
                <a:gd name="T47" fmla="*/ 2147483647 h 518"/>
                <a:gd name="T48" fmla="*/ 2147483647 w 551"/>
                <a:gd name="T49" fmla="*/ 2147483647 h 518"/>
                <a:gd name="T50" fmla="*/ 2147483647 w 551"/>
                <a:gd name="T51" fmla="*/ 2147483647 h 518"/>
                <a:gd name="T52" fmla="*/ 2147483647 w 551"/>
                <a:gd name="T53" fmla="*/ 2147483647 h 518"/>
                <a:gd name="T54" fmla="*/ 2147483647 w 551"/>
                <a:gd name="T55" fmla="*/ 2147483647 h 518"/>
                <a:gd name="T56" fmla="*/ 2147483647 w 551"/>
                <a:gd name="T57" fmla="*/ 2147483647 h 518"/>
                <a:gd name="T58" fmla="*/ 2147483647 w 551"/>
                <a:gd name="T59" fmla="*/ 2147483647 h 518"/>
                <a:gd name="T60" fmla="*/ 2147483647 w 551"/>
                <a:gd name="T61" fmla="*/ 2147483647 h 518"/>
                <a:gd name="T62" fmla="*/ 2147483647 w 551"/>
                <a:gd name="T63" fmla="*/ 2147483647 h 518"/>
                <a:gd name="T64" fmla="*/ 2147483647 w 551"/>
                <a:gd name="T65" fmla="*/ 2147483647 h 518"/>
                <a:gd name="T66" fmla="*/ 2147483647 w 551"/>
                <a:gd name="T67" fmla="*/ 2147483647 h 518"/>
                <a:gd name="T68" fmla="*/ 2147483647 w 551"/>
                <a:gd name="T69" fmla="*/ 2147483647 h 518"/>
                <a:gd name="T70" fmla="*/ 2147483647 w 551"/>
                <a:gd name="T71" fmla="*/ 2147483647 h 518"/>
                <a:gd name="T72" fmla="*/ 2147483647 w 551"/>
                <a:gd name="T73" fmla="*/ 2147483647 h 518"/>
                <a:gd name="T74" fmla="*/ 2147483647 w 551"/>
                <a:gd name="T75" fmla="*/ 2147483647 h 518"/>
                <a:gd name="T76" fmla="*/ 2147483647 w 551"/>
                <a:gd name="T77" fmla="*/ 2147483647 h 518"/>
                <a:gd name="T78" fmla="*/ 2147483647 w 551"/>
                <a:gd name="T79" fmla="*/ 2147483647 h 518"/>
                <a:gd name="T80" fmla="*/ 2147483647 w 551"/>
                <a:gd name="T81" fmla="*/ 2147483647 h 518"/>
                <a:gd name="T82" fmla="*/ 2147483647 w 551"/>
                <a:gd name="T83" fmla="*/ 2147483647 h 518"/>
                <a:gd name="T84" fmla="*/ 2147483647 w 551"/>
                <a:gd name="T85" fmla="*/ 2147483647 h 518"/>
                <a:gd name="T86" fmla="*/ 2147483647 w 551"/>
                <a:gd name="T87" fmla="*/ 2147483647 h 518"/>
                <a:gd name="T88" fmla="*/ 2147483647 w 551"/>
                <a:gd name="T89" fmla="*/ 2147483647 h 518"/>
                <a:gd name="T90" fmla="*/ 2147483647 w 551"/>
                <a:gd name="T91" fmla="*/ 2147483647 h 518"/>
                <a:gd name="T92" fmla="*/ 2147483647 w 551"/>
                <a:gd name="T93" fmla="*/ 2147483647 h 518"/>
                <a:gd name="T94" fmla="*/ 2147483647 w 551"/>
                <a:gd name="T95" fmla="*/ 2147483647 h 51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51"/>
                <a:gd name="T145" fmla="*/ 0 h 518"/>
                <a:gd name="T146" fmla="*/ 551 w 551"/>
                <a:gd name="T147" fmla="*/ 518 h 51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51" h="518">
                  <a:moveTo>
                    <a:pt x="13" y="98"/>
                  </a:moveTo>
                  <a:lnTo>
                    <a:pt x="11" y="130"/>
                  </a:lnTo>
                  <a:lnTo>
                    <a:pt x="11" y="150"/>
                  </a:lnTo>
                  <a:lnTo>
                    <a:pt x="0" y="165"/>
                  </a:lnTo>
                  <a:lnTo>
                    <a:pt x="22" y="191"/>
                  </a:lnTo>
                  <a:lnTo>
                    <a:pt x="24" y="198"/>
                  </a:lnTo>
                  <a:lnTo>
                    <a:pt x="19" y="215"/>
                  </a:lnTo>
                  <a:lnTo>
                    <a:pt x="20" y="226"/>
                  </a:lnTo>
                  <a:lnTo>
                    <a:pt x="31" y="241"/>
                  </a:lnTo>
                  <a:lnTo>
                    <a:pt x="30" y="250"/>
                  </a:lnTo>
                  <a:lnTo>
                    <a:pt x="28" y="278"/>
                  </a:lnTo>
                  <a:lnTo>
                    <a:pt x="37" y="297"/>
                  </a:lnTo>
                  <a:lnTo>
                    <a:pt x="44" y="308"/>
                  </a:lnTo>
                  <a:lnTo>
                    <a:pt x="39" y="315"/>
                  </a:lnTo>
                  <a:lnTo>
                    <a:pt x="39" y="326"/>
                  </a:lnTo>
                  <a:lnTo>
                    <a:pt x="33" y="332"/>
                  </a:lnTo>
                  <a:lnTo>
                    <a:pt x="33" y="339"/>
                  </a:lnTo>
                  <a:lnTo>
                    <a:pt x="48" y="341"/>
                  </a:lnTo>
                  <a:lnTo>
                    <a:pt x="59" y="345"/>
                  </a:lnTo>
                  <a:lnTo>
                    <a:pt x="63" y="352"/>
                  </a:lnTo>
                  <a:lnTo>
                    <a:pt x="63" y="365"/>
                  </a:lnTo>
                  <a:lnTo>
                    <a:pt x="78" y="380"/>
                  </a:lnTo>
                  <a:lnTo>
                    <a:pt x="92" y="386"/>
                  </a:lnTo>
                  <a:lnTo>
                    <a:pt x="95" y="399"/>
                  </a:lnTo>
                  <a:lnTo>
                    <a:pt x="112" y="421"/>
                  </a:lnTo>
                  <a:lnTo>
                    <a:pt x="127" y="408"/>
                  </a:lnTo>
                  <a:lnTo>
                    <a:pt x="140" y="404"/>
                  </a:lnTo>
                  <a:lnTo>
                    <a:pt x="149" y="406"/>
                  </a:lnTo>
                  <a:lnTo>
                    <a:pt x="175" y="434"/>
                  </a:lnTo>
                  <a:lnTo>
                    <a:pt x="181" y="436"/>
                  </a:lnTo>
                  <a:lnTo>
                    <a:pt x="212" y="450"/>
                  </a:lnTo>
                  <a:lnTo>
                    <a:pt x="219" y="452"/>
                  </a:lnTo>
                  <a:lnTo>
                    <a:pt x="232" y="449"/>
                  </a:lnTo>
                  <a:lnTo>
                    <a:pt x="247" y="447"/>
                  </a:lnTo>
                  <a:lnTo>
                    <a:pt x="260" y="452"/>
                  </a:lnTo>
                  <a:lnTo>
                    <a:pt x="277" y="467"/>
                  </a:lnTo>
                  <a:lnTo>
                    <a:pt x="284" y="475"/>
                  </a:lnTo>
                  <a:lnTo>
                    <a:pt x="292" y="469"/>
                  </a:lnTo>
                  <a:lnTo>
                    <a:pt x="301" y="467"/>
                  </a:lnTo>
                  <a:lnTo>
                    <a:pt x="314" y="478"/>
                  </a:lnTo>
                  <a:lnTo>
                    <a:pt x="329" y="490"/>
                  </a:lnTo>
                  <a:lnTo>
                    <a:pt x="340" y="498"/>
                  </a:lnTo>
                  <a:lnTo>
                    <a:pt x="355" y="503"/>
                  </a:lnTo>
                  <a:lnTo>
                    <a:pt x="362" y="501"/>
                  </a:lnTo>
                  <a:lnTo>
                    <a:pt x="369" y="494"/>
                  </a:lnTo>
                  <a:lnTo>
                    <a:pt x="379" y="490"/>
                  </a:lnTo>
                  <a:lnTo>
                    <a:pt x="397" y="496"/>
                  </a:lnTo>
                  <a:lnTo>
                    <a:pt x="482" y="518"/>
                  </a:lnTo>
                  <a:lnTo>
                    <a:pt x="495" y="507"/>
                  </a:lnTo>
                  <a:lnTo>
                    <a:pt x="486" y="490"/>
                  </a:lnTo>
                  <a:lnTo>
                    <a:pt x="477" y="462"/>
                  </a:lnTo>
                  <a:lnTo>
                    <a:pt x="536" y="408"/>
                  </a:lnTo>
                  <a:lnTo>
                    <a:pt x="547" y="395"/>
                  </a:lnTo>
                  <a:lnTo>
                    <a:pt x="551" y="374"/>
                  </a:lnTo>
                  <a:lnTo>
                    <a:pt x="542" y="347"/>
                  </a:lnTo>
                  <a:lnTo>
                    <a:pt x="532" y="324"/>
                  </a:lnTo>
                  <a:lnTo>
                    <a:pt x="516" y="298"/>
                  </a:lnTo>
                  <a:lnTo>
                    <a:pt x="505" y="287"/>
                  </a:lnTo>
                  <a:lnTo>
                    <a:pt x="503" y="271"/>
                  </a:lnTo>
                  <a:lnTo>
                    <a:pt x="505" y="254"/>
                  </a:lnTo>
                  <a:lnTo>
                    <a:pt x="510" y="237"/>
                  </a:lnTo>
                  <a:lnTo>
                    <a:pt x="503" y="226"/>
                  </a:lnTo>
                  <a:lnTo>
                    <a:pt x="494" y="219"/>
                  </a:lnTo>
                  <a:lnTo>
                    <a:pt x="503" y="208"/>
                  </a:lnTo>
                  <a:lnTo>
                    <a:pt x="518" y="187"/>
                  </a:lnTo>
                  <a:lnTo>
                    <a:pt x="523" y="182"/>
                  </a:lnTo>
                  <a:lnTo>
                    <a:pt x="520" y="146"/>
                  </a:lnTo>
                  <a:lnTo>
                    <a:pt x="514" y="128"/>
                  </a:lnTo>
                  <a:lnTo>
                    <a:pt x="508" y="109"/>
                  </a:lnTo>
                  <a:lnTo>
                    <a:pt x="508" y="91"/>
                  </a:lnTo>
                  <a:lnTo>
                    <a:pt x="497" y="74"/>
                  </a:lnTo>
                  <a:lnTo>
                    <a:pt x="482" y="59"/>
                  </a:lnTo>
                  <a:lnTo>
                    <a:pt x="466" y="57"/>
                  </a:lnTo>
                  <a:lnTo>
                    <a:pt x="418" y="56"/>
                  </a:lnTo>
                  <a:lnTo>
                    <a:pt x="392" y="54"/>
                  </a:lnTo>
                  <a:lnTo>
                    <a:pt x="344" y="50"/>
                  </a:lnTo>
                  <a:lnTo>
                    <a:pt x="325" y="41"/>
                  </a:lnTo>
                  <a:lnTo>
                    <a:pt x="305" y="39"/>
                  </a:lnTo>
                  <a:lnTo>
                    <a:pt x="294" y="43"/>
                  </a:lnTo>
                  <a:lnTo>
                    <a:pt x="281" y="52"/>
                  </a:lnTo>
                  <a:lnTo>
                    <a:pt x="269" y="48"/>
                  </a:lnTo>
                  <a:lnTo>
                    <a:pt x="258" y="37"/>
                  </a:lnTo>
                  <a:lnTo>
                    <a:pt x="245" y="37"/>
                  </a:lnTo>
                  <a:lnTo>
                    <a:pt x="240" y="32"/>
                  </a:lnTo>
                  <a:lnTo>
                    <a:pt x="236" y="15"/>
                  </a:lnTo>
                  <a:lnTo>
                    <a:pt x="219" y="2"/>
                  </a:lnTo>
                  <a:lnTo>
                    <a:pt x="207" y="0"/>
                  </a:lnTo>
                  <a:lnTo>
                    <a:pt x="184" y="6"/>
                  </a:lnTo>
                  <a:lnTo>
                    <a:pt x="166" y="11"/>
                  </a:lnTo>
                  <a:lnTo>
                    <a:pt x="151" y="20"/>
                  </a:lnTo>
                  <a:lnTo>
                    <a:pt x="125" y="35"/>
                  </a:lnTo>
                  <a:lnTo>
                    <a:pt x="99" y="43"/>
                  </a:lnTo>
                  <a:lnTo>
                    <a:pt x="76" y="52"/>
                  </a:lnTo>
                  <a:lnTo>
                    <a:pt x="52" y="63"/>
                  </a:lnTo>
                  <a:lnTo>
                    <a:pt x="39" y="78"/>
                  </a:lnTo>
                  <a:lnTo>
                    <a:pt x="24" y="91"/>
                  </a:lnTo>
                  <a:lnTo>
                    <a:pt x="13" y="98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7" name="Freeform 56"/>
            <p:cNvSpPr>
              <a:spLocks/>
            </p:cNvSpPr>
            <p:nvPr/>
          </p:nvSpPr>
          <p:spPr bwMode="auto">
            <a:xfrm>
              <a:off x="5105956" y="3556234"/>
              <a:ext cx="608610" cy="347785"/>
            </a:xfrm>
            <a:custGeom>
              <a:avLst/>
              <a:gdLst>
                <a:gd name="T0" fmla="*/ 2147483647 w 403"/>
                <a:gd name="T1" fmla="*/ 2147483647 h 220"/>
                <a:gd name="T2" fmla="*/ 2147483647 w 403"/>
                <a:gd name="T3" fmla="*/ 2147483647 h 220"/>
                <a:gd name="T4" fmla="*/ 2147483647 w 403"/>
                <a:gd name="T5" fmla="*/ 2147483647 h 220"/>
                <a:gd name="T6" fmla="*/ 2147483647 w 403"/>
                <a:gd name="T7" fmla="*/ 2147483647 h 220"/>
                <a:gd name="T8" fmla="*/ 2147483647 w 403"/>
                <a:gd name="T9" fmla="*/ 2147483647 h 220"/>
                <a:gd name="T10" fmla="*/ 2147483647 w 403"/>
                <a:gd name="T11" fmla="*/ 2147483647 h 220"/>
                <a:gd name="T12" fmla="*/ 2147483647 w 403"/>
                <a:gd name="T13" fmla="*/ 2147483647 h 220"/>
                <a:gd name="T14" fmla="*/ 2147483647 w 403"/>
                <a:gd name="T15" fmla="*/ 2147483647 h 220"/>
                <a:gd name="T16" fmla="*/ 0 w 403"/>
                <a:gd name="T17" fmla="*/ 2147483647 h 220"/>
                <a:gd name="T18" fmla="*/ 2147483647 w 403"/>
                <a:gd name="T19" fmla="*/ 2147483647 h 220"/>
                <a:gd name="T20" fmla="*/ 2147483647 w 403"/>
                <a:gd name="T21" fmla="*/ 2147483647 h 220"/>
                <a:gd name="T22" fmla="*/ 2147483647 w 403"/>
                <a:gd name="T23" fmla="*/ 2147483647 h 220"/>
                <a:gd name="T24" fmla="*/ 2147483647 w 403"/>
                <a:gd name="T25" fmla="*/ 2147483647 h 220"/>
                <a:gd name="T26" fmla="*/ 2147483647 w 403"/>
                <a:gd name="T27" fmla="*/ 0 h 220"/>
                <a:gd name="T28" fmla="*/ 2147483647 w 403"/>
                <a:gd name="T29" fmla="*/ 2147483647 h 220"/>
                <a:gd name="T30" fmla="*/ 2147483647 w 403"/>
                <a:gd name="T31" fmla="*/ 2147483647 h 220"/>
                <a:gd name="T32" fmla="*/ 2147483647 w 403"/>
                <a:gd name="T33" fmla="*/ 2147483647 h 220"/>
                <a:gd name="T34" fmla="*/ 2147483647 w 403"/>
                <a:gd name="T35" fmla="*/ 2147483647 h 220"/>
                <a:gd name="T36" fmla="*/ 2147483647 w 403"/>
                <a:gd name="T37" fmla="*/ 2147483647 h 220"/>
                <a:gd name="T38" fmla="*/ 2147483647 w 403"/>
                <a:gd name="T39" fmla="*/ 2147483647 h 220"/>
                <a:gd name="T40" fmla="*/ 2147483647 w 403"/>
                <a:gd name="T41" fmla="*/ 2147483647 h 220"/>
                <a:gd name="T42" fmla="*/ 2147483647 w 403"/>
                <a:gd name="T43" fmla="*/ 2147483647 h 220"/>
                <a:gd name="T44" fmla="*/ 2147483647 w 403"/>
                <a:gd name="T45" fmla="*/ 2147483647 h 220"/>
                <a:gd name="T46" fmla="*/ 2147483647 w 403"/>
                <a:gd name="T47" fmla="*/ 2147483647 h 220"/>
                <a:gd name="T48" fmla="*/ 2147483647 w 403"/>
                <a:gd name="T49" fmla="*/ 2147483647 h 220"/>
                <a:gd name="T50" fmla="*/ 2147483647 w 403"/>
                <a:gd name="T51" fmla="*/ 2147483647 h 220"/>
                <a:gd name="T52" fmla="*/ 2147483647 w 403"/>
                <a:gd name="T53" fmla="*/ 2147483647 h 220"/>
                <a:gd name="T54" fmla="*/ 2147483647 w 403"/>
                <a:gd name="T55" fmla="*/ 2147483647 h 220"/>
                <a:gd name="T56" fmla="*/ 2147483647 w 403"/>
                <a:gd name="T57" fmla="*/ 2147483647 h 220"/>
                <a:gd name="T58" fmla="*/ 2147483647 w 403"/>
                <a:gd name="T59" fmla="*/ 2147483647 h 220"/>
                <a:gd name="T60" fmla="*/ 2147483647 w 403"/>
                <a:gd name="T61" fmla="*/ 2147483647 h 220"/>
                <a:gd name="T62" fmla="*/ 2147483647 w 403"/>
                <a:gd name="T63" fmla="*/ 2147483647 h 220"/>
                <a:gd name="T64" fmla="*/ 2147483647 w 403"/>
                <a:gd name="T65" fmla="*/ 2147483647 h 220"/>
                <a:gd name="T66" fmla="*/ 2147483647 w 403"/>
                <a:gd name="T67" fmla="*/ 2147483647 h 220"/>
                <a:gd name="T68" fmla="*/ 2147483647 w 403"/>
                <a:gd name="T69" fmla="*/ 2147483647 h 220"/>
                <a:gd name="T70" fmla="*/ 2147483647 w 403"/>
                <a:gd name="T71" fmla="*/ 2147483647 h 220"/>
                <a:gd name="T72" fmla="*/ 2147483647 w 403"/>
                <a:gd name="T73" fmla="*/ 2147483647 h 220"/>
                <a:gd name="T74" fmla="*/ 2147483647 w 403"/>
                <a:gd name="T75" fmla="*/ 2147483647 h 220"/>
                <a:gd name="T76" fmla="*/ 2147483647 w 403"/>
                <a:gd name="T77" fmla="*/ 2147483647 h 220"/>
                <a:gd name="T78" fmla="*/ 2147483647 w 403"/>
                <a:gd name="T79" fmla="*/ 2147483647 h 220"/>
                <a:gd name="T80" fmla="*/ 2147483647 w 403"/>
                <a:gd name="T81" fmla="*/ 2147483647 h 220"/>
                <a:gd name="T82" fmla="*/ 2147483647 w 403"/>
                <a:gd name="T83" fmla="*/ 2147483647 h 220"/>
                <a:gd name="T84" fmla="*/ 2147483647 w 403"/>
                <a:gd name="T85" fmla="*/ 2147483647 h 220"/>
                <a:gd name="T86" fmla="*/ 2147483647 w 403"/>
                <a:gd name="T87" fmla="*/ 2147483647 h 220"/>
                <a:gd name="T88" fmla="*/ 2147483647 w 403"/>
                <a:gd name="T89" fmla="*/ 2147483647 h 220"/>
                <a:gd name="T90" fmla="*/ 2147483647 w 403"/>
                <a:gd name="T91" fmla="*/ 2147483647 h 220"/>
                <a:gd name="T92" fmla="*/ 2147483647 w 403"/>
                <a:gd name="T93" fmla="*/ 2147483647 h 22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03"/>
                <a:gd name="T142" fmla="*/ 0 h 220"/>
                <a:gd name="T143" fmla="*/ 403 w 403"/>
                <a:gd name="T144" fmla="*/ 220 h 22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03" h="220">
                  <a:moveTo>
                    <a:pt x="99" y="211"/>
                  </a:moveTo>
                  <a:lnTo>
                    <a:pt x="96" y="199"/>
                  </a:lnTo>
                  <a:lnTo>
                    <a:pt x="83" y="192"/>
                  </a:lnTo>
                  <a:lnTo>
                    <a:pt x="36" y="149"/>
                  </a:lnTo>
                  <a:lnTo>
                    <a:pt x="33" y="126"/>
                  </a:lnTo>
                  <a:lnTo>
                    <a:pt x="12" y="123"/>
                  </a:lnTo>
                  <a:lnTo>
                    <a:pt x="13" y="102"/>
                  </a:lnTo>
                  <a:lnTo>
                    <a:pt x="6" y="82"/>
                  </a:lnTo>
                  <a:lnTo>
                    <a:pt x="0" y="71"/>
                  </a:lnTo>
                  <a:lnTo>
                    <a:pt x="4" y="59"/>
                  </a:lnTo>
                  <a:lnTo>
                    <a:pt x="19" y="59"/>
                  </a:lnTo>
                  <a:lnTo>
                    <a:pt x="45" y="53"/>
                  </a:lnTo>
                  <a:lnTo>
                    <a:pt x="126" y="11"/>
                  </a:lnTo>
                  <a:lnTo>
                    <a:pt x="143" y="0"/>
                  </a:lnTo>
                  <a:lnTo>
                    <a:pt x="154" y="13"/>
                  </a:lnTo>
                  <a:lnTo>
                    <a:pt x="171" y="6"/>
                  </a:lnTo>
                  <a:lnTo>
                    <a:pt x="187" y="7"/>
                  </a:lnTo>
                  <a:lnTo>
                    <a:pt x="197" y="14"/>
                  </a:lnTo>
                  <a:lnTo>
                    <a:pt x="197" y="33"/>
                  </a:lnTo>
                  <a:lnTo>
                    <a:pt x="227" y="52"/>
                  </a:lnTo>
                  <a:lnTo>
                    <a:pt x="229" y="65"/>
                  </a:lnTo>
                  <a:lnTo>
                    <a:pt x="240" y="80"/>
                  </a:lnTo>
                  <a:lnTo>
                    <a:pt x="248" y="86"/>
                  </a:lnTo>
                  <a:lnTo>
                    <a:pt x="253" y="80"/>
                  </a:lnTo>
                  <a:lnTo>
                    <a:pt x="274" y="69"/>
                  </a:lnTo>
                  <a:lnTo>
                    <a:pt x="283" y="71"/>
                  </a:lnTo>
                  <a:lnTo>
                    <a:pt x="309" y="100"/>
                  </a:lnTo>
                  <a:lnTo>
                    <a:pt x="315" y="99"/>
                  </a:lnTo>
                  <a:lnTo>
                    <a:pt x="342" y="115"/>
                  </a:lnTo>
                  <a:lnTo>
                    <a:pt x="382" y="113"/>
                  </a:lnTo>
                  <a:lnTo>
                    <a:pt x="403" y="126"/>
                  </a:lnTo>
                  <a:lnTo>
                    <a:pt x="359" y="151"/>
                  </a:lnTo>
                  <a:lnTo>
                    <a:pt x="357" y="181"/>
                  </a:lnTo>
                  <a:lnTo>
                    <a:pt x="330" y="206"/>
                  </a:lnTo>
                  <a:lnTo>
                    <a:pt x="301" y="205"/>
                  </a:lnTo>
                  <a:lnTo>
                    <a:pt x="285" y="212"/>
                  </a:lnTo>
                  <a:lnTo>
                    <a:pt x="265" y="220"/>
                  </a:lnTo>
                  <a:lnTo>
                    <a:pt x="240" y="204"/>
                  </a:lnTo>
                  <a:lnTo>
                    <a:pt x="224" y="212"/>
                  </a:lnTo>
                  <a:lnTo>
                    <a:pt x="209" y="215"/>
                  </a:lnTo>
                  <a:lnTo>
                    <a:pt x="197" y="196"/>
                  </a:lnTo>
                  <a:lnTo>
                    <a:pt x="162" y="197"/>
                  </a:lnTo>
                  <a:lnTo>
                    <a:pt x="151" y="205"/>
                  </a:lnTo>
                  <a:lnTo>
                    <a:pt x="143" y="213"/>
                  </a:lnTo>
                  <a:lnTo>
                    <a:pt x="128" y="213"/>
                  </a:lnTo>
                  <a:lnTo>
                    <a:pt x="112" y="216"/>
                  </a:lnTo>
                  <a:lnTo>
                    <a:pt x="99" y="211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8" name="Freeform 57"/>
            <p:cNvSpPr>
              <a:spLocks/>
            </p:cNvSpPr>
            <p:nvPr/>
          </p:nvSpPr>
          <p:spPr bwMode="auto">
            <a:xfrm>
              <a:off x="5166364" y="4202799"/>
              <a:ext cx="549712" cy="564361"/>
            </a:xfrm>
            <a:custGeom>
              <a:avLst/>
              <a:gdLst>
                <a:gd name="T0" fmla="*/ 2147483647 w 364"/>
                <a:gd name="T1" fmla="*/ 2147483647 h 357"/>
                <a:gd name="T2" fmla="*/ 2147483647 w 364"/>
                <a:gd name="T3" fmla="*/ 2147483647 h 357"/>
                <a:gd name="T4" fmla="*/ 2147483647 w 364"/>
                <a:gd name="T5" fmla="*/ 2147483647 h 357"/>
                <a:gd name="T6" fmla="*/ 2147483647 w 364"/>
                <a:gd name="T7" fmla="*/ 2147483647 h 357"/>
                <a:gd name="T8" fmla="*/ 2147483647 w 364"/>
                <a:gd name="T9" fmla="*/ 2147483647 h 357"/>
                <a:gd name="T10" fmla="*/ 2147483647 w 364"/>
                <a:gd name="T11" fmla="*/ 2147483647 h 357"/>
                <a:gd name="T12" fmla="*/ 2147483647 w 364"/>
                <a:gd name="T13" fmla="*/ 2147483647 h 357"/>
                <a:gd name="T14" fmla="*/ 2147483647 w 364"/>
                <a:gd name="T15" fmla="*/ 2147483647 h 357"/>
                <a:gd name="T16" fmla="*/ 2147483647 w 364"/>
                <a:gd name="T17" fmla="*/ 2147483647 h 357"/>
                <a:gd name="T18" fmla="*/ 2147483647 w 364"/>
                <a:gd name="T19" fmla="*/ 2147483647 h 357"/>
                <a:gd name="T20" fmla="*/ 2147483647 w 364"/>
                <a:gd name="T21" fmla="*/ 2147483647 h 357"/>
                <a:gd name="T22" fmla="*/ 2147483647 w 364"/>
                <a:gd name="T23" fmla="*/ 2147483647 h 357"/>
                <a:gd name="T24" fmla="*/ 2147483647 w 364"/>
                <a:gd name="T25" fmla="*/ 2147483647 h 357"/>
                <a:gd name="T26" fmla="*/ 2147483647 w 364"/>
                <a:gd name="T27" fmla="*/ 2147483647 h 357"/>
                <a:gd name="T28" fmla="*/ 2147483647 w 364"/>
                <a:gd name="T29" fmla="*/ 2147483647 h 357"/>
                <a:gd name="T30" fmla="*/ 2147483647 w 364"/>
                <a:gd name="T31" fmla="*/ 2147483647 h 357"/>
                <a:gd name="T32" fmla="*/ 2147483647 w 364"/>
                <a:gd name="T33" fmla="*/ 2147483647 h 357"/>
                <a:gd name="T34" fmla="*/ 2147483647 w 364"/>
                <a:gd name="T35" fmla="*/ 2147483647 h 357"/>
                <a:gd name="T36" fmla="*/ 2147483647 w 364"/>
                <a:gd name="T37" fmla="*/ 2147483647 h 357"/>
                <a:gd name="T38" fmla="*/ 2147483647 w 364"/>
                <a:gd name="T39" fmla="*/ 2147483647 h 357"/>
                <a:gd name="T40" fmla="*/ 2147483647 w 364"/>
                <a:gd name="T41" fmla="*/ 2147483647 h 357"/>
                <a:gd name="T42" fmla="*/ 2147483647 w 364"/>
                <a:gd name="T43" fmla="*/ 2147483647 h 357"/>
                <a:gd name="T44" fmla="*/ 2147483647 w 364"/>
                <a:gd name="T45" fmla="*/ 2147483647 h 357"/>
                <a:gd name="T46" fmla="*/ 2147483647 w 364"/>
                <a:gd name="T47" fmla="*/ 2147483647 h 357"/>
                <a:gd name="T48" fmla="*/ 2147483647 w 364"/>
                <a:gd name="T49" fmla="*/ 2147483647 h 357"/>
                <a:gd name="T50" fmla="*/ 2147483647 w 364"/>
                <a:gd name="T51" fmla="*/ 2147483647 h 357"/>
                <a:gd name="T52" fmla="*/ 2147483647 w 364"/>
                <a:gd name="T53" fmla="*/ 2147483647 h 357"/>
                <a:gd name="T54" fmla="*/ 2147483647 w 364"/>
                <a:gd name="T55" fmla="*/ 2147483647 h 357"/>
                <a:gd name="T56" fmla="*/ 2147483647 w 364"/>
                <a:gd name="T57" fmla="*/ 2147483647 h 357"/>
                <a:gd name="T58" fmla="*/ 2147483647 w 364"/>
                <a:gd name="T59" fmla="*/ 2147483647 h 357"/>
                <a:gd name="T60" fmla="*/ 2147483647 w 364"/>
                <a:gd name="T61" fmla="*/ 2147483647 h 357"/>
                <a:gd name="T62" fmla="*/ 2147483647 w 364"/>
                <a:gd name="T63" fmla="*/ 2147483647 h 357"/>
                <a:gd name="T64" fmla="*/ 2147483647 w 364"/>
                <a:gd name="T65" fmla="*/ 2147483647 h 357"/>
                <a:gd name="T66" fmla="*/ 2147483647 w 364"/>
                <a:gd name="T67" fmla="*/ 2147483647 h 357"/>
                <a:gd name="T68" fmla="*/ 2147483647 w 364"/>
                <a:gd name="T69" fmla="*/ 2147483647 h 357"/>
                <a:gd name="T70" fmla="*/ 2147483647 w 364"/>
                <a:gd name="T71" fmla="*/ 2147483647 h 357"/>
                <a:gd name="T72" fmla="*/ 2147483647 w 364"/>
                <a:gd name="T73" fmla="*/ 2147483647 h 357"/>
                <a:gd name="T74" fmla="*/ 2147483647 w 364"/>
                <a:gd name="T75" fmla="*/ 2147483647 h 357"/>
                <a:gd name="T76" fmla="*/ 2147483647 w 364"/>
                <a:gd name="T77" fmla="*/ 2147483647 h 357"/>
                <a:gd name="T78" fmla="*/ 2147483647 w 364"/>
                <a:gd name="T79" fmla="*/ 0 h 357"/>
                <a:gd name="T80" fmla="*/ 2147483647 w 364"/>
                <a:gd name="T81" fmla="*/ 2147483647 h 357"/>
                <a:gd name="T82" fmla="*/ 2147483647 w 364"/>
                <a:gd name="T83" fmla="*/ 2147483647 h 357"/>
                <a:gd name="T84" fmla="*/ 2147483647 w 364"/>
                <a:gd name="T85" fmla="*/ 2147483647 h 357"/>
                <a:gd name="T86" fmla="*/ 2147483647 w 364"/>
                <a:gd name="T87" fmla="*/ 2147483647 h 357"/>
                <a:gd name="T88" fmla="*/ 0 w 364"/>
                <a:gd name="T89" fmla="*/ 2147483647 h 35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64"/>
                <a:gd name="T136" fmla="*/ 0 h 357"/>
                <a:gd name="T137" fmla="*/ 364 w 364"/>
                <a:gd name="T138" fmla="*/ 357 h 357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64" h="357">
                  <a:moveTo>
                    <a:pt x="0" y="80"/>
                  </a:moveTo>
                  <a:lnTo>
                    <a:pt x="7" y="102"/>
                  </a:lnTo>
                  <a:lnTo>
                    <a:pt x="15" y="119"/>
                  </a:lnTo>
                  <a:lnTo>
                    <a:pt x="22" y="130"/>
                  </a:lnTo>
                  <a:lnTo>
                    <a:pt x="31" y="132"/>
                  </a:lnTo>
                  <a:lnTo>
                    <a:pt x="41" y="126"/>
                  </a:lnTo>
                  <a:lnTo>
                    <a:pt x="46" y="115"/>
                  </a:lnTo>
                  <a:lnTo>
                    <a:pt x="56" y="98"/>
                  </a:lnTo>
                  <a:lnTo>
                    <a:pt x="69" y="108"/>
                  </a:lnTo>
                  <a:lnTo>
                    <a:pt x="82" y="111"/>
                  </a:lnTo>
                  <a:lnTo>
                    <a:pt x="91" y="117"/>
                  </a:lnTo>
                  <a:lnTo>
                    <a:pt x="89" y="135"/>
                  </a:lnTo>
                  <a:lnTo>
                    <a:pt x="89" y="147"/>
                  </a:lnTo>
                  <a:lnTo>
                    <a:pt x="102" y="167"/>
                  </a:lnTo>
                  <a:lnTo>
                    <a:pt x="117" y="184"/>
                  </a:lnTo>
                  <a:lnTo>
                    <a:pt x="115" y="189"/>
                  </a:lnTo>
                  <a:lnTo>
                    <a:pt x="98" y="189"/>
                  </a:lnTo>
                  <a:lnTo>
                    <a:pt x="106" y="199"/>
                  </a:lnTo>
                  <a:lnTo>
                    <a:pt x="156" y="256"/>
                  </a:lnTo>
                  <a:lnTo>
                    <a:pt x="161" y="260"/>
                  </a:lnTo>
                  <a:lnTo>
                    <a:pt x="176" y="260"/>
                  </a:lnTo>
                  <a:lnTo>
                    <a:pt x="188" y="263"/>
                  </a:lnTo>
                  <a:lnTo>
                    <a:pt x="210" y="273"/>
                  </a:lnTo>
                  <a:lnTo>
                    <a:pt x="229" y="291"/>
                  </a:lnTo>
                  <a:lnTo>
                    <a:pt x="233" y="299"/>
                  </a:lnTo>
                  <a:lnTo>
                    <a:pt x="240" y="314"/>
                  </a:lnTo>
                  <a:lnTo>
                    <a:pt x="246" y="313"/>
                  </a:lnTo>
                  <a:lnTo>
                    <a:pt x="251" y="313"/>
                  </a:lnTo>
                  <a:lnTo>
                    <a:pt x="266" y="319"/>
                  </a:lnTo>
                  <a:lnTo>
                    <a:pt x="275" y="326"/>
                  </a:lnTo>
                  <a:lnTo>
                    <a:pt x="303" y="357"/>
                  </a:lnTo>
                  <a:lnTo>
                    <a:pt x="291" y="325"/>
                  </a:lnTo>
                  <a:lnTo>
                    <a:pt x="284" y="313"/>
                  </a:lnTo>
                  <a:lnTo>
                    <a:pt x="290" y="301"/>
                  </a:lnTo>
                  <a:lnTo>
                    <a:pt x="286" y="291"/>
                  </a:lnTo>
                  <a:lnTo>
                    <a:pt x="272" y="275"/>
                  </a:lnTo>
                  <a:lnTo>
                    <a:pt x="246" y="245"/>
                  </a:lnTo>
                  <a:lnTo>
                    <a:pt x="229" y="232"/>
                  </a:lnTo>
                  <a:lnTo>
                    <a:pt x="223" y="226"/>
                  </a:lnTo>
                  <a:lnTo>
                    <a:pt x="214" y="228"/>
                  </a:lnTo>
                  <a:lnTo>
                    <a:pt x="201" y="217"/>
                  </a:lnTo>
                  <a:lnTo>
                    <a:pt x="199" y="217"/>
                  </a:lnTo>
                  <a:lnTo>
                    <a:pt x="192" y="210"/>
                  </a:lnTo>
                  <a:lnTo>
                    <a:pt x="188" y="197"/>
                  </a:lnTo>
                  <a:lnTo>
                    <a:pt x="184" y="184"/>
                  </a:lnTo>
                  <a:lnTo>
                    <a:pt x="169" y="165"/>
                  </a:lnTo>
                  <a:lnTo>
                    <a:pt x="139" y="134"/>
                  </a:lnTo>
                  <a:lnTo>
                    <a:pt x="137" y="126"/>
                  </a:lnTo>
                  <a:lnTo>
                    <a:pt x="139" y="122"/>
                  </a:lnTo>
                  <a:lnTo>
                    <a:pt x="154" y="119"/>
                  </a:lnTo>
                  <a:lnTo>
                    <a:pt x="196" y="132"/>
                  </a:lnTo>
                  <a:lnTo>
                    <a:pt x="223" y="102"/>
                  </a:lnTo>
                  <a:lnTo>
                    <a:pt x="246" y="121"/>
                  </a:lnTo>
                  <a:lnTo>
                    <a:pt x="255" y="122"/>
                  </a:lnTo>
                  <a:lnTo>
                    <a:pt x="260" y="130"/>
                  </a:lnTo>
                  <a:lnTo>
                    <a:pt x="268" y="122"/>
                  </a:lnTo>
                  <a:lnTo>
                    <a:pt x="283" y="122"/>
                  </a:lnTo>
                  <a:lnTo>
                    <a:pt x="296" y="124"/>
                  </a:lnTo>
                  <a:lnTo>
                    <a:pt x="314" y="115"/>
                  </a:lnTo>
                  <a:lnTo>
                    <a:pt x="333" y="122"/>
                  </a:lnTo>
                  <a:lnTo>
                    <a:pt x="344" y="132"/>
                  </a:lnTo>
                  <a:lnTo>
                    <a:pt x="357" y="135"/>
                  </a:lnTo>
                  <a:lnTo>
                    <a:pt x="358" y="126"/>
                  </a:lnTo>
                  <a:lnTo>
                    <a:pt x="364" y="111"/>
                  </a:lnTo>
                  <a:lnTo>
                    <a:pt x="357" y="104"/>
                  </a:lnTo>
                  <a:lnTo>
                    <a:pt x="345" y="91"/>
                  </a:lnTo>
                  <a:lnTo>
                    <a:pt x="344" y="78"/>
                  </a:lnTo>
                  <a:lnTo>
                    <a:pt x="344" y="69"/>
                  </a:lnTo>
                  <a:lnTo>
                    <a:pt x="345" y="58"/>
                  </a:lnTo>
                  <a:lnTo>
                    <a:pt x="329" y="54"/>
                  </a:lnTo>
                  <a:lnTo>
                    <a:pt x="321" y="52"/>
                  </a:lnTo>
                  <a:lnTo>
                    <a:pt x="313" y="58"/>
                  </a:lnTo>
                  <a:lnTo>
                    <a:pt x="303" y="65"/>
                  </a:lnTo>
                  <a:lnTo>
                    <a:pt x="294" y="65"/>
                  </a:lnTo>
                  <a:lnTo>
                    <a:pt x="279" y="50"/>
                  </a:lnTo>
                  <a:lnTo>
                    <a:pt x="266" y="43"/>
                  </a:lnTo>
                  <a:lnTo>
                    <a:pt x="253" y="45"/>
                  </a:lnTo>
                  <a:lnTo>
                    <a:pt x="242" y="33"/>
                  </a:lnTo>
                  <a:lnTo>
                    <a:pt x="212" y="2"/>
                  </a:lnTo>
                  <a:lnTo>
                    <a:pt x="199" y="0"/>
                  </a:lnTo>
                  <a:lnTo>
                    <a:pt x="178" y="26"/>
                  </a:lnTo>
                  <a:lnTo>
                    <a:pt x="157" y="24"/>
                  </a:lnTo>
                  <a:lnTo>
                    <a:pt x="148" y="33"/>
                  </a:lnTo>
                  <a:lnTo>
                    <a:pt x="145" y="45"/>
                  </a:lnTo>
                  <a:lnTo>
                    <a:pt x="106" y="87"/>
                  </a:lnTo>
                  <a:lnTo>
                    <a:pt x="80" y="80"/>
                  </a:lnTo>
                  <a:lnTo>
                    <a:pt x="54" y="74"/>
                  </a:lnTo>
                  <a:lnTo>
                    <a:pt x="41" y="80"/>
                  </a:lnTo>
                  <a:lnTo>
                    <a:pt x="24" y="87"/>
                  </a:lnTo>
                  <a:lnTo>
                    <a:pt x="0" y="8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219" name="Group 58"/>
            <p:cNvGrpSpPr>
              <a:grpSpLocks/>
            </p:cNvGrpSpPr>
            <p:nvPr/>
          </p:nvGrpSpPr>
          <p:grpSpPr bwMode="auto">
            <a:xfrm>
              <a:off x="5808198" y="4833555"/>
              <a:ext cx="884976" cy="965894"/>
              <a:chOff x="2546" y="3453"/>
              <a:chExt cx="586" cy="611"/>
            </a:xfrm>
            <a:grpFill/>
          </p:grpSpPr>
          <p:sp>
            <p:nvSpPr>
              <p:cNvPr id="236" name="Freeform 59"/>
              <p:cNvSpPr>
                <a:spLocks/>
              </p:cNvSpPr>
              <p:nvPr/>
            </p:nvSpPr>
            <p:spPr bwMode="auto">
              <a:xfrm>
                <a:off x="2559" y="3773"/>
                <a:ext cx="24" cy="25"/>
              </a:xfrm>
              <a:custGeom>
                <a:avLst/>
                <a:gdLst>
                  <a:gd name="T0" fmla="*/ 18 w 24"/>
                  <a:gd name="T1" fmla="*/ 0 h 25"/>
                  <a:gd name="T2" fmla="*/ 24 w 24"/>
                  <a:gd name="T3" fmla="*/ 7 h 25"/>
                  <a:gd name="T4" fmla="*/ 22 w 24"/>
                  <a:gd name="T5" fmla="*/ 16 h 25"/>
                  <a:gd name="T6" fmla="*/ 24 w 24"/>
                  <a:gd name="T7" fmla="*/ 23 h 25"/>
                  <a:gd name="T8" fmla="*/ 18 w 24"/>
                  <a:gd name="T9" fmla="*/ 25 h 25"/>
                  <a:gd name="T10" fmla="*/ 7 w 24"/>
                  <a:gd name="T11" fmla="*/ 23 h 25"/>
                  <a:gd name="T12" fmla="*/ 0 w 24"/>
                  <a:gd name="T13" fmla="*/ 14 h 25"/>
                  <a:gd name="T14" fmla="*/ 18 w 24"/>
                  <a:gd name="T15" fmla="*/ 0 h 2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4"/>
                  <a:gd name="T25" fmla="*/ 0 h 25"/>
                  <a:gd name="T26" fmla="*/ 24 w 24"/>
                  <a:gd name="T27" fmla="*/ 25 h 2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4" h="25">
                    <a:moveTo>
                      <a:pt x="18" y="0"/>
                    </a:moveTo>
                    <a:lnTo>
                      <a:pt x="24" y="7"/>
                    </a:lnTo>
                    <a:lnTo>
                      <a:pt x="22" y="16"/>
                    </a:lnTo>
                    <a:lnTo>
                      <a:pt x="24" y="23"/>
                    </a:lnTo>
                    <a:lnTo>
                      <a:pt x="18" y="25"/>
                    </a:lnTo>
                    <a:lnTo>
                      <a:pt x="7" y="23"/>
                    </a:lnTo>
                    <a:lnTo>
                      <a:pt x="0" y="14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  <p:sp>
            <p:nvSpPr>
              <p:cNvPr id="237" name="Freeform 60"/>
              <p:cNvSpPr>
                <a:spLocks/>
              </p:cNvSpPr>
              <p:nvPr/>
            </p:nvSpPr>
            <p:spPr bwMode="auto">
              <a:xfrm>
                <a:off x="2608" y="3783"/>
                <a:ext cx="184" cy="163"/>
              </a:xfrm>
              <a:custGeom>
                <a:avLst/>
                <a:gdLst>
                  <a:gd name="T0" fmla="*/ 26 w 184"/>
                  <a:gd name="T1" fmla="*/ 7 h 163"/>
                  <a:gd name="T2" fmla="*/ 17 w 184"/>
                  <a:gd name="T3" fmla="*/ 11 h 163"/>
                  <a:gd name="T4" fmla="*/ 20 w 184"/>
                  <a:gd name="T5" fmla="*/ 20 h 163"/>
                  <a:gd name="T6" fmla="*/ 11 w 184"/>
                  <a:gd name="T7" fmla="*/ 31 h 163"/>
                  <a:gd name="T8" fmla="*/ 4 w 184"/>
                  <a:gd name="T9" fmla="*/ 30 h 163"/>
                  <a:gd name="T10" fmla="*/ 0 w 184"/>
                  <a:gd name="T11" fmla="*/ 35 h 163"/>
                  <a:gd name="T12" fmla="*/ 2 w 184"/>
                  <a:gd name="T13" fmla="*/ 46 h 163"/>
                  <a:gd name="T14" fmla="*/ 32 w 184"/>
                  <a:gd name="T15" fmla="*/ 57 h 163"/>
                  <a:gd name="T16" fmla="*/ 39 w 184"/>
                  <a:gd name="T17" fmla="*/ 82 h 163"/>
                  <a:gd name="T18" fmla="*/ 48 w 184"/>
                  <a:gd name="T19" fmla="*/ 113 h 163"/>
                  <a:gd name="T20" fmla="*/ 59 w 184"/>
                  <a:gd name="T21" fmla="*/ 130 h 163"/>
                  <a:gd name="T22" fmla="*/ 72 w 184"/>
                  <a:gd name="T23" fmla="*/ 119 h 163"/>
                  <a:gd name="T24" fmla="*/ 89 w 184"/>
                  <a:gd name="T25" fmla="*/ 141 h 163"/>
                  <a:gd name="T26" fmla="*/ 106 w 184"/>
                  <a:gd name="T27" fmla="*/ 163 h 163"/>
                  <a:gd name="T28" fmla="*/ 113 w 184"/>
                  <a:gd name="T29" fmla="*/ 146 h 163"/>
                  <a:gd name="T30" fmla="*/ 108 w 184"/>
                  <a:gd name="T31" fmla="*/ 135 h 163"/>
                  <a:gd name="T32" fmla="*/ 115 w 184"/>
                  <a:gd name="T33" fmla="*/ 130 h 163"/>
                  <a:gd name="T34" fmla="*/ 141 w 184"/>
                  <a:gd name="T35" fmla="*/ 150 h 163"/>
                  <a:gd name="T36" fmla="*/ 149 w 184"/>
                  <a:gd name="T37" fmla="*/ 144 h 163"/>
                  <a:gd name="T38" fmla="*/ 151 w 184"/>
                  <a:gd name="T39" fmla="*/ 137 h 163"/>
                  <a:gd name="T40" fmla="*/ 138 w 184"/>
                  <a:gd name="T41" fmla="*/ 111 h 163"/>
                  <a:gd name="T42" fmla="*/ 138 w 184"/>
                  <a:gd name="T43" fmla="*/ 106 h 163"/>
                  <a:gd name="T44" fmla="*/ 126 w 184"/>
                  <a:gd name="T45" fmla="*/ 85 h 163"/>
                  <a:gd name="T46" fmla="*/ 121 w 184"/>
                  <a:gd name="T47" fmla="*/ 70 h 163"/>
                  <a:gd name="T48" fmla="*/ 126 w 184"/>
                  <a:gd name="T49" fmla="*/ 69 h 163"/>
                  <a:gd name="T50" fmla="*/ 141 w 184"/>
                  <a:gd name="T51" fmla="*/ 72 h 163"/>
                  <a:gd name="T52" fmla="*/ 158 w 184"/>
                  <a:gd name="T53" fmla="*/ 87 h 163"/>
                  <a:gd name="T54" fmla="*/ 167 w 184"/>
                  <a:gd name="T55" fmla="*/ 76 h 163"/>
                  <a:gd name="T56" fmla="*/ 182 w 184"/>
                  <a:gd name="T57" fmla="*/ 78 h 163"/>
                  <a:gd name="T58" fmla="*/ 184 w 184"/>
                  <a:gd name="T59" fmla="*/ 74 h 163"/>
                  <a:gd name="T60" fmla="*/ 165 w 184"/>
                  <a:gd name="T61" fmla="*/ 50 h 163"/>
                  <a:gd name="T62" fmla="*/ 151 w 184"/>
                  <a:gd name="T63" fmla="*/ 52 h 163"/>
                  <a:gd name="T64" fmla="*/ 147 w 184"/>
                  <a:gd name="T65" fmla="*/ 44 h 163"/>
                  <a:gd name="T66" fmla="*/ 138 w 184"/>
                  <a:gd name="T67" fmla="*/ 26 h 163"/>
                  <a:gd name="T68" fmla="*/ 130 w 184"/>
                  <a:gd name="T69" fmla="*/ 33 h 163"/>
                  <a:gd name="T70" fmla="*/ 112 w 184"/>
                  <a:gd name="T71" fmla="*/ 26 h 163"/>
                  <a:gd name="T72" fmla="*/ 100 w 184"/>
                  <a:gd name="T73" fmla="*/ 7 h 163"/>
                  <a:gd name="T74" fmla="*/ 78 w 184"/>
                  <a:gd name="T75" fmla="*/ 9 h 163"/>
                  <a:gd name="T76" fmla="*/ 61 w 184"/>
                  <a:gd name="T77" fmla="*/ 11 h 163"/>
                  <a:gd name="T78" fmla="*/ 50 w 184"/>
                  <a:gd name="T79" fmla="*/ 0 h 163"/>
                  <a:gd name="T80" fmla="*/ 41 w 184"/>
                  <a:gd name="T81" fmla="*/ 6 h 163"/>
                  <a:gd name="T82" fmla="*/ 26 w 184"/>
                  <a:gd name="T83" fmla="*/ 7 h 16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4"/>
                  <a:gd name="T127" fmla="*/ 0 h 163"/>
                  <a:gd name="T128" fmla="*/ 184 w 184"/>
                  <a:gd name="T129" fmla="*/ 163 h 163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4" h="163">
                    <a:moveTo>
                      <a:pt x="26" y="7"/>
                    </a:moveTo>
                    <a:lnTo>
                      <a:pt x="17" y="11"/>
                    </a:lnTo>
                    <a:lnTo>
                      <a:pt x="20" y="20"/>
                    </a:lnTo>
                    <a:lnTo>
                      <a:pt x="11" y="31"/>
                    </a:lnTo>
                    <a:lnTo>
                      <a:pt x="4" y="30"/>
                    </a:lnTo>
                    <a:lnTo>
                      <a:pt x="0" y="35"/>
                    </a:lnTo>
                    <a:lnTo>
                      <a:pt x="2" y="46"/>
                    </a:lnTo>
                    <a:lnTo>
                      <a:pt x="32" y="57"/>
                    </a:lnTo>
                    <a:lnTo>
                      <a:pt x="39" y="82"/>
                    </a:lnTo>
                    <a:lnTo>
                      <a:pt x="48" y="113"/>
                    </a:lnTo>
                    <a:lnTo>
                      <a:pt x="59" y="130"/>
                    </a:lnTo>
                    <a:lnTo>
                      <a:pt x="72" y="119"/>
                    </a:lnTo>
                    <a:lnTo>
                      <a:pt x="89" y="141"/>
                    </a:lnTo>
                    <a:lnTo>
                      <a:pt x="106" y="163"/>
                    </a:lnTo>
                    <a:lnTo>
                      <a:pt x="113" y="146"/>
                    </a:lnTo>
                    <a:lnTo>
                      <a:pt x="108" y="135"/>
                    </a:lnTo>
                    <a:lnTo>
                      <a:pt x="115" y="130"/>
                    </a:lnTo>
                    <a:lnTo>
                      <a:pt x="141" y="150"/>
                    </a:lnTo>
                    <a:lnTo>
                      <a:pt x="149" y="144"/>
                    </a:lnTo>
                    <a:lnTo>
                      <a:pt x="151" y="137"/>
                    </a:lnTo>
                    <a:lnTo>
                      <a:pt x="138" y="111"/>
                    </a:lnTo>
                    <a:lnTo>
                      <a:pt x="138" y="106"/>
                    </a:lnTo>
                    <a:lnTo>
                      <a:pt x="126" y="85"/>
                    </a:lnTo>
                    <a:lnTo>
                      <a:pt x="121" y="70"/>
                    </a:lnTo>
                    <a:lnTo>
                      <a:pt x="126" y="69"/>
                    </a:lnTo>
                    <a:lnTo>
                      <a:pt x="141" y="72"/>
                    </a:lnTo>
                    <a:lnTo>
                      <a:pt x="158" y="87"/>
                    </a:lnTo>
                    <a:lnTo>
                      <a:pt x="167" y="76"/>
                    </a:lnTo>
                    <a:lnTo>
                      <a:pt x="182" y="78"/>
                    </a:lnTo>
                    <a:lnTo>
                      <a:pt x="184" y="74"/>
                    </a:lnTo>
                    <a:lnTo>
                      <a:pt x="165" y="50"/>
                    </a:lnTo>
                    <a:lnTo>
                      <a:pt x="151" y="52"/>
                    </a:lnTo>
                    <a:lnTo>
                      <a:pt x="147" y="44"/>
                    </a:lnTo>
                    <a:lnTo>
                      <a:pt x="138" y="26"/>
                    </a:lnTo>
                    <a:lnTo>
                      <a:pt x="130" y="33"/>
                    </a:lnTo>
                    <a:lnTo>
                      <a:pt x="112" y="26"/>
                    </a:lnTo>
                    <a:lnTo>
                      <a:pt x="100" y="7"/>
                    </a:lnTo>
                    <a:lnTo>
                      <a:pt x="78" y="9"/>
                    </a:lnTo>
                    <a:lnTo>
                      <a:pt x="61" y="11"/>
                    </a:lnTo>
                    <a:lnTo>
                      <a:pt x="50" y="0"/>
                    </a:lnTo>
                    <a:lnTo>
                      <a:pt x="41" y="6"/>
                    </a:lnTo>
                    <a:lnTo>
                      <a:pt x="26" y="7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  <p:sp>
            <p:nvSpPr>
              <p:cNvPr id="238" name="Freeform 61"/>
              <p:cNvSpPr>
                <a:spLocks/>
              </p:cNvSpPr>
              <p:nvPr/>
            </p:nvSpPr>
            <p:spPr bwMode="auto">
              <a:xfrm>
                <a:off x="2546" y="3453"/>
                <a:ext cx="430" cy="386"/>
              </a:xfrm>
              <a:custGeom>
                <a:avLst/>
                <a:gdLst>
                  <a:gd name="T0" fmla="*/ 78 w 430"/>
                  <a:gd name="T1" fmla="*/ 102 h 386"/>
                  <a:gd name="T2" fmla="*/ 55 w 430"/>
                  <a:gd name="T3" fmla="*/ 167 h 386"/>
                  <a:gd name="T4" fmla="*/ 44 w 430"/>
                  <a:gd name="T5" fmla="*/ 182 h 386"/>
                  <a:gd name="T6" fmla="*/ 24 w 430"/>
                  <a:gd name="T7" fmla="*/ 200 h 386"/>
                  <a:gd name="T8" fmla="*/ 0 w 430"/>
                  <a:gd name="T9" fmla="*/ 204 h 386"/>
                  <a:gd name="T10" fmla="*/ 31 w 430"/>
                  <a:gd name="T11" fmla="*/ 260 h 386"/>
                  <a:gd name="T12" fmla="*/ 57 w 430"/>
                  <a:gd name="T13" fmla="*/ 260 h 386"/>
                  <a:gd name="T14" fmla="*/ 48 w 430"/>
                  <a:gd name="T15" fmla="*/ 278 h 386"/>
                  <a:gd name="T16" fmla="*/ 57 w 430"/>
                  <a:gd name="T17" fmla="*/ 308 h 386"/>
                  <a:gd name="T18" fmla="*/ 76 w 430"/>
                  <a:gd name="T19" fmla="*/ 330 h 386"/>
                  <a:gd name="T20" fmla="*/ 91 w 430"/>
                  <a:gd name="T21" fmla="*/ 317 h 386"/>
                  <a:gd name="T22" fmla="*/ 107 w 430"/>
                  <a:gd name="T23" fmla="*/ 319 h 386"/>
                  <a:gd name="T24" fmla="*/ 159 w 430"/>
                  <a:gd name="T25" fmla="*/ 325 h 386"/>
                  <a:gd name="T26" fmla="*/ 190 w 430"/>
                  <a:gd name="T27" fmla="*/ 341 h 386"/>
                  <a:gd name="T28" fmla="*/ 207 w 430"/>
                  <a:gd name="T29" fmla="*/ 362 h 386"/>
                  <a:gd name="T30" fmla="*/ 229 w 430"/>
                  <a:gd name="T31" fmla="*/ 353 h 386"/>
                  <a:gd name="T32" fmla="*/ 271 w 430"/>
                  <a:gd name="T33" fmla="*/ 386 h 386"/>
                  <a:gd name="T34" fmla="*/ 278 w 430"/>
                  <a:gd name="T35" fmla="*/ 367 h 386"/>
                  <a:gd name="T36" fmla="*/ 277 w 430"/>
                  <a:gd name="T37" fmla="*/ 336 h 386"/>
                  <a:gd name="T38" fmla="*/ 259 w 430"/>
                  <a:gd name="T39" fmla="*/ 323 h 386"/>
                  <a:gd name="T40" fmla="*/ 215 w 430"/>
                  <a:gd name="T41" fmla="*/ 295 h 386"/>
                  <a:gd name="T42" fmla="*/ 189 w 430"/>
                  <a:gd name="T43" fmla="*/ 286 h 386"/>
                  <a:gd name="T44" fmla="*/ 179 w 430"/>
                  <a:gd name="T45" fmla="*/ 273 h 386"/>
                  <a:gd name="T46" fmla="*/ 194 w 430"/>
                  <a:gd name="T47" fmla="*/ 258 h 386"/>
                  <a:gd name="T48" fmla="*/ 183 w 430"/>
                  <a:gd name="T49" fmla="*/ 236 h 386"/>
                  <a:gd name="T50" fmla="*/ 202 w 430"/>
                  <a:gd name="T51" fmla="*/ 245 h 386"/>
                  <a:gd name="T52" fmla="*/ 215 w 430"/>
                  <a:gd name="T53" fmla="*/ 238 h 386"/>
                  <a:gd name="T54" fmla="*/ 190 w 430"/>
                  <a:gd name="T55" fmla="*/ 202 h 386"/>
                  <a:gd name="T56" fmla="*/ 170 w 430"/>
                  <a:gd name="T57" fmla="*/ 160 h 386"/>
                  <a:gd name="T58" fmla="*/ 165 w 430"/>
                  <a:gd name="T59" fmla="*/ 134 h 386"/>
                  <a:gd name="T60" fmla="*/ 176 w 430"/>
                  <a:gd name="T61" fmla="*/ 117 h 386"/>
                  <a:gd name="T62" fmla="*/ 185 w 430"/>
                  <a:gd name="T63" fmla="*/ 139 h 386"/>
                  <a:gd name="T64" fmla="*/ 190 w 430"/>
                  <a:gd name="T65" fmla="*/ 147 h 386"/>
                  <a:gd name="T66" fmla="*/ 227 w 430"/>
                  <a:gd name="T67" fmla="*/ 176 h 386"/>
                  <a:gd name="T68" fmla="*/ 231 w 430"/>
                  <a:gd name="T69" fmla="*/ 156 h 386"/>
                  <a:gd name="T70" fmla="*/ 257 w 430"/>
                  <a:gd name="T71" fmla="*/ 176 h 386"/>
                  <a:gd name="T72" fmla="*/ 246 w 430"/>
                  <a:gd name="T73" fmla="*/ 152 h 386"/>
                  <a:gd name="T74" fmla="*/ 257 w 430"/>
                  <a:gd name="T75" fmla="*/ 141 h 386"/>
                  <a:gd name="T76" fmla="*/ 288 w 430"/>
                  <a:gd name="T77" fmla="*/ 148 h 386"/>
                  <a:gd name="T78" fmla="*/ 275 w 430"/>
                  <a:gd name="T79" fmla="*/ 130 h 386"/>
                  <a:gd name="T80" fmla="*/ 246 w 430"/>
                  <a:gd name="T81" fmla="*/ 113 h 386"/>
                  <a:gd name="T82" fmla="*/ 248 w 430"/>
                  <a:gd name="T83" fmla="*/ 98 h 386"/>
                  <a:gd name="T84" fmla="*/ 299 w 430"/>
                  <a:gd name="T85" fmla="*/ 87 h 386"/>
                  <a:gd name="T86" fmla="*/ 350 w 430"/>
                  <a:gd name="T87" fmla="*/ 82 h 386"/>
                  <a:gd name="T88" fmla="*/ 378 w 430"/>
                  <a:gd name="T89" fmla="*/ 87 h 386"/>
                  <a:gd name="T90" fmla="*/ 406 w 430"/>
                  <a:gd name="T91" fmla="*/ 76 h 386"/>
                  <a:gd name="T92" fmla="*/ 428 w 430"/>
                  <a:gd name="T93" fmla="*/ 48 h 386"/>
                  <a:gd name="T94" fmla="*/ 428 w 430"/>
                  <a:gd name="T95" fmla="*/ 6 h 386"/>
                  <a:gd name="T96" fmla="*/ 408 w 430"/>
                  <a:gd name="T97" fmla="*/ 0 h 386"/>
                  <a:gd name="T98" fmla="*/ 402 w 430"/>
                  <a:gd name="T99" fmla="*/ 20 h 386"/>
                  <a:gd name="T100" fmla="*/ 389 w 430"/>
                  <a:gd name="T101" fmla="*/ 35 h 386"/>
                  <a:gd name="T102" fmla="*/ 371 w 430"/>
                  <a:gd name="T103" fmla="*/ 45 h 386"/>
                  <a:gd name="T104" fmla="*/ 338 w 430"/>
                  <a:gd name="T105" fmla="*/ 33 h 386"/>
                  <a:gd name="T106" fmla="*/ 306 w 430"/>
                  <a:gd name="T107" fmla="*/ 20 h 386"/>
                  <a:gd name="T108" fmla="*/ 271 w 430"/>
                  <a:gd name="T109" fmla="*/ 45 h 386"/>
                  <a:gd name="T110" fmla="*/ 231 w 430"/>
                  <a:gd name="T111" fmla="*/ 56 h 386"/>
                  <a:gd name="T112" fmla="*/ 202 w 430"/>
                  <a:gd name="T113" fmla="*/ 61 h 386"/>
                  <a:gd name="T114" fmla="*/ 183 w 430"/>
                  <a:gd name="T115" fmla="*/ 78 h 386"/>
                  <a:gd name="T116" fmla="*/ 153 w 430"/>
                  <a:gd name="T117" fmla="*/ 82 h 386"/>
                  <a:gd name="T118" fmla="*/ 126 w 430"/>
                  <a:gd name="T119" fmla="*/ 97 h 386"/>
                  <a:gd name="T120" fmla="*/ 98 w 430"/>
                  <a:gd name="T121" fmla="*/ 97 h 38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30"/>
                  <a:gd name="T184" fmla="*/ 0 h 386"/>
                  <a:gd name="T185" fmla="*/ 430 w 430"/>
                  <a:gd name="T186" fmla="*/ 386 h 38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30" h="386">
                    <a:moveTo>
                      <a:pt x="87" y="95"/>
                    </a:moveTo>
                    <a:lnTo>
                      <a:pt x="78" y="102"/>
                    </a:lnTo>
                    <a:lnTo>
                      <a:pt x="68" y="135"/>
                    </a:lnTo>
                    <a:lnTo>
                      <a:pt x="55" y="167"/>
                    </a:lnTo>
                    <a:lnTo>
                      <a:pt x="50" y="171"/>
                    </a:lnTo>
                    <a:lnTo>
                      <a:pt x="44" y="182"/>
                    </a:lnTo>
                    <a:lnTo>
                      <a:pt x="37" y="193"/>
                    </a:lnTo>
                    <a:lnTo>
                      <a:pt x="24" y="200"/>
                    </a:lnTo>
                    <a:lnTo>
                      <a:pt x="13" y="204"/>
                    </a:lnTo>
                    <a:lnTo>
                      <a:pt x="0" y="204"/>
                    </a:lnTo>
                    <a:lnTo>
                      <a:pt x="17" y="241"/>
                    </a:lnTo>
                    <a:lnTo>
                      <a:pt x="31" y="260"/>
                    </a:lnTo>
                    <a:lnTo>
                      <a:pt x="44" y="260"/>
                    </a:lnTo>
                    <a:lnTo>
                      <a:pt x="57" y="260"/>
                    </a:lnTo>
                    <a:lnTo>
                      <a:pt x="61" y="269"/>
                    </a:lnTo>
                    <a:lnTo>
                      <a:pt x="48" y="278"/>
                    </a:lnTo>
                    <a:lnTo>
                      <a:pt x="48" y="290"/>
                    </a:lnTo>
                    <a:lnTo>
                      <a:pt x="57" y="308"/>
                    </a:lnTo>
                    <a:lnTo>
                      <a:pt x="68" y="323"/>
                    </a:lnTo>
                    <a:lnTo>
                      <a:pt x="76" y="330"/>
                    </a:lnTo>
                    <a:lnTo>
                      <a:pt x="80" y="319"/>
                    </a:lnTo>
                    <a:lnTo>
                      <a:pt x="91" y="317"/>
                    </a:lnTo>
                    <a:lnTo>
                      <a:pt x="104" y="328"/>
                    </a:lnTo>
                    <a:lnTo>
                      <a:pt x="107" y="319"/>
                    </a:lnTo>
                    <a:lnTo>
                      <a:pt x="128" y="321"/>
                    </a:lnTo>
                    <a:lnTo>
                      <a:pt x="159" y="325"/>
                    </a:lnTo>
                    <a:lnTo>
                      <a:pt x="181" y="332"/>
                    </a:lnTo>
                    <a:lnTo>
                      <a:pt x="190" y="341"/>
                    </a:lnTo>
                    <a:lnTo>
                      <a:pt x="200" y="354"/>
                    </a:lnTo>
                    <a:lnTo>
                      <a:pt x="207" y="362"/>
                    </a:lnTo>
                    <a:lnTo>
                      <a:pt x="216" y="354"/>
                    </a:lnTo>
                    <a:lnTo>
                      <a:pt x="229" y="353"/>
                    </a:lnTo>
                    <a:lnTo>
                      <a:pt x="248" y="366"/>
                    </a:lnTo>
                    <a:lnTo>
                      <a:pt x="271" y="386"/>
                    </a:lnTo>
                    <a:lnTo>
                      <a:pt x="277" y="382"/>
                    </a:lnTo>
                    <a:lnTo>
                      <a:pt x="278" y="367"/>
                    </a:lnTo>
                    <a:lnTo>
                      <a:pt x="278" y="351"/>
                    </a:lnTo>
                    <a:lnTo>
                      <a:pt x="277" y="336"/>
                    </a:lnTo>
                    <a:lnTo>
                      <a:pt x="266" y="319"/>
                    </a:lnTo>
                    <a:lnTo>
                      <a:pt x="259" y="323"/>
                    </a:lnTo>
                    <a:lnTo>
                      <a:pt x="242" y="315"/>
                    </a:lnTo>
                    <a:lnTo>
                      <a:pt x="215" y="295"/>
                    </a:lnTo>
                    <a:lnTo>
                      <a:pt x="207" y="288"/>
                    </a:lnTo>
                    <a:lnTo>
                      <a:pt x="189" y="286"/>
                    </a:lnTo>
                    <a:lnTo>
                      <a:pt x="179" y="280"/>
                    </a:lnTo>
                    <a:lnTo>
                      <a:pt x="179" y="273"/>
                    </a:lnTo>
                    <a:lnTo>
                      <a:pt x="190" y="262"/>
                    </a:lnTo>
                    <a:lnTo>
                      <a:pt x="194" y="258"/>
                    </a:lnTo>
                    <a:lnTo>
                      <a:pt x="187" y="249"/>
                    </a:lnTo>
                    <a:lnTo>
                      <a:pt x="183" y="236"/>
                    </a:lnTo>
                    <a:lnTo>
                      <a:pt x="187" y="230"/>
                    </a:lnTo>
                    <a:lnTo>
                      <a:pt x="202" y="245"/>
                    </a:lnTo>
                    <a:lnTo>
                      <a:pt x="215" y="251"/>
                    </a:lnTo>
                    <a:lnTo>
                      <a:pt x="215" y="238"/>
                    </a:lnTo>
                    <a:lnTo>
                      <a:pt x="207" y="223"/>
                    </a:lnTo>
                    <a:lnTo>
                      <a:pt x="190" y="202"/>
                    </a:lnTo>
                    <a:lnTo>
                      <a:pt x="172" y="174"/>
                    </a:lnTo>
                    <a:lnTo>
                      <a:pt x="170" y="160"/>
                    </a:lnTo>
                    <a:lnTo>
                      <a:pt x="168" y="147"/>
                    </a:lnTo>
                    <a:lnTo>
                      <a:pt x="165" y="134"/>
                    </a:lnTo>
                    <a:lnTo>
                      <a:pt x="163" y="121"/>
                    </a:lnTo>
                    <a:lnTo>
                      <a:pt x="176" y="117"/>
                    </a:lnTo>
                    <a:lnTo>
                      <a:pt x="174" y="126"/>
                    </a:lnTo>
                    <a:lnTo>
                      <a:pt x="185" y="139"/>
                    </a:lnTo>
                    <a:lnTo>
                      <a:pt x="192" y="139"/>
                    </a:lnTo>
                    <a:lnTo>
                      <a:pt x="190" y="147"/>
                    </a:lnTo>
                    <a:lnTo>
                      <a:pt x="226" y="182"/>
                    </a:lnTo>
                    <a:lnTo>
                      <a:pt x="227" y="176"/>
                    </a:lnTo>
                    <a:lnTo>
                      <a:pt x="220" y="160"/>
                    </a:lnTo>
                    <a:lnTo>
                      <a:pt x="231" y="156"/>
                    </a:lnTo>
                    <a:lnTo>
                      <a:pt x="248" y="163"/>
                    </a:lnTo>
                    <a:lnTo>
                      <a:pt x="257" y="176"/>
                    </a:lnTo>
                    <a:lnTo>
                      <a:pt x="259" y="167"/>
                    </a:lnTo>
                    <a:lnTo>
                      <a:pt x="246" y="152"/>
                    </a:lnTo>
                    <a:lnTo>
                      <a:pt x="248" y="145"/>
                    </a:lnTo>
                    <a:lnTo>
                      <a:pt x="257" y="141"/>
                    </a:lnTo>
                    <a:lnTo>
                      <a:pt x="282" y="152"/>
                    </a:lnTo>
                    <a:lnTo>
                      <a:pt x="288" y="148"/>
                    </a:lnTo>
                    <a:lnTo>
                      <a:pt x="286" y="137"/>
                    </a:lnTo>
                    <a:lnTo>
                      <a:pt x="275" y="130"/>
                    </a:lnTo>
                    <a:lnTo>
                      <a:pt x="257" y="122"/>
                    </a:lnTo>
                    <a:lnTo>
                      <a:pt x="246" y="113"/>
                    </a:lnTo>
                    <a:lnTo>
                      <a:pt x="244" y="106"/>
                    </a:lnTo>
                    <a:lnTo>
                      <a:pt x="248" y="98"/>
                    </a:lnTo>
                    <a:lnTo>
                      <a:pt x="273" y="95"/>
                    </a:lnTo>
                    <a:lnTo>
                      <a:pt x="299" y="87"/>
                    </a:lnTo>
                    <a:lnTo>
                      <a:pt x="317" y="89"/>
                    </a:lnTo>
                    <a:lnTo>
                      <a:pt x="350" y="82"/>
                    </a:lnTo>
                    <a:lnTo>
                      <a:pt x="356" y="78"/>
                    </a:lnTo>
                    <a:lnTo>
                      <a:pt x="378" y="87"/>
                    </a:lnTo>
                    <a:lnTo>
                      <a:pt x="397" y="97"/>
                    </a:lnTo>
                    <a:lnTo>
                      <a:pt x="406" y="76"/>
                    </a:lnTo>
                    <a:lnTo>
                      <a:pt x="423" y="54"/>
                    </a:lnTo>
                    <a:lnTo>
                      <a:pt x="428" y="48"/>
                    </a:lnTo>
                    <a:lnTo>
                      <a:pt x="430" y="9"/>
                    </a:lnTo>
                    <a:lnTo>
                      <a:pt x="428" y="6"/>
                    </a:lnTo>
                    <a:lnTo>
                      <a:pt x="419" y="0"/>
                    </a:lnTo>
                    <a:lnTo>
                      <a:pt x="408" y="0"/>
                    </a:lnTo>
                    <a:lnTo>
                      <a:pt x="402" y="6"/>
                    </a:lnTo>
                    <a:lnTo>
                      <a:pt x="402" y="20"/>
                    </a:lnTo>
                    <a:lnTo>
                      <a:pt x="404" y="32"/>
                    </a:lnTo>
                    <a:lnTo>
                      <a:pt x="389" y="35"/>
                    </a:lnTo>
                    <a:lnTo>
                      <a:pt x="378" y="43"/>
                    </a:lnTo>
                    <a:lnTo>
                      <a:pt x="371" y="45"/>
                    </a:lnTo>
                    <a:lnTo>
                      <a:pt x="347" y="39"/>
                    </a:lnTo>
                    <a:lnTo>
                      <a:pt x="338" y="33"/>
                    </a:lnTo>
                    <a:lnTo>
                      <a:pt x="325" y="41"/>
                    </a:lnTo>
                    <a:lnTo>
                      <a:pt x="306" y="20"/>
                    </a:lnTo>
                    <a:lnTo>
                      <a:pt x="286" y="35"/>
                    </a:lnTo>
                    <a:lnTo>
                      <a:pt x="271" y="45"/>
                    </a:lnTo>
                    <a:lnTo>
                      <a:pt x="255" y="52"/>
                    </a:lnTo>
                    <a:lnTo>
                      <a:pt x="231" y="56"/>
                    </a:lnTo>
                    <a:lnTo>
                      <a:pt x="215" y="61"/>
                    </a:lnTo>
                    <a:lnTo>
                      <a:pt x="202" y="61"/>
                    </a:lnTo>
                    <a:lnTo>
                      <a:pt x="196" y="63"/>
                    </a:lnTo>
                    <a:lnTo>
                      <a:pt x="183" y="78"/>
                    </a:lnTo>
                    <a:lnTo>
                      <a:pt x="172" y="78"/>
                    </a:lnTo>
                    <a:lnTo>
                      <a:pt x="153" y="82"/>
                    </a:lnTo>
                    <a:lnTo>
                      <a:pt x="135" y="80"/>
                    </a:lnTo>
                    <a:lnTo>
                      <a:pt x="126" y="97"/>
                    </a:lnTo>
                    <a:lnTo>
                      <a:pt x="111" y="98"/>
                    </a:lnTo>
                    <a:lnTo>
                      <a:pt x="98" y="97"/>
                    </a:lnTo>
                    <a:lnTo>
                      <a:pt x="87" y="95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  <p:sp>
            <p:nvSpPr>
              <p:cNvPr id="239" name="Freeform 62"/>
              <p:cNvSpPr>
                <a:spLocks/>
              </p:cNvSpPr>
              <p:nvPr/>
            </p:nvSpPr>
            <p:spPr bwMode="auto">
              <a:xfrm>
                <a:off x="2760" y="3718"/>
                <a:ext cx="107" cy="87"/>
              </a:xfrm>
              <a:custGeom>
                <a:avLst/>
                <a:gdLst>
                  <a:gd name="T0" fmla="*/ 9 w 107"/>
                  <a:gd name="T1" fmla="*/ 0 h 87"/>
                  <a:gd name="T2" fmla="*/ 0 w 107"/>
                  <a:gd name="T3" fmla="*/ 7 h 87"/>
                  <a:gd name="T4" fmla="*/ 11 w 107"/>
                  <a:gd name="T5" fmla="*/ 26 h 87"/>
                  <a:gd name="T6" fmla="*/ 24 w 107"/>
                  <a:gd name="T7" fmla="*/ 30 h 87"/>
                  <a:gd name="T8" fmla="*/ 39 w 107"/>
                  <a:gd name="T9" fmla="*/ 46 h 87"/>
                  <a:gd name="T10" fmla="*/ 52 w 107"/>
                  <a:gd name="T11" fmla="*/ 54 h 87"/>
                  <a:gd name="T12" fmla="*/ 74 w 107"/>
                  <a:gd name="T13" fmla="*/ 70 h 87"/>
                  <a:gd name="T14" fmla="*/ 87 w 107"/>
                  <a:gd name="T15" fmla="*/ 76 h 87"/>
                  <a:gd name="T16" fmla="*/ 103 w 107"/>
                  <a:gd name="T17" fmla="*/ 87 h 87"/>
                  <a:gd name="T18" fmla="*/ 107 w 107"/>
                  <a:gd name="T19" fmla="*/ 81 h 87"/>
                  <a:gd name="T20" fmla="*/ 74 w 107"/>
                  <a:gd name="T21" fmla="*/ 56 h 87"/>
                  <a:gd name="T22" fmla="*/ 72 w 107"/>
                  <a:gd name="T23" fmla="*/ 44 h 87"/>
                  <a:gd name="T24" fmla="*/ 68 w 107"/>
                  <a:gd name="T25" fmla="*/ 33 h 87"/>
                  <a:gd name="T26" fmla="*/ 54 w 107"/>
                  <a:gd name="T27" fmla="*/ 20 h 87"/>
                  <a:gd name="T28" fmla="*/ 50 w 107"/>
                  <a:gd name="T29" fmla="*/ 22 h 87"/>
                  <a:gd name="T30" fmla="*/ 32 w 107"/>
                  <a:gd name="T31" fmla="*/ 9 h 87"/>
                  <a:gd name="T32" fmla="*/ 22 w 107"/>
                  <a:gd name="T33" fmla="*/ 4 h 87"/>
                  <a:gd name="T34" fmla="*/ 9 w 107"/>
                  <a:gd name="T35" fmla="*/ 0 h 8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07"/>
                  <a:gd name="T55" fmla="*/ 0 h 87"/>
                  <a:gd name="T56" fmla="*/ 107 w 107"/>
                  <a:gd name="T57" fmla="*/ 87 h 8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07" h="87">
                    <a:moveTo>
                      <a:pt x="9" y="0"/>
                    </a:moveTo>
                    <a:lnTo>
                      <a:pt x="0" y="7"/>
                    </a:lnTo>
                    <a:lnTo>
                      <a:pt x="11" y="26"/>
                    </a:lnTo>
                    <a:lnTo>
                      <a:pt x="24" y="30"/>
                    </a:lnTo>
                    <a:lnTo>
                      <a:pt x="39" y="46"/>
                    </a:lnTo>
                    <a:lnTo>
                      <a:pt x="52" y="54"/>
                    </a:lnTo>
                    <a:lnTo>
                      <a:pt x="74" y="70"/>
                    </a:lnTo>
                    <a:lnTo>
                      <a:pt x="87" y="76"/>
                    </a:lnTo>
                    <a:lnTo>
                      <a:pt x="103" y="87"/>
                    </a:lnTo>
                    <a:lnTo>
                      <a:pt x="107" y="81"/>
                    </a:lnTo>
                    <a:lnTo>
                      <a:pt x="74" y="56"/>
                    </a:lnTo>
                    <a:lnTo>
                      <a:pt x="72" y="44"/>
                    </a:lnTo>
                    <a:lnTo>
                      <a:pt x="68" y="33"/>
                    </a:lnTo>
                    <a:lnTo>
                      <a:pt x="54" y="20"/>
                    </a:lnTo>
                    <a:lnTo>
                      <a:pt x="50" y="22"/>
                    </a:lnTo>
                    <a:lnTo>
                      <a:pt x="32" y="9"/>
                    </a:lnTo>
                    <a:lnTo>
                      <a:pt x="22" y="4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  <p:sp>
            <p:nvSpPr>
              <p:cNvPr id="240" name="Freeform 63"/>
              <p:cNvSpPr>
                <a:spLocks/>
              </p:cNvSpPr>
              <p:nvPr/>
            </p:nvSpPr>
            <p:spPr bwMode="auto">
              <a:xfrm>
                <a:off x="2794" y="4010"/>
                <a:ext cx="201" cy="54"/>
              </a:xfrm>
              <a:custGeom>
                <a:avLst/>
                <a:gdLst>
                  <a:gd name="T0" fmla="*/ 42 w 201"/>
                  <a:gd name="T1" fmla="*/ 11 h 54"/>
                  <a:gd name="T2" fmla="*/ 57 w 201"/>
                  <a:gd name="T3" fmla="*/ 4 h 54"/>
                  <a:gd name="T4" fmla="*/ 64 w 201"/>
                  <a:gd name="T5" fmla="*/ 11 h 54"/>
                  <a:gd name="T6" fmla="*/ 70 w 201"/>
                  <a:gd name="T7" fmla="*/ 13 h 54"/>
                  <a:gd name="T8" fmla="*/ 81 w 201"/>
                  <a:gd name="T9" fmla="*/ 7 h 54"/>
                  <a:gd name="T10" fmla="*/ 88 w 201"/>
                  <a:gd name="T11" fmla="*/ 4 h 54"/>
                  <a:gd name="T12" fmla="*/ 120 w 201"/>
                  <a:gd name="T13" fmla="*/ 7 h 54"/>
                  <a:gd name="T14" fmla="*/ 151 w 201"/>
                  <a:gd name="T15" fmla="*/ 6 h 54"/>
                  <a:gd name="T16" fmla="*/ 160 w 201"/>
                  <a:gd name="T17" fmla="*/ 15 h 54"/>
                  <a:gd name="T18" fmla="*/ 160 w 201"/>
                  <a:gd name="T19" fmla="*/ 20 h 54"/>
                  <a:gd name="T20" fmla="*/ 182 w 201"/>
                  <a:gd name="T21" fmla="*/ 17 h 54"/>
                  <a:gd name="T22" fmla="*/ 194 w 201"/>
                  <a:gd name="T23" fmla="*/ 19 h 54"/>
                  <a:gd name="T24" fmla="*/ 201 w 201"/>
                  <a:gd name="T25" fmla="*/ 26 h 54"/>
                  <a:gd name="T26" fmla="*/ 194 w 201"/>
                  <a:gd name="T27" fmla="*/ 35 h 54"/>
                  <a:gd name="T28" fmla="*/ 175 w 201"/>
                  <a:gd name="T29" fmla="*/ 34 h 54"/>
                  <a:gd name="T30" fmla="*/ 162 w 201"/>
                  <a:gd name="T31" fmla="*/ 41 h 54"/>
                  <a:gd name="T32" fmla="*/ 140 w 201"/>
                  <a:gd name="T33" fmla="*/ 41 h 54"/>
                  <a:gd name="T34" fmla="*/ 118 w 201"/>
                  <a:gd name="T35" fmla="*/ 50 h 54"/>
                  <a:gd name="T36" fmla="*/ 99 w 201"/>
                  <a:gd name="T37" fmla="*/ 54 h 54"/>
                  <a:gd name="T38" fmla="*/ 84 w 201"/>
                  <a:gd name="T39" fmla="*/ 45 h 54"/>
                  <a:gd name="T40" fmla="*/ 64 w 201"/>
                  <a:gd name="T41" fmla="*/ 34 h 54"/>
                  <a:gd name="T42" fmla="*/ 44 w 201"/>
                  <a:gd name="T43" fmla="*/ 34 h 54"/>
                  <a:gd name="T44" fmla="*/ 17 w 201"/>
                  <a:gd name="T45" fmla="*/ 28 h 54"/>
                  <a:gd name="T46" fmla="*/ 7 w 201"/>
                  <a:gd name="T47" fmla="*/ 20 h 54"/>
                  <a:gd name="T48" fmla="*/ 0 w 201"/>
                  <a:gd name="T49" fmla="*/ 6 h 54"/>
                  <a:gd name="T50" fmla="*/ 4 w 201"/>
                  <a:gd name="T51" fmla="*/ 0 h 54"/>
                  <a:gd name="T52" fmla="*/ 27 w 201"/>
                  <a:gd name="T53" fmla="*/ 4 h 54"/>
                  <a:gd name="T54" fmla="*/ 42 w 201"/>
                  <a:gd name="T55" fmla="*/ 11 h 5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201"/>
                  <a:gd name="T85" fmla="*/ 0 h 54"/>
                  <a:gd name="T86" fmla="*/ 201 w 201"/>
                  <a:gd name="T87" fmla="*/ 54 h 54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201" h="54">
                    <a:moveTo>
                      <a:pt x="42" y="11"/>
                    </a:moveTo>
                    <a:lnTo>
                      <a:pt x="57" y="4"/>
                    </a:lnTo>
                    <a:lnTo>
                      <a:pt x="64" y="11"/>
                    </a:lnTo>
                    <a:lnTo>
                      <a:pt x="70" y="13"/>
                    </a:lnTo>
                    <a:lnTo>
                      <a:pt x="81" y="7"/>
                    </a:lnTo>
                    <a:lnTo>
                      <a:pt x="88" y="4"/>
                    </a:lnTo>
                    <a:lnTo>
                      <a:pt x="120" y="7"/>
                    </a:lnTo>
                    <a:lnTo>
                      <a:pt x="151" y="6"/>
                    </a:lnTo>
                    <a:lnTo>
                      <a:pt x="160" y="15"/>
                    </a:lnTo>
                    <a:lnTo>
                      <a:pt x="160" y="20"/>
                    </a:lnTo>
                    <a:lnTo>
                      <a:pt x="182" y="17"/>
                    </a:lnTo>
                    <a:lnTo>
                      <a:pt x="194" y="19"/>
                    </a:lnTo>
                    <a:lnTo>
                      <a:pt x="201" y="26"/>
                    </a:lnTo>
                    <a:lnTo>
                      <a:pt x="194" y="35"/>
                    </a:lnTo>
                    <a:lnTo>
                      <a:pt x="175" y="34"/>
                    </a:lnTo>
                    <a:lnTo>
                      <a:pt x="162" y="41"/>
                    </a:lnTo>
                    <a:lnTo>
                      <a:pt x="140" y="41"/>
                    </a:lnTo>
                    <a:lnTo>
                      <a:pt x="118" y="50"/>
                    </a:lnTo>
                    <a:lnTo>
                      <a:pt x="99" y="54"/>
                    </a:lnTo>
                    <a:lnTo>
                      <a:pt x="84" y="45"/>
                    </a:lnTo>
                    <a:lnTo>
                      <a:pt x="64" y="34"/>
                    </a:lnTo>
                    <a:lnTo>
                      <a:pt x="44" y="34"/>
                    </a:lnTo>
                    <a:lnTo>
                      <a:pt x="17" y="28"/>
                    </a:lnTo>
                    <a:lnTo>
                      <a:pt x="7" y="20"/>
                    </a:lnTo>
                    <a:lnTo>
                      <a:pt x="0" y="6"/>
                    </a:lnTo>
                    <a:lnTo>
                      <a:pt x="4" y="0"/>
                    </a:lnTo>
                    <a:lnTo>
                      <a:pt x="27" y="4"/>
                    </a:lnTo>
                    <a:lnTo>
                      <a:pt x="42" y="11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  <p:sp>
            <p:nvSpPr>
              <p:cNvPr id="241" name="Freeform 64"/>
              <p:cNvSpPr>
                <a:spLocks/>
              </p:cNvSpPr>
              <p:nvPr/>
            </p:nvSpPr>
            <p:spPr bwMode="auto">
              <a:xfrm>
                <a:off x="2880" y="3615"/>
                <a:ext cx="30" cy="28"/>
              </a:xfrm>
              <a:custGeom>
                <a:avLst/>
                <a:gdLst>
                  <a:gd name="T0" fmla="*/ 30 w 30"/>
                  <a:gd name="T1" fmla="*/ 0 h 28"/>
                  <a:gd name="T2" fmla="*/ 11 w 30"/>
                  <a:gd name="T3" fmla="*/ 0 h 28"/>
                  <a:gd name="T4" fmla="*/ 2 w 30"/>
                  <a:gd name="T5" fmla="*/ 6 h 28"/>
                  <a:gd name="T6" fmla="*/ 0 w 30"/>
                  <a:gd name="T7" fmla="*/ 15 h 28"/>
                  <a:gd name="T8" fmla="*/ 0 w 30"/>
                  <a:gd name="T9" fmla="*/ 26 h 28"/>
                  <a:gd name="T10" fmla="*/ 9 w 30"/>
                  <a:gd name="T11" fmla="*/ 28 h 28"/>
                  <a:gd name="T12" fmla="*/ 26 w 30"/>
                  <a:gd name="T13" fmla="*/ 17 h 28"/>
                  <a:gd name="T14" fmla="*/ 30 w 30"/>
                  <a:gd name="T15" fmla="*/ 0 h 2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0"/>
                  <a:gd name="T25" fmla="*/ 0 h 28"/>
                  <a:gd name="T26" fmla="*/ 30 w 30"/>
                  <a:gd name="T27" fmla="*/ 28 h 2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0" h="28">
                    <a:moveTo>
                      <a:pt x="30" y="0"/>
                    </a:moveTo>
                    <a:lnTo>
                      <a:pt x="11" y="0"/>
                    </a:lnTo>
                    <a:lnTo>
                      <a:pt x="2" y="6"/>
                    </a:lnTo>
                    <a:lnTo>
                      <a:pt x="0" y="15"/>
                    </a:lnTo>
                    <a:lnTo>
                      <a:pt x="0" y="26"/>
                    </a:lnTo>
                    <a:lnTo>
                      <a:pt x="9" y="28"/>
                    </a:lnTo>
                    <a:lnTo>
                      <a:pt x="26" y="17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  <p:sp>
            <p:nvSpPr>
              <p:cNvPr id="242" name="Freeform 65"/>
              <p:cNvSpPr>
                <a:spLocks/>
              </p:cNvSpPr>
              <p:nvPr/>
            </p:nvSpPr>
            <p:spPr bwMode="auto">
              <a:xfrm>
                <a:off x="3084" y="3878"/>
                <a:ext cx="41" cy="22"/>
              </a:xfrm>
              <a:custGeom>
                <a:avLst/>
                <a:gdLst>
                  <a:gd name="T0" fmla="*/ 41 w 41"/>
                  <a:gd name="T1" fmla="*/ 6 h 22"/>
                  <a:gd name="T2" fmla="*/ 22 w 41"/>
                  <a:gd name="T3" fmla="*/ 22 h 22"/>
                  <a:gd name="T4" fmla="*/ 9 w 41"/>
                  <a:gd name="T5" fmla="*/ 22 h 22"/>
                  <a:gd name="T6" fmla="*/ 0 w 41"/>
                  <a:gd name="T7" fmla="*/ 15 h 22"/>
                  <a:gd name="T8" fmla="*/ 6 w 41"/>
                  <a:gd name="T9" fmla="*/ 2 h 22"/>
                  <a:gd name="T10" fmla="*/ 26 w 41"/>
                  <a:gd name="T11" fmla="*/ 0 h 22"/>
                  <a:gd name="T12" fmla="*/ 41 w 41"/>
                  <a:gd name="T13" fmla="*/ 6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1"/>
                  <a:gd name="T22" fmla="*/ 0 h 22"/>
                  <a:gd name="T23" fmla="*/ 41 w 41"/>
                  <a:gd name="T24" fmla="*/ 22 h 2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1" h="22">
                    <a:moveTo>
                      <a:pt x="41" y="6"/>
                    </a:moveTo>
                    <a:lnTo>
                      <a:pt x="22" y="22"/>
                    </a:lnTo>
                    <a:lnTo>
                      <a:pt x="9" y="22"/>
                    </a:lnTo>
                    <a:lnTo>
                      <a:pt x="0" y="15"/>
                    </a:lnTo>
                    <a:lnTo>
                      <a:pt x="6" y="2"/>
                    </a:lnTo>
                    <a:lnTo>
                      <a:pt x="26" y="0"/>
                    </a:lnTo>
                    <a:lnTo>
                      <a:pt x="41" y="6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  <p:sp>
            <p:nvSpPr>
              <p:cNvPr id="243" name="Freeform 66"/>
              <p:cNvSpPr>
                <a:spLocks/>
              </p:cNvSpPr>
              <p:nvPr/>
            </p:nvSpPr>
            <p:spPr bwMode="auto">
              <a:xfrm>
                <a:off x="3090" y="3928"/>
                <a:ext cx="42" cy="34"/>
              </a:xfrm>
              <a:custGeom>
                <a:avLst/>
                <a:gdLst>
                  <a:gd name="T0" fmla="*/ 42 w 42"/>
                  <a:gd name="T1" fmla="*/ 0 h 34"/>
                  <a:gd name="T2" fmla="*/ 42 w 42"/>
                  <a:gd name="T3" fmla="*/ 11 h 34"/>
                  <a:gd name="T4" fmla="*/ 16 w 42"/>
                  <a:gd name="T5" fmla="*/ 29 h 34"/>
                  <a:gd name="T6" fmla="*/ 5 w 42"/>
                  <a:gd name="T7" fmla="*/ 34 h 34"/>
                  <a:gd name="T8" fmla="*/ 0 w 42"/>
                  <a:gd name="T9" fmla="*/ 32 h 34"/>
                  <a:gd name="T10" fmla="*/ 4 w 42"/>
                  <a:gd name="T11" fmla="*/ 20 h 34"/>
                  <a:gd name="T12" fmla="*/ 22 w 42"/>
                  <a:gd name="T13" fmla="*/ 6 h 34"/>
                  <a:gd name="T14" fmla="*/ 42 w 42"/>
                  <a:gd name="T15" fmla="*/ 0 h 3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2"/>
                  <a:gd name="T25" fmla="*/ 0 h 34"/>
                  <a:gd name="T26" fmla="*/ 42 w 42"/>
                  <a:gd name="T27" fmla="*/ 34 h 3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2" h="34">
                    <a:moveTo>
                      <a:pt x="42" y="0"/>
                    </a:moveTo>
                    <a:lnTo>
                      <a:pt x="42" y="11"/>
                    </a:lnTo>
                    <a:lnTo>
                      <a:pt x="16" y="29"/>
                    </a:lnTo>
                    <a:lnTo>
                      <a:pt x="5" y="34"/>
                    </a:lnTo>
                    <a:lnTo>
                      <a:pt x="0" y="32"/>
                    </a:lnTo>
                    <a:lnTo>
                      <a:pt x="4" y="20"/>
                    </a:lnTo>
                    <a:lnTo>
                      <a:pt x="22" y="6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  <p:sp>
            <p:nvSpPr>
              <p:cNvPr id="244" name="Freeform 67"/>
              <p:cNvSpPr>
                <a:spLocks/>
              </p:cNvSpPr>
              <p:nvPr/>
            </p:nvSpPr>
            <p:spPr bwMode="auto">
              <a:xfrm>
                <a:off x="2936" y="3663"/>
                <a:ext cx="52" cy="37"/>
              </a:xfrm>
              <a:custGeom>
                <a:avLst/>
                <a:gdLst>
                  <a:gd name="T0" fmla="*/ 28 w 52"/>
                  <a:gd name="T1" fmla="*/ 0 h 37"/>
                  <a:gd name="T2" fmla="*/ 52 w 52"/>
                  <a:gd name="T3" fmla="*/ 26 h 37"/>
                  <a:gd name="T4" fmla="*/ 48 w 52"/>
                  <a:gd name="T5" fmla="*/ 33 h 37"/>
                  <a:gd name="T6" fmla="*/ 35 w 52"/>
                  <a:gd name="T7" fmla="*/ 37 h 37"/>
                  <a:gd name="T8" fmla="*/ 33 w 52"/>
                  <a:gd name="T9" fmla="*/ 28 h 37"/>
                  <a:gd name="T10" fmla="*/ 28 w 52"/>
                  <a:gd name="T11" fmla="*/ 24 h 37"/>
                  <a:gd name="T12" fmla="*/ 20 w 52"/>
                  <a:gd name="T13" fmla="*/ 28 h 37"/>
                  <a:gd name="T14" fmla="*/ 11 w 52"/>
                  <a:gd name="T15" fmla="*/ 22 h 37"/>
                  <a:gd name="T16" fmla="*/ 7 w 52"/>
                  <a:gd name="T17" fmla="*/ 17 h 37"/>
                  <a:gd name="T18" fmla="*/ 13 w 52"/>
                  <a:gd name="T19" fmla="*/ 13 h 37"/>
                  <a:gd name="T20" fmla="*/ 2 w 52"/>
                  <a:gd name="T21" fmla="*/ 19 h 37"/>
                  <a:gd name="T22" fmla="*/ 0 w 52"/>
                  <a:gd name="T23" fmla="*/ 13 h 37"/>
                  <a:gd name="T24" fmla="*/ 15 w 52"/>
                  <a:gd name="T25" fmla="*/ 7 h 37"/>
                  <a:gd name="T26" fmla="*/ 28 w 52"/>
                  <a:gd name="T27" fmla="*/ 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52"/>
                  <a:gd name="T43" fmla="*/ 0 h 37"/>
                  <a:gd name="T44" fmla="*/ 52 w 52"/>
                  <a:gd name="T45" fmla="*/ 37 h 3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52" h="37">
                    <a:moveTo>
                      <a:pt x="28" y="0"/>
                    </a:moveTo>
                    <a:lnTo>
                      <a:pt x="52" y="26"/>
                    </a:lnTo>
                    <a:lnTo>
                      <a:pt x="48" y="33"/>
                    </a:lnTo>
                    <a:lnTo>
                      <a:pt x="35" y="37"/>
                    </a:lnTo>
                    <a:lnTo>
                      <a:pt x="33" y="28"/>
                    </a:lnTo>
                    <a:lnTo>
                      <a:pt x="28" y="24"/>
                    </a:lnTo>
                    <a:lnTo>
                      <a:pt x="20" y="28"/>
                    </a:lnTo>
                    <a:lnTo>
                      <a:pt x="11" y="22"/>
                    </a:lnTo>
                    <a:lnTo>
                      <a:pt x="7" y="17"/>
                    </a:lnTo>
                    <a:lnTo>
                      <a:pt x="13" y="13"/>
                    </a:lnTo>
                    <a:lnTo>
                      <a:pt x="2" y="19"/>
                    </a:lnTo>
                    <a:lnTo>
                      <a:pt x="0" y="13"/>
                    </a:lnTo>
                    <a:lnTo>
                      <a:pt x="15" y="7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</p:grpSp>
        <p:grpSp>
          <p:nvGrpSpPr>
            <p:cNvPr id="220" name="Group 68"/>
            <p:cNvGrpSpPr>
              <a:grpSpLocks/>
            </p:cNvGrpSpPr>
            <p:nvPr/>
          </p:nvGrpSpPr>
          <p:grpSpPr bwMode="auto">
            <a:xfrm>
              <a:off x="3603311" y="3385504"/>
              <a:ext cx="1153790" cy="1432243"/>
              <a:chOff x="1086" y="2537"/>
              <a:chExt cx="764" cy="906"/>
            </a:xfrm>
            <a:grpFill/>
          </p:grpSpPr>
          <p:sp>
            <p:nvSpPr>
              <p:cNvPr id="234" name="Freeform 69"/>
              <p:cNvSpPr>
                <a:spLocks/>
              </p:cNvSpPr>
              <p:nvPr/>
            </p:nvSpPr>
            <p:spPr bwMode="auto">
              <a:xfrm>
                <a:off x="1782" y="3321"/>
                <a:ext cx="68" cy="122"/>
              </a:xfrm>
              <a:custGeom>
                <a:avLst/>
                <a:gdLst>
                  <a:gd name="T0" fmla="*/ 68 w 68"/>
                  <a:gd name="T1" fmla="*/ 0 h 122"/>
                  <a:gd name="T2" fmla="*/ 46 w 68"/>
                  <a:gd name="T3" fmla="*/ 26 h 122"/>
                  <a:gd name="T4" fmla="*/ 20 w 68"/>
                  <a:gd name="T5" fmla="*/ 26 h 122"/>
                  <a:gd name="T6" fmla="*/ 0 w 68"/>
                  <a:gd name="T7" fmla="*/ 41 h 122"/>
                  <a:gd name="T8" fmla="*/ 4 w 68"/>
                  <a:gd name="T9" fmla="*/ 62 h 122"/>
                  <a:gd name="T10" fmla="*/ 4 w 68"/>
                  <a:gd name="T11" fmla="*/ 96 h 122"/>
                  <a:gd name="T12" fmla="*/ 20 w 68"/>
                  <a:gd name="T13" fmla="*/ 122 h 122"/>
                  <a:gd name="T14" fmla="*/ 38 w 68"/>
                  <a:gd name="T15" fmla="*/ 115 h 122"/>
                  <a:gd name="T16" fmla="*/ 42 w 68"/>
                  <a:gd name="T17" fmla="*/ 100 h 122"/>
                  <a:gd name="T18" fmla="*/ 61 w 68"/>
                  <a:gd name="T19" fmla="*/ 66 h 122"/>
                  <a:gd name="T20" fmla="*/ 61 w 68"/>
                  <a:gd name="T21" fmla="*/ 48 h 122"/>
                  <a:gd name="T22" fmla="*/ 68 w 68"/>
                  <a:gd name="T23" fmla="*/ 0 h 1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68"/>
                  <a:gd name="T37" fmla="*/ 0 h 122"/>
                  <a:gd name="T38" fmla="*/ 68 w 68"/>
                  <a:gd name="T39" fmla="*/ 122 h 12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68" h="122">
                    <a:moveTo>
                      <a:pt x="68" y="0"/>
                    </a:moveTo>
                    <a:lnTo>
                      <a:pt x="46" y="26"/>
                    </a:lnTo>
                    <a:lnTo>
                      <a:pt x="20" y="26"/>
                    </a:lnTo>
                    <a:lnTo>
                      <a:pt x="0" y="41"/>
                    </a:lnTo>
                    <a:lnTo>
                      <a:pt x="4" y="62"/>
                    </a:lnTo>
                    <a:lnTo>
                      <a:pt x="4" y="96"/>
                    </a:lnTo>
                    <a:lnTo>
                      <a:pt x="20" y="122"/>
                    </a:lnTo>
                    <a:lnTo>
                      <a:pt x="38" y="115"/>
                    </a:lnTo>
                    <a:lnTo>
                      <a:pt x="42" y="100"/>
                    </a:lnTo>
                    <a:lnTo>
                      <a:pt x="61" y="66"/>
                    </a:lnTo>
                    <a:lnTo>
                      <a:pt x="61" y="48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  <p:sp>
            <p:nvSpPr>
              <p:cNvPr id="235" name="Freeform 70"/>
              <p:cNvSpPr>
                <a:spLocks/>
              </p:cNvSpPr>
              <p:nvPr/>
            </p:nvSpPr>
            <p:spPr bwMode="auto">
              <a:xfrm>
                <a:off x="1086" y="2537"/>
                <a:ext cx="764" cy="746"/>
              </a:xfrm>
              <a:custGeom>
                <a:avLst/>
                <a:gdLst>
                  <a:gd name="T0" fmla="*/ 11 w 764"/>
                  <a:gd name="T1" fmla="*/ 145 h 746"/>
                  <a:gd name="T2" fmla="*/ 13 w 764"/>
                  <a:gd name="T3" fmla="*/ 174 h 746"/>
                  <a:gd name="T4" fmla="*/ 74 w 764"/>
                  <a:gd name="T5" fmla="*/ 221 h 746"/>
                  <a:gd name="T6" fmla="*/ 122 w 764"/>
                  <a:gd name="T7" fmla="*/ 250 h 746"/>
                  <a:gd name="T8" fmla="*/ 117 w 764"/>
                  <a:gd name="T9" fmla="*/ 290 h 746"/>
                  <a:gd name="T10" fmla="*/ 145 w 764"/>
                  <a:gd name="T11" fmla="*/ 349 h 746"/>
                  <a:gd name="T12" fmla="*/ 158 w 764"/>
                  <a:gd name="T13" fmla="*/ 429 h 746"/>
                  <a:gd name="T14" fmla="*/ 132 w 764"/>
                  <a:gd name="T15" fmla="*/ 429 h 746"/>
                  <a:gd name="T16" fmla="*/ 115 w 764"/>
                  <a:gd name="T17" fmla="*/ 470 h 746"/>
                  <a:gd name="T18" fmla="*/ 98 w 764"/>
                  <a:gd name="T19" fmla="*/ 511 h 746"/>
                  <a:gd name="T20" fmla="*/ 57 w 764"/>
                  <a:gd name="T21" fmla="*/ 583 h 746"/>
                  <a:gd name="T22" fmla="*/ 59 w 764"/>
                  <a:gd name="T23" fmla="*/ 618 h 746"/>
                  <a:gd name="T24" fmla="*/ 161 w 764"/>
                  <a:gd name="T25" fmla="*/ 685 h 746"/>
                  <a:gd name="T26" fmla="*/ 249 w 764"/>
                  <a:gd name="T27" fmla="*/ 726 h 746"/>
                  <a:gd name="T28" fmla="*/ 325 w 764"/>
                  <a:gd name="T29" fmla="*/ 746 h 746"/>
                  <a:gd name="T30" fmla="*/ 353 w 764"/>
                  <a:gd name="T31" fmla="*/ 689 h 746"/>
                  <a:gd name="T32" fmla="*/ 422 w 764"/>
                  <a:gd name="T33" fmla="*/ 664 h 746"/>
                  <a:gd name="T34" fmla="*/ 472 w 764"/>
                  <a:gd name="T35" fmla="*/ 690 h 746"/>
                  <a:gd name="T36" fmla="*/ 541 w 764"/>
                  <a:gd name="T37" fmla="*/ 726 h 746"/>
                  <a:gd name="T38" fmla="*/ 604 w 764"/>
                  <a:gd name="T39" fmla="*/ 711 h 746"/>
                  <a:gd name="T40" fmla="*/ 650 w 764"/>
                  <a:gd name="T41" fmla="*/ 663 h 746"/>
                  <a:gd name="T42" fmla="*/ 622 w 764"/>
                  <a:gd name="T43" fmla="*/ 642 h 746"/>
                  <a:gd name="T44" fmla="*/ 617 w 764"/>
                  <a:gd name="T45" fmla="*/ 574 h 746"/>
                  <a:gd name="T46" fmla="*/ 635 w 764"/>
                  <a:gd name="T47" fmla="*/ 511 h 746"/>
                  <a:gd name="T48" fmla="*/ 635 w 764"/>
                  <a:gd name="T49" fmla="*/ 453 h 746"/>
                  <a:gd name="T50" fmla="*/ 602 w 764"/>
                  <a:gd name="T51" fmla="*/ 455 h 746"/>
                  <a:gd name="T52" fmla="*/ 587 w 764"/>
                  <a:gd name="T53" fmla="*/ 446 h 746"/>
                  <a:gd name="T54" fmla="*/ 622 w 764"/>
                  <a:gd name="T55" fmla="*/ 405 h 746"/>
                  <a:gd name="T56" fmla="*/ 676 w 764"/>
                  <a:gd name="T57" fmla="*/ 353 h 746"/>
                  <a:gd name="T58" fmla="*/ 705 w 764"/>
                  <a:gd name="T59" fmla="*/ 327 h 746"/>
                  <a:gd name="T60" fmla="*/ 727 w 764"/>
                  <a:gd name="T61" fmla="*/ 277 h 746"/>
                  <a:gd name="T62" fmla="*/ 764 w 764"/>
                  <a:gd name="T63" fmla="*/ 234 h 746"/>
                  <a:gd name="T64" fmla="*/ 720 w 764"/>
                  <a:gd name="T65" fmla="*/ 213 h 746"/>
                  <a:gd name="T66" fmla="*/ 667 w 764"/>
                  <a:gd name="T67" fmla="*/ 195 h 746"/>
                  <a:gd name="T68" fmla="*/ 631 w 764"/>
                  <a:gd name="T69" fmla="*/ 163 h 746"/>
                  <a:gd name="T70" fmla="*/ 581 w 764"/>
                  <a:gd name="T71" fmla="*/ 119 h 746"/>
                  <a:gd name="T72" fmla="*/ 539 w 764"/>
                  <a:gd name="T73" fmla="*/ 76 h 746"/>
                  <a:gd name="T74" fmla="*/ 509 w 764"/>
                  <a:gd name="T75" fmla="*/ 30 h 746"/>
                  <a:gd name="T76" fmla="*/ 444 w 764"/>
                  <a:gd name="T77" fmla="*/ 2 h 746"/>
                  <a:gd name="T78" fmla="*/ 416 w 764"/>
                  <a:gd name="T79" fmla="*/ 35 h 746"/>
                  <a:gd name="T80" fmla="*/ 318 w 764"/>
                  <a:gd name="T81" fmla="*/ 87 h 746"/>
                  <a:gd name="T82" fmla="*/ 266 w 764"/>
                  <a:gd name="T83" fmla="*/ 104 h 746"/>
                  <a:gd name="T84" fmla="*/ 220 w 764"/>
                  <a:gd name="T85" fmla="*/ 78 h 746"/>
                  <a:gd name="T86" fmla="*/ 199 w 764"/>
                  <a:gd name="T87" fmla="*/ 56 h 746"/>
                  <a:gd name="T88" fmla="*/ 205 w 764"/>
                  <a:gd name="T89" fmla="*/ 83 h 746"/>
                  <a:gd name="T90" fmla="*/ 198 w 764"/>
                  <a:gd name="T91" fmla="*/ 113 h 746"/>
                  <a:gd name="T92" fmla="*/ 182 w 764"/>
                  <a:gd name="T93" fmla="*/ 137 h 746"/>
                  <a:gd name="T94" fmla="*/ 141 w 764"/>
                  <a:gd name="T95" fmla="*/ 126 h 746"/>
                  <a:gd name="T96" fmla="*/ 93 w 764"/>
                  <a:gd name="T97" fmla="*/ 96 h 746"/>
                  <a:gd name="T98" fmla="*/ 59 w 764"/>
                  <a:gd name="T99" fmla="*/ 108 h 74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764"/>
                  <a:gd name="T151" fmla="*/ 0 h 746"/>
                  <a:gd name="T152" fmla="*/ 764 w 764"/>
                  <a:gd name="T153" fmla="*/ 746 h 74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764" h="746">
                    <a:moveTo>
                      <a:pt x="13" y="106"/>
                    </a:moveTo>
                    <a:lnTo>
                      <a:pt x="20" y="124"/>
                    </a:lnTo>
                    <a:lnTo>
                      <a:pt x="13" y="139"/>
                    </a:lnTo>
                    <a:lnTo>
                      <a:pt x="11" y="145"/>
                    </a:lnTo>
                    <a:lnTo>
                      <a:pt x="0" y="141"/>
                    </a:lnTo>
                    <a:lnTo>
                      <a:pt x="4" y="150"/>
                    </a:lnTo>
                    <a:lnTo>
                      <a:pt x="4" y="159"/>
                    </a:lnTo>
                    <a:lnTo>
                      <a:pt x="13" y="174"/>
                    </a:lnTo>
                    <a:lnTo>
                      <a:pt x="30" y="169"/>
                    </a:lnTo>
                    <a:lnTo>
                      <a:pt x="52" y="193"/>
                    </a:lnTo>
                    <a:lnTo>
                      <a:pt x="61" y="209"/>
                    </a:lnTo>
                    <a:lnTo>
                      <a:pt x="74" y="221"/>
                    </a:lnTo>
                    <a:lnTo>
                      <a:pt x="91" y="221"/>
                    </a:lnTo>
                    <a:lnTo>
                      <a:pt x="98" y="235"/>
                    </a:lnTo>
                    <a:lnTo>
                      <a:pt x="113" y="248"/>
                    </a:lnTo>
                    <a:lnTo>
                      <a:pt x="122" y="250"/>
                    </a:lnTo>
                    <a:lnTo>
                      <a:pt x="124" y="256"/>
                    </a:lnTo>
                    <a:lnTo>
                      <a:pt x="119" y="268"/>
                    </a:lnTo>
                    <a:lnTo>
                      <a:pt x="119" y="279"/>
                    </a:lnTo>
                    <a:lnTo>
                      <a:pt x="117" y="290"/>
                    </a:lnTo>
                    <a:lnTo>
                      <a:pt x="113" y="309"/>
                    </a:lnTo>
                    <a:lnTo>
                      <a:pt x="128" y="327"/>
                    </a:lnTo>
                    <a:lnTo>
                      <a:pt x="145" y="340"/>
                    </a:lnTo>
                    <a:lnTo>
                      <a:pt x="145" y="349"/>
                    </a:lnTo>
                    <a:lnTo>
                      <a:pt x="143" y="381"/>
                    </a:lnTo>
                    <a:lnTo>
                      <a:pt x="139" y="407"/>
                    </a:lnTo>
                    <a:lnTo>
                      <a:pt x="143" y="418"/>
                    </a:lnTo>
                    <a:lnTo>
                      <a:pt x="158" y="429"/>
                    </a:lnTo>
                    <a:lnTo>
                      <a:pt x="158" y="451"/>
                    </a:lnTo>
                    <a:lnTo>
                      <a:pt x="158" y="466"/>
                    </a:lnTo>
                    <a:lnTo>
                      <a:pt x="141" y="444"/>
                    </a:lnTo>
                    <a:lnTo>
                      <a:pt x="132" y="429"/>
                    </a:lnTo>
                    <a:lnTo>
                      <a:pt x="126" y="433"/>
                    </a:lnTo>
                    <a:lnTo>
                      <a:pt x="130" y="444"/>
                    </a:lnTo>
                    <a:lnTo>
                      <a:pt x="124" y="457"/>
                    </a:lnTo>
                    <a:lnTo>
                      <a:pt x="115" y="470"/>
                    </a:lnTo>
                    <a:lnTo>
                      <a:pt x="109" y="479"/>
                    </a:lnTo>
                    <a:lnTo>
                      <a:pt x="117" y="488"/>
                    </a:lnTo>
                    <a:lnTo>
                      <a:pt x="111" y="498"/>
                    </a:lnTo>
                    <a:lnTo>
                      <a:pt x="98" y="511"/>
                    </a:lnTo>
                    <a:lnTo>
                      <a:pt x="96" y="522"/>
                    </a:lnTo>
                    <a:lnTo>
                      <a:pt x="89" y="535"/>
                    </a:lnTo>
                    <a:lnTo>
                      <a:pt x="69" y="559"/>
                    </a:lnTo>
                    <a:lnTo>
                      <a:pt x="57" y="583"/>
                    </a:lnTo>
                    <a:lnTo>
                      <a:pt x="57" y="587"/>
                    </a:lnTo>
                    <a:lnTo>
                      <a:pt x="63" y="594"/>
                    </a:lnTo>
                    <a:lnTo>
                      <a:pt x="56" y="605"/>
                    </a:lnTo>
                    <a:lnTo>
                      <a:pt x="59" y="618"/>
                    </a:lnTo>
                    <a:lnTo>
                      <a:pt x="70" y="635"/>
                    </a:lnTo>
                    <a:lnTo>
                      <a:pt x="117" y="661"/>
                    </a:lnTo>
                    <a:lnTo>
                      <a:pt x="150" y="689"/>
                    </a:lnTo>
                    <a:lnTo>
                      <a:pt x="161" y="685"/>
                    </a:lnTo>
                    <a:lnTo>
                      <a:pt x="178" y="679"/>
                    </a:lnTo>
                    <a:lnTo>
                      <a:pt x="236" y="703"/>
                    </a:lnTo>
                    <a:lnTo>
                      <a:pt x="244" y="711"/>
                    </a:lnTo>
                    <a:lnTo>
                      <a:pt x="249" y="726"/>
                    </a:lnTo>
                    <a:lnTo>
                      <a:pt x="259" y="731"/>
                    </a:lnTo>
                    <a:lnTo>
                      <a:pt x="272" y="733"/>
                    </a:lnTo>
                    <a:lnTo>
                      <a:pt x="292" y="744"/>
                    </a:lnTo>
                    <a:lnTo>
                      <a:pt x="325" y="746"/>
                    </a:lnTo>
                    <a:lnTo>
                      <a:pt x="335" y="733"/>
                    </a:lnTo>
                    <a:lnTo>
                      <a:pt x="338" y="718"/>
                    </a:lnTo>
                    <a:lnTo>
                      <a:pt x="338" y="702"/>
                    </a:lnTo>
                    <a:lnTo>
                      <a:pt x="353" y="689"/>
                    </a:lnTo>
                    <a:lnTo>
                      <a:pt x="381" y="674"/>
                    </a:lnTo>
                    <a:lnTo>
                      <a:pt x="394" y="672"/>
                    </a:lnTo>
                    <a:lnTo>
                      <a:pt x="409" y="664"/>
                    </a:lnTo>
                    <a:lnTo>
                      <a:pt x="422" y="664"/>
                    </a:lnTo>
                    <a:lnTo>
                      <a:pt x="437" y="674"/>
                    </a:lnTo>
                    <a:lnTo>
                      <a:pt x="448" y="687"/>
                    </a:lnTo>
                    <a:lnTo>
                      <a:pt x="461" y="687"/>
                    </a:lnTo>
                    <a:lnTo>
                      <a:pt x="472" y="690"/>
                    </a:lnTo>
                    <a:lnTo>
                      <a:pt x="494" y="692"/>
                    </a:lnTo>
                    <a:lnTo>
                      <a:pt x="509" y="711"/>
                    </a:lnTo>
                    <a:lnTo>
                      <a:pt x="522" y="720"/>
                    </a:lnTo>
                    <a:lnTo>
                      <a:pt x="541" y="726"/>
                    </a:lnTo>
                    <a:lnTo>
                      <a:pt x="557" y="735"/>
                    </a:lnTo>
                    <a:lnTo>
                      <a:pt x="566" y="737"/>
                    </a:lnTo>
                    <a:lnTo>
                      <a:pt x="589" y="714"/>
                    </a:lnTo>
                    <a:lnTo>
                      <a:pt x="604" y="711"/>
                    </a:lnTo>
                    <a:lnTo>
                      <a:pt x="615" y="702"/>
                    </a:lnTo>
                    <a:lnTo>
                      <a:pt x="631" y="690"/>
                    </a:lnTo>
                    <a:lnTo>
                      <a:pt x="652" y="689"/>
                    </a:lnTo>
                    <a:lnTo>
                      <a:pt x="650" y="663"/>
                    </a:lnTo>
                    <a:lnTo>
                      <a:pt x="646" y="655"/>
                    </a:lnTo>
                    <a:lnTo>
                      <a:pt x="637" y="642"/>
                    </a:lnTo>
                    <a:lnTo>
                      <a:pt x="630" y="644"/>
                    </a:lnTo>
                    <a:lnTo>
                      <a:pt x="622" y="642"/>
                    </a:lnTo>
                    <a:lnTo>
                      <a:pt x="615" y="631"/>
                    </a:lnTo>
                    <a:lnTo>
                      <a:pt x="613" y="605"/>
                    </a:lnTo>
                    <a:lnTo>
                      <a:pt x="628" y="588"/>
                    </a:lnTo>
                    <a:lnTo>
                      <a:pt x="617" y="574"/>
                    </a:lnTo>
                    <a:lnTo>
                      <a:pt x="617" y="568"/>
                    </a:lnTo>
                    <a:lnTo>
                      <a:pt x="639" y="546"/>
                    </a:lnTo>
                    <a:lnTo>
                      <a:pt x="639" y="538"/>
                    </a:lnTo>
                    <a:lnTo>
                      <a:pt x="635" y="511"/>
                    </a:lnTo>
                    <a:lnTo>
                      <a:pt x="648" y="498"/>
                    </a:lnTo>
                    <a:lnTo>
                      <a:pt x="637" y="483"/>
                    </a:lnTo>
                    <a:lnTo>
                      <a:pt x="637" y="472"/>
                    </a:lnTo>
                    <a:lnTo>
                      <a:pt x="635" y="453"/>
                    </a:lnTo>
                    <a:lnTo>
                      <a:pt x="630" y="448"/>
                    </a:lnTo>
                    <a:lnTo>
                      <a:pt x="617" y="448"/>
                    </a:lnTo>
                    <a:lnTo>
                      <a:pt x="605" y="451"/>
                    </a:lnTo>
                    <a:lnTo>
                      <a:pt x="602" y="455"/>
                    </a:lnTo>
                    <a:lnTo>
                      <a:pt x="594" y="462"/>
                    </a:lnTo>
                    <a:lnTo>
                      <a:pt x="583" y="466"/>
                    </a:lnTo>
                    <a:lnTo>
                      <a:pt x="579" y="455"/>
                    </a:lnTo>
                    <a:lnTo>
                      <a:pt x="587" y="446"/>
                    </a:lnTo>
                    <a:lnTo>
                      <a:pt x="591" y="438"/>
                    </a:lnTo>
                    <a:lnTo>
                      <a:pt x="591" y="429"/>
                    </a:lnTo>
                    <a:lnTo>
                      <a:pt x="611" y="409"/>
                    </a:lnTo>
                    <a:lnTo>
                      <a:pt x="622" y="405"/>
                    </a:lnTo>
                    <a:lnTo>
                      <a:pt x="624" y="390"/>
                    </a:lnTo>
                    <a:lnTo>
                      <a:pt x="635" y="377"/>
                    </a:lnTo>
                    <a:lnTo>
                      <a:pt x="667" y="353"/>
                    </a:lnTo>
                    <a:lnTo>
                      <a:pt x="676" y="353"/>
                    </a:lnTo>
                    <a:lnTo>
                      <a:pt x="680" y="344"/>
                    </a:lnTo>
                    <a:lnTo>
                      <a:pt x="691" y="333"/>
                    </a:lnTo>
                    <a:lnTo>
                      <a:pt x="700" y="333"/>
                    </a:lnTo>
                    <a:lnTo>
                      <a:pt x="705" y="327"/>
                    </a:lnTo>
                    <a:lnTo>
                      <a:pt x="710" y="323"/>
                    </a:lnTo>
                    <a:lnTo>
                      <a:pt x="718" y="310"/>
                    </a:lnTo>
                    <a:lnTo>
                      <a:pt x="725" y="290"/>
                    </a:lnTo>
                    <a:lnTo>
                      <a:pt x="727" y="277"/>
                    </a:lnTo>
                    <a:lnTo>
                      <a:pt x="727" y="266"/>
                    </a:lnTo>
                    <a:lnTo>
                      <a:pt x="738" y="252"/>
                    </a:lnTo>
                    <a:lnTo>
                      <a:pt x="755" y="243"/>
                    </a:lnTo>
                    <a:lnTo>
                      <a:pt x="764" y="234"/>
                    </a:lnTo>
                    <a:lnTo>
                      <a:pt x="764" y="230"/>
                    </a:lnTo>
                    <a:lnTo>
                      <a:pt x="749" y="219"/>
                    </a:lnTo>
                    <a:lnTo>
                      <a:pt x="742" y="215"/>
                    </a:lnTo>
                    <a:lnTo>
                      <a:pt x="720" y="213"/>
                    </a:lnTo>
                    <a:lnTo>
                      <a:pt x="694" y="209"/>
                    </a:lnTo>
                    <a:lnTo>
                      <a:pt x="685" y="208"/>
                    </a:lnTo>
                    <a:lnTo>
                      <a:pt x="676" y="204"/>
                    </a:lnTo>
                    <a:lnTo>
                      <a:pt x="667" y="195"/>
                    </a:lnTo>
                    <a:lnTo>
                      <a:pt x="659" y="180"/>
                    </a:lnTo>
                    <a:lnTo>
                      <a:pt x="652" y="171"/>
                    </a:lnTo>
                    <a:lnTo>
                      <a:pt x="642" y="167"/>
                    </a:lnTo>
                    <a:lnTo>
                      <a:pt x="631" y="163"/>
                    </a:lnTo>
                    <a:lnTo>
                      <a:pt x="626" y="161"/>
                    </a:lnTo>
                    <a:lnTo>
                      <a:pt x="611" y="148"/>
                    </a:lnTo>
                    <a:lnTo>
                      <a:pt x="592" y="133"/>
                    </a:lnTo>
                    <a:lnTo>
                      <a:pt x="581" y="119"/>
                    </a:lnTo>
                    <a:lnTo>
                      <a:pt x="568" y="115"/>
                    </a:lnTo>
                    <a:lnTo>
                      <a:pt x="561" y="109"/>
                    </a:lnTo>
                    <a:lnTo>
                      <a:pt x="555" y="95"/>
                    </a:lnTo>
                    <a:lnTo>
                      <a:pt x="539" y="76"/>
                    </a:lnTo>
                    <a:lnTo>
                      <a:pt x="535" y="63"/>
                    </a:lnTo>
                    <a:lnTo>
                      <a:pt x="522" y="50"/>
                    </a:lnTo>
                    <a:lnTo>
                      <a:pt x="516" y="39"/>
                    </a:lnTo>
                    <a:lnTo>
                      <a:pt x="509" y="30"/>
                    </a:lnTo>
                    <a:lnTo>
                      <a:pt x="496" y="20"/>
                    </a:lnTo>
                    <a:lnTo>
                      <a:pt x="483" y="6"/>
                    </a:lnTo>
                    <a:lnTo>
                      <a:pt x="472" y="0"/>
                    </a:lnTo>
                    <a:lnTo>
                      <a:pt x="444" y="2"/>
                    </a:lnTo>
                    <a:lnTo>
                      <a:pt x="433" y="2"/>
                    </a:lnTo>
                    <a:lnTo>
                      <a:pt x="418" y="13"/>
                    </a:lnTo>
                    <a:lnTo>
                      <a:pt x="427" y="22"/>
                    </a:lnTo>
                    <a:lnTo>
                      <a:pt x="416" y="35"/>
                    </a:lnTo>
                    <a:lnTo>
                      <a:pt x="388" y="70"/>
                    </a:lnTo>
                    <a:lnTo>
                      <a:pt x="374" y="78"/>
                    </a:lnTo>
                    <a:lnTo>
                      <a:pt x="335" y="82"/>
                    </a:lnTo>
                    <a:lnTo>
                      <a:pt x="318" y="87"/>
                    </a:lnTo>
                    <a:lnTo>
                      <a:pt x="309" y="96"/>
                    </a:lnTo>
                    <a:lnTo>
                      <a:pt x="305" y="104"/>
                    </a:lnTo>
                    <a:lnTo>
                      <a:pt x="290" y="100"/>
                    </a:lnTo>
                    <a:lnTo>
                      <a:pt x="266" y="104"/>
                    </a:lnTo>
                    <a:lnTo>
                      <a:pt x="251" y="102"/>
                    </a:lnTo>
                    <a:lnTo>
                      <a:pt x="238" y="93"/>
                    </a:lnTo>
                    <a:lnTo>
                      <a:pt x="229" y="82"/>
                    </a:lnTo>
                    <a:lnTo>
                      <a:pt x="220" y="78"/>
                    </a:lnTo>
                    <a:lnTo>
                      <a:pt x="227" y="69"/>
                    </a:lnTo>
                    <a:lnTo>
                      <a:pt x="216" y="59"/>
                    </a:lnTo>
                    <a:lnTo>
                      <a:pt x="207" y="57"/>
                    </a:lnTo>
                    <a:lnTo>
                      <a:pt x="199" y="56"/>
                    </a:lnTo>
                    <a:lnTo>
                      <a:pt x="198" y="59"/>
                    </a:lnTo>
                    <a:lnTo>
                      <a:pt x="205" y="67"/>
                    </a:lnTo>
                    <a:lnTo>
                      <a:pt x="201" y="72"/>
                    </a:lnTo>
                    <a:lnTo>
                      <a:pt x="205" y="83"/>
                    </a:lnTo>
                    <a:lnTo>
                      <a:pt x="207" y="96"/>
                    </a:lnTo>
                    <a:lnTo>
                      <a:pt x="207" y="106"/>
                    </a:lnTo>
                    <a:lnTo>
                      <a:pt x="205" y="108"/>
                    </a:lnTo>
                    <a:lnTo>
                      <a:pt x="198" y="113"/>
                    </a:lnTo>
                    <a:lnTo>
                      <a:pt x="196" y="122"/>
                    </a:lnTo>
                    <a:lnTo>
                      <a:pt x="196" y="132"/>
                    </a:lnTo>
                    <a:lnTo>
                      <a:pt x="194" y="139"/>
                    </a:lnTo>
                    <a:lnTo>
                      <a:pt x="182" y="137"/>
                    </a:lnTo>
                    <a:lnTo>
                      <a:pt x="169" y="130"/>
                    </a:lnTo>
                    <a:lnTo>
                      <a:pt x="161" y="137"/>
                    </a:lnTo>
                    <a:lnTo>
                      <a:pt x="148" y="128"/>
                    </a:lnTo>
                    <a:lnTo>
                      <a:pt x="141" y="126"/>
                    </a:lnTo>
                    <a:lnTo>
                      <a:pt x="132" y="133"/>
                    </a:lnTo>
                    <a:lnTo>
                      <a:pt x="124" y="132"/>
                    </a:lnTo>
                    <a:lnTo>
                      <a:pt x="124" y="126"/>
                    </a:lnTo>
                    <a:lnTo>
                      <a:pt x="93" y="96"/>
                    </a:lnTo>
                    <a:lnTo>
                      <a:pt x="85" y="95"/>
                    </a:lnTo>
                    <a:lnTo>
                      <a:pt x="80" y="100"/>
                    </a:lnTo>
                    <a:lnTo>
                      <a:pt x="67" y="106"/>
                    </a:lnTo>
                    <a:lnTo>
                      <a:pt x="59" y="108"/>
                    </a:lnTo>
                    <a:lnTo>
                      <a:pt x="50" y="98"/>
                    </a:lnTo>
                    <a:lnTo>
                      <a:pt x="28" y="98"/>
                    </a:lnTo>
                    <a:lnTo>
                      <a:pt x="13" y="106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</p:grpSp>
        <p:grpSp>
          <p:nvGrpSpPr>
            <p:cNvPr id="221" name="Group 72"/>
            <p:cNvGrpSpPr>
              <a:grpSpLocks/>
            </p:cNvGrpSpPr>
            <p:nvPr/>
          </p:nvGrpSpPr>
          <p:grpSpPr bwMode="auto">
            <a:xfrm>
              <a:off x="3615392" y="2182483"/>
              <a:ext cx="682609" cy="1191955"/>
              <a:chOff x="1094" y="1776"/>
              <a:chExt cx="452" cy="754"/>
            </a:xfrm>
            <a:grpFill/>
          </p:grpSpPr>
          <p:sp>
            <p:nvSpPr>
              <p:cNvPr id="228" name="Freeform 73"/>
              <p:cNvSpPr>
                <a:spLocks/>
              </p:cNvSpPr>
              <p:nvPr/>
            </p:nvSpPr>
            <p:spPr bwMode="auto">
              <a:xfrm>
                <a:off x="1094" y="1785"/>
                <a:ext cx="452" cy="745"/>
              </a:xfrm>
              <a:custGeom>
                <a:avLst/>
                <a:gdLst>
                  <a:gd name="T0" fmla="*/ 147 w 452"/>
                  <a:gd name="T1" fmla="*/ 515 h 745"/>
                  <a:gd name="T2" fmla="*/ 97 w 452"/>
                  <a:gd name="T3" fmla="*/ 549 h 745"/>
                  <a:gd name="T4" fmla="*/ 84 w 452"/>
                  <a:gd name="T5" fmla="*/ 580 h 745"/>
                  <a:gd name="T6" fmla="*/ 113 w 452"/>
                  <a:gd name="T7" fmla="*/ 597 h 745"/>
                  <a:gd name="T8" fmla="*/ 137 w 452"/>
                  <a:gd name="T9" fmla="*/ 608 h 745"/>
                  <a:gd name="T10" fmla="*/ 181 w 452"/>
                  <a:gd name="T11" fmla="*/ 617 h 745"/>
                  <a:gd name="T12" fmla="*/ 152 w 452"/>
                  <a:gd name="T13" fmla="*/ 651 h 745"/>
                  <a:gd name="T14" fmla="*/ 87 w 452"/>
                  <a:gd name="T15" fmla="*/ 632 h 745"/>
                  <a:gd name="T16" fmla="*/ 41 w 452"/>
                  <a:gd name="T17" fmla="*/ 671 h 745"/>
                  <a:gd name="T18" fmla="*/ 2 w 452"/>
                  <a:gd name="T19" fmla="*/ 691 h 745"/>
                  <a:gd name="T20" fmla="*/ 22 w 452"/>
                  <a:gd name="T21" fmla="*/ 708 h 745"/>
                  <a:gd name="T22" fmla="*/ 59 w 452"/>
                  <a:gd name="T23" fmla="*/ 702 h 745"/>
                  <a:gd name="T24" fmla="*/ 110 w 452"/>
                  <a:gd name="T25" fmla="*/ 723 h 745"/>
                  <a:gd name="T26" fmla="*/ 148 w 452"/>
                  <a:gd name="T27" fmla="*/ 689 h 745"/>
                  <a:gd name="T28" fmla="*/ 183 w 452"/>
                  <a:gd name="T29" fmla="*/ 710 h 745"/>
                  <a:gd name="T30" fmla="*/ 231 w 452"/>
                  <a:gd name="T31" fmla="*/ 717 h 745"/>
                  <a:gd name="T32" fmla="*/ 266 w 452"/>
                  <a:gd name="T33" fmla="*/ 714 h 745"/>
                  <a:gd name="T34" fmla="*/ 315 w 452"/>
                  <a:gd name="T35" fmla="*/ 734 h 745"/>
                  <a:gd name="T36" fmla="*/ 357 w 452"/>
                  <a:gd name="T37" fmla="*/ 738 h 745"/>
                  <a:gd name="T38" fmla="*/ 398 w 452"/>
                  <a:gd name="T39" fmla="*/ 723 h 745"/>
                  <a:gd name="T40" fmla="*/ 381 w 452"/>
                  <a:gd name="T41" fmla="*/ 689 h 745"/>
                  <a:gd name="T42" fmla="*/ 383 w 452"/>
                  <a:gd name="T43" fmla="*/ 667 h 745"/>
                  <a:gd name="T44" fmla="*/ 437 w 452"/>
                  <a:gd name="T45" fmla="*/ 632 h 745"/>
                  <a:gd name="T46" fmla="*/ 452 w 452"/>
                  <a:gd name="T47" fmla="*/ 584 h 745"/>
                  <a:gd name="T48" fmla="*/ 413 w 452"/>
                  <a:gd name="T49" fmla="*/ 558 h 745"/>
                  <a:gd name="T50" fmla="*/ 385 w 452"/>
                  <a:gd name="T51" fmla="*/ 556 h 745"/>
                  <a:gd name="T52" fmla="*/ 394 w 452"/>
                  <a:gd name="T53" fmla="*/ 510 h 745"/>
                  <a:gd name="T54" fmla="*/ 394 w 452"/>
                  <a:gd name="T55" fmla="*/ 447 h 745"/>
                  <a:gd name="T56" fmla="*/ 354 w 452"/>
                  <a:gd name="T57" fmla="*/ 374 h 745"/>
                  <a:gd name="T58" fmla="*/ 354 w 452"/>
                  <a:gd name="T59" fmla="*/ 317 h 745"/>
                  <a:gd name="T60" fmla="*/ 341 w 452"/>
                  <a:gd name="T61" fmla="*/ 272 h 745"/>
                  <a:gd name="T62" fmla="*/ 298 w 452"/>
                  <a:gd name="T63" fmla="*/ 248 h 745"/>
                  <a:gd name="T64" fmla="*/ 294 w 452"/>
                  <a:gd name="T65" fmla="*/ 230 h 745"/>
                  <a:gd name="T66" fmla="*/ 331 w 452"/>
                  <a:gd name="T67" fmla="*/ 235 h 745"/>
                  <a:gd name="T68" fmla="*/ 389 w 452"/>
                  <a:gd name="T69" fmla="*/ 165 h 745"/>
                  <a:gd name="T70" fmla="*/ 385 w 452"/>
                  <a:gd name="T71" fmla="*/ 120 h 745"/>
                  <a:gd name="T72" fmla="*/ 331 w 452"/>
                  <a:gd name="T73" fmla="*/ 98 h 745"/>
                  <a:gd name="T74" fmla="*/ 302 w 452"/>
                  <a:gd name="T75" fmla="*/ 100 h 745"/>
                  <a:gd name="T76" fmla="*/ 318 w 452"/>
                  <a:gd name="T77" fmla="*/ 72 h 745"/>
                  <a:gd name="T78" fmla="*/ 376 w 452"/>
                  <a:gd name="T79" fmla="*/ 37 h 745"/>
                  <a:gd name="T80" fmla="*/ 339 w 452"/>
                  <a:gd name="T81" fmla="*/ 13 h 745"/>
                  <a:gd name="T82" fmla="*/ 278 w 452"/>
                  <a:gd name="T83" fmla="*/ 22 h 745"/>
                  <a:gd name="T84" fmla="*/ 250 w 452"/>
                  <a:gd name="T85" fmla="*/ 48 h 745"/>
                  <a:gd name="T86" fmla="*/ 231 w 452"/>
                  <a:gd name="T87" fmla="*/ 83 h 745"/>
                  <a:gd name="T88" fmla="*/ 183 w 452"/>
                  <a:gd name="T89" fmla="*/ 143 h 745"/>
                  <a:gd name="T90" fmla="*/ 214 w 452"/>
                  <a:gd name="T91" fmla="*/ 155 h 745"/>
                  <a:gd name="T92" fmla="*/ 169 w 452"/>
                  <a:gd name="T93" fmla="*/ 230 h 745"/>
                  <a:gd name="T94" fmla="*/ 185 w 452"/>
                  <a:gd name="T95" fmla="*/ 241 h 745"/>
                  <a:gd name="T96" fmla="*/ 213 w 452"/>
                  <a:gd name="T97" fmla="*/ 257 h 745"/>
                  <a:gd name="T98" fmla="*/ 181 w 452"/>
                  <a:gd name="T99" fmla="*/ 302 h 745"/>
                  <a:gd name="T100" fmla="*/ 226 w 452"/>
                  <a:gd name="T101" fmla="*/ 331 h 745"/>
                  <a:gd name="T102" fmla="*/ 253 w 452"/>
                  <a:gd name="T103" fmla="*/ 341 h 745"/>
                  <a:gd name="T104" fmla="*/ 244 w 452"/>
                  <a:gd name="T105" fmla="*/ 405 h 745"/>
                  <a:gd name="T106" fmla="*/ 242 w 452"/>
                  <a:gd name="T107" fmla="*/ 449 h 745"/>
                  <a:gd name="T108" fmla="*/ 222 w 452"/>
                  <a:gd name="T109" fmla="*/ 469 h 74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52"/>
                  <a:gd name="T166" fmla="*/ 0 h 745"/>
                  <a:gd name="T167" fmla="*/ 452 w 452"/>
                  <a:gd name="T168" fmla="*/ 745 h 74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52" h="745">
                    <a:moveTo>
                      <a:pt x="135" y="478"/>
                    </a:moveTo>
                    <a:lnTo>
                      <a:pt x="156" y="497"/>
                    </a:lnTo>
                    <a:lnTo>
                      <a:pt x="147" y="515"/>
                    </a:lnTo>
                    <a:lnTo>
                      <a:pt x="134" y="530"/>
                    </a:lnTo>
                    <a:lnTo>
                      <a:pt x="113" y="540"/>
                    </a:lnTo>
                    <a:lnTo>
                      <a:pt x="97" y="549"/>
                    </a:lnTo>
                    <a:lnTo>
                      <a:pt x="80" y="551"/>
                    </a:lnTo>
                    <a:lnTo>
                      <a:pt x="71" y="558"/>
                    </a:lnTo>
                    <a:lnTo>
                      <a:pt x="84" y="580"/>
                    </a:lnTo>
                    <a:lnTo>
                      <a:pt x="104" y="580"/>
                    </a:lnTo>
                    <a:lnTo>
                      <a:pt x="113" y="582"/>
                    </a:lnTo>
                    <a:lnTo>
                      <a:pt x="113" y="597"/>
                    </a:lnTo>
                    <a:lnTo>
                      <a:pt x="124" y="597"/>
                    </a:lnTo>
                    <a:lnTo>
                      <a:pt x="132" y="593"/>
                    </a:lnTo>
                    <a:lnTo>
                      <a:pt x="137" y="608"/>
                    </a:lnTo>
                    <a:lnTo>
                      <a:pt x="148" y="621"/>
                    </a:lnTo>
                    <a:lnTo>
                      <a:pt x="167" y="621"/>
                    </a:lnTo>
                    <a:lnTo>
                      <a:pt x="181" y="617"/>
                    </a:lnTo>
                    <a:lnTo>
                      <a:pt x="192" y="621"/>
                    </a:lnTo>
                    <a:lnTo>
                      <a:pt x="163" y="645"/>
                    </a:lnTo>
                    <a:lnTo>
                      <a:pt x="152" y="651"/>
                    </a:lnTo>
                    <a:lnTo>
                      <a:pt x="137" y="645"/>
                    </a:lnTo>
                    <a:lnTo>
                      <a:pt x="104" y="632"/>
                    </a:lnTo>
                    <a:lnTo>
                      <a:pt x="87" y="632"/>
                    </a:lnTo>
                    <a:lnTo>
                      <a:pt x="72" y="645"/>
                    </a:lnTo>
                    <a:lnTo>
                      <a:pt x="52" y="662"/>
                    </a:lnTo>
                    <a:lnTo>
                      <a:pt x="41" y="671"/>
                    </a:lnTo>
                    <a:lnTo>
                      <a:pt x="28" y="675"/>
                    </a:lnTo>
                    <a:lnTo>
                      <a:pt x="13" y="682"/>
                    </a:lnTo>
                    <a:lnTo>
                      <a:pt x="2" y="691"/>
                    </a:lnTo>
                    <a:lnTo>
                      <a:pt x="0" y="697"/>
                    </a:lnTo>
                    <a:lnTo>
                      <a:pt x="13" y="699"/>
                    </a:lnTo>
                    <a:lnTo>
                      <a:pt x="22" y="708"/>
                    </a:lnTo>
                    <a:lnTo>
                      <a:pt x="35" y="714"/>
                    </a:lnTo>
                    <a:lnTo>
                      <a:pt x="48" y="708"/>
                    </a:lnTo>
                    <a:lnTo>
                      <a:pt x="59" y="702"/>
                    </a:lnTo>
                    <a:lnTo>
                      <a:pt x="72" y="704"/>
                    </a:lnTo>
                    <a:lnTo>
                      <a:pt x="91" y="715"/>
                    </a:lnTo>
                    <a:lnTo>
                      <a:pt x="110" y="723"/>
                    </a:lnTo>
                    <a:lnTo>
                      <a:pt x="122" y="715"/>
                    </a:lnTo>
                    <a:lnTo>
                      <a:pt x="128" y="701"/>
                    </a:lnTo>
                    <a:lnTo>
                      <a:pt x="148" y="689"/>
                    </a:lnTo>
                    <a:lnTo>
                      <a:pt x="161" y="689"/>
                    </a:lnTo>
                    <a:lnTo>
                      <a:pt x="173" y="702"/>
                    </a:lnTo>
                    <a:lnTo>
                      <a:pt x="183" y="710"/>
                    </a:lnTo>
                    <a:lnTo>
                      <a:pt x="198" y="710"/>
                    </a:lnTo>
                    <a:lnTo>
                      <a:pt x="218" y="712"/>
                    </a:lnTo>
                    <a:lnTo>
                      <a:pt x="231" y="717"/>
                    </a:lnTo>
                    <a:lnTo>
                      <a:pt x="244" y="708"/>
                    </a:lnTo>
                    <a:lnTo>
                      <a:pt x="255" y="708"/>
                    </a:lnTo>
                    <a:lnTo>
                      <a:pt x="266" y="714"/>
                    </a:lnTo>
                    <a:lnTo>
                      <a:pt x="279" y="728"/>
                    </a:lnTo>
                    <a:lnTo>
                      <a:pt x="296" y="730"/>
                    </a:lnTo>
                    <a:lnTo>
                      <a:pt x="315" y="734"/>
                    </a:lnTo>
                    <a:lnTo>
                      <a:pt x="328" y="741"/>
                    </a:lnTo>
                    <a:lnTo>
                      <a:pt x="344" y="745"/>
                    </a:lnTo>
                    <a:lnTo>
                      <a:pt x="357" y="738"/>
                    </a:lnTo>
                    <a:lnTo>
                      <a:pt x="374" y="728"/>
                    </a:lnTo>
                    <a:lnTo>
                      <a:pt x="385" y="726"/>
                    </a:lnTo>
                    <a:lnTo>
                      <a:pt x="398" y="723"/>
                    </a:lnTo>
                    <a:lnTo>
                      <a:pt x="411" y="712"/>
                    </a:lnTo>
                    <a:lnTo>
                      <a:pt x="402" y="701"/>
                    </a:lnTo>
                    <a:lnTo>
                      <a:pt x="381" y="689"/>
                    </a:lnTo>
                    <a:lnTo>
                      <a:pt x="374" y="682"/>
                    </a:lnTo>
                    <a:lnTo>
                      <a:pt x="374" y="675"/>
                    </a:lnTo>
                    <a:lnTo>
                      <a:pt x="383" y="667"/>
                    </a:lnTo>
                    <a:lnTo>
                      <a:pt x="398" y="665"/>
                    </a:lnTo>
                    <a:lnTo>
                      <a:pt x="413" y="658"/>
                    </a:lnTo>
                    <a:lnTo>
                      <a:pt x="437" y="632"/>
                    </a:lnTo>
                    <a:lnTo>
                      <a:pt x="448" y="619"/>
                    </a:lnTo>
                    <a:lnTo>
                      <a:pt x="452" y="597"/>
                    </a:lnTo>
                    <a:lnTo>
                      <a:pt x="452" y="584"/>
                    </a:lnTo>
                    <a:lnTo>
                      <a:pt x="441" y="575"/>
                    </a:lnTo>
                    <a:lnTo>
                      <a:pt x="426" y="564"/>
                    </a:lnTo>
                    <a:lnTo>
                      <a:pt x="413" y="558"/>
                    </a:lnTo>
                    <a:lnTo>
                      <a:pt x="398" y="560"/>
                    </a:lnTo>
                    <a:lnTo>
                      <a:pt x="389" y="565"/>
                    </a:lnTo>
                    <a:lnTo>
                      <a:pt x="385" y="556"/>
                    </a:lnTo>
                    <a:lnTo>
                      <a:pt x="393" y="541"/>
                    </a:lnTo>
                    <a:lnTo>
                      <a:pt x="396" y="530"/>
                    </a:lnTo>
                    <a:lnTo>
                      <a:pt x="394" y="510"/>
                    </a:lnTo>
                    <a:lnTo>
                      <a:pt x="393" y="482"/>
                    </a:lnTo>
                    <a:lnTo>
                      <a:pt x="398" y="460"/>
                    </a:lnTo>
                    <a:lnTo>
                      <a:pt x="394" y="447"/>
                    </a:lnTo>
                    <a:lnTo>
                      <a:pt x="385" y="431"/>
                    </a:lnTo>
                    <a:lnTo>
                      <a:pt x="363" y="392"/>
                    </a:lnTo>
                    <a:lnTo>
                      <a:pt x="354" y="374"/>
                    </a:lnTo>
                    <a:lnTo>
                      <a:pt x="350" y="352"/>
                    </a:lnTo>
                    <a:lnTo>
                      <a:pt x="348" y="339"/>
                    </a:lnTo>
                    <a:lnTo>
                      <a:pt x="354" y="317"/>
                    </a:lnTo>
                    <a:lnTo>
                      <a:pt x="354" y="300"/>
                    </a:lnTo>
                    <a:lnTo>
                      <a:pt x="350" y="281"/>
                    </a:lnTo>
                    <a:lnTo>
                      <a:pt x="341" y="272"/>
                    </a:lnTo>
                    <a:lnTo>
                      <a:pt x="324" y="255"/>
                    </a:lnTo>
                    <a:lnTo>
                      <a:pt x="311" y="250"/>
                    </a:lnTo>
                    <a:lnTo>
                      <a:pt x="298" y="248"/>
                    </a:lnTo>
                    <a:lnTo>
                      <a:pt x="289" y="246"/>
                    </a:lnTo>
                    <a:lnTo>
                      <a:pt x="289" y="237"/>
                    </a:lnTo>
                    <a:lnTo>
                      <a:pt x="294" y="230"/>
                    </a:lnTo>
                    <a:lnTo>
                      <a:pt x="309" y="228"/>
                    </a:lnTo>
                    <a:lnTo>
                      <a:pt x="322" y="233"/>
                    </a:lnTo>
                    <a:lnTo>
                      <a:pt x="331" y="235"/>
                    </a:lnTo>
                    <a:lnTo>
                      <a:pt x="337" y="226"/>
                    </a:lnTo>
                    <a:lnTo>
                      <a:pt x="335" y="215"/>
                    </a:lnTo>
                    <a:lnTo>
                      <a:pt x="389" y="165"/>
                    </a:lnTo>
                    <a:lnTo>
                      <a:pt x="398" y="154"/>
                    </a:lnTo>
                    <a:lnTo>
                      <a:pt x="398" y="131"/>
                    </a:lnTo>
                    <a:lnTo>
                      <a:pt x="385" y="120"/>
                    </a:lnTo>
                    <a:lnTo>
                      <a:pt x="370" y="118"/>
                    </a:lnTo>
                    <a:lnTo>
                      <a:pt x="357" y="98"/>
                    </a:lnTo>
                    <a:lnTo>
                      <a:pt x="331" y="98"/>
                    </a:lnTo>
                    <a:lnTo>
                      <a:pt x="307" y="102"/>
                    </a:lnTo>
                    <a:lnTo>
                      <a:pt x="302" y="100"/>
                    </a:lnTo>
                    <a:lnTo>
                      <a:pt x="296" y="91"/>
                    </a:lnTo>
                    <a:lnTo>
                      <a:pt x="307" y="83"/>
                    </a:lnTo>
                    <a:lnTo>
                      <a:pt x="318" y="72"/>
                    </a:lnTo>
                    <a:lnTo>
                      <a:pt x="341" y="52"/>
                    </a:lnTo>
                    <a:lnTo>
                      <a:pt x="359" y="50"/>
                    </a:lnTo>
                    <a:lnTo>
                      <a:pt x="376" y="37"/>
                    </a:lnTo>
                    <a:lnTo>
                      <a:pt x="393" y="24"/>
                    </a:lnTo>
                    <a:lnTo>
                      <a:pt x="355" y="15"/>
                    </a:lnTo>
                    <a:lnTo>
                      <a:pt x="339" y="13"/>
                    </a:lnTo>
                    <a:lnTo>
                      <a:pt x="320" y="11"/>
                    </a:lnTo>
                    <a:lnTo>
                      <a:pt x="298" y="0"/>
                    </a:lnTo>
                    <a:lnTo>
                      <a:pt x="278" y="22"/>
                    </a:lnTo>
                    <a:lnTo>
                      <a:pt x="279" y="33"/>
                    </a:lnTo>
                    <a:lnTo>
                      <a:pt x="268" y="37"/>
                    </a:lnTo>
                    <a:lnTo>
                      <a:pt x="250" y="48"/>
                    </a:lnTo>
                    <a:lnTo>
                      <a:pt x="233" y="54"/>
                    </a:lnTo>
                    <a:lnTo>
                      <a:pt x="233" y="70"/>
                    </a:lnTo>
                    <a:lnTo>
                      <a:pt x="231" y="83"/>
                    </a:lnTo>
                    <a:lnTo>
                      <a:pt x="216" y="104"/>
                    </a:lnTo>
                    <a:lnTo>
                      <a:pt x="192" y="130"/>
                    </a:lnTo>
                    <a:lnTo>
                      <a:pt x="183" y="143"/>
                    </a:lnTo>
                    <a:lnTo>
                      <a:pt x="188" y="152"/>
                    </a:lnTo>
                    <a:lnTo>
                      <a:pt x="213" y="150"/>
                    </a:lnTo>
                    <a:lnTo>
                      <a:pt x="214" y="155"/>
                    </a:lnTo>
                    <a:lnTo>
                      <a:pt x="214" y="165"/>
                    </a:lnTo>
                    <a:lnTo>
                      <a:pt x="181" y="207"/>
                    </a:lnTo>
                    <a:lnTo>
                      <a:pt x="169" y="230"/>
                    </a:lnTo>
                    <a:lnTo>
                      <a:pt x="161" y="250"/>
                    </a:lnTo>
                    <a:lnTo>
                      <a:pt x="169" y="259"/>
                    </a:lnTo>
                    <a:lnTo>
                      <a:pt x="185" y="241"/>
                    </a:lnTo>
                    <a:lnTo>
                      <a:pt x="200" y="220"/>
                    </a:lnTo>
                    <a:lnTo>
                      <a:pt x="211" y="226"/>
                    </a:lnTo>
                    <a:lnTo>
                      <a:pt x="213" y="257"/>
                    </a:lnTo>
                    <a:lnTo>
                      <a:pt x="214" y="278"/>
                    </a:lnTo>
                    <a:lnTo>
                      <a:pt x="194" y="289"/>
                    </a:lnTo>
                    <a:lnTo>
                      <a:pt x="181" y="302"/>
                    </a:lnTo>
                    <a:lnTo>
                      <a:pt x="176" y="313"/>
                    </a:lnTo>
                    <a:lnTo>
                      <a:pt x="203" y="335"/>
                    </a:lnTo>
                    <a:lnTo>
                      <a:pt x="226" y="331"/>
                    </a:lnTo>
                    <a:lnTo>
                      <a:pt x="231" y="344"/>
                    </a:lnTo>
                    <a:lnTo>
                      <a:pt x="255" y="329"/>
                    </a:lnTo>
                    <a:lnTo>
                      <a:pt x="253" y="341"/>
                    </a:lnTo>
                    <a:lnTo>
                      <a:pt x="233" y="365"/>
                    </a:lnTo>
                    <a:lnTo>
                      <a:pt x="242" y="391"/>
                    </a:lnTo>
                    <a:lnTo>
                      <a:pt x="244" y="405"/>
                    </a:lnTo>
                    <a:lnTo>
                      <a:pt x="265" y="407"/>
                    </a:lnTo>
                    <a:lnTo>
                      <a:pt x="266" y="420"/>
                    </a:lnTo>
                    <a:lnTo>
                      <a:pt x="242" y="449"/>
                    </a:lnTo>
                    <a:lnTo>
                      <a:pt x="233" y="445"/>
                    </a:lnTo>
                    <a:lnTo>
                      <a:pt x="224" y="454"/>
                    </a:lnTo>
                    <a:lnTo>
                      <a:pt x="222" y="469"/>
                    </a:lnTo>
                    <a:lnTo>
                      <a:pt x="198" y="456"/>
                    </a:lnTo>
                    <a:lnTo>
                      <a:pt x="135" y="478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  <p:sp>
            <p:nvSpPr>
              <p:cNvPr id="229" name="Freeform 74"/>
              <p:cNvSpPr>
                <a:spLocks/>
              </p:cNvSpPr>
              <p:nvPr/>
            </p:nvSpPr>
            <p:spPr bwMode="auto">
              <a:xfrm>
                <a:off x="1257" y="2146"/>
                <a:ext cx="38" cy="27"/>
              </a:xfrm>
              <a:custGeom>
                <a:avLst/>
                <a:gdLst>
                  <a:gd name="T0" fmla="*/ 20 w 38"/>
                  <a:gd name="T1" fmla="*/ 0 h 27"/>
                  <a:gd name="T2" fmla="*/ 36 w 38"/>
                  <a:gd name="T3" fmla="*/ 2 h 27"/>
                  <a:gd name="T4" fmla="*/ 38 w 38"/>
                  <a:gd name="T5" fmla="*/ 12 h 27"/>
                  <a:gd name="T6" fmla="*/ 21 w 38"/>
                  <a:gd name="T7" fmla="*/ 23 h 27"/>
                  <a:gd name="T8" fmla="*/ 2 w 38"/>
                  <a:gd name="T9" fmla="*/ 27 h 27"/>
                  <a:gd name="T10" fmla="*/ 0 w 38"/>
                  <a:gd name="T11" fmla="*/ 15 h 27"/>
                  <a:gd name="T12" fmla="*/ 20 w 38"/>
                  <a:gd name="T13" fmla="*/ 0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"/>
                  <a:gd name="T22" fmla="*/ 0 h 27"/>
                  <a:gd name="T23" fmla="*/ 38 w 38"/>
                  <a:gd name="T24" fmla="*/ 27 h 2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" h="27">
                    <a:moveTo>
                      <a:pt x="20" y="0"/>
                    </a:moveTo>
                    <a:lnTo>
                      <a:pt x="36" y="2"/>
                    </a:lnTo>
                    <a:lnTo>
                      <a:pt x="38" y="12"/>
                    </a:lnTo>
                    <a:lnTo>
                      <a:pt x="21" y="23"/>
                    </a:lnTo>
                    <a:lnTo>
                      <a:pt x="2" y="27"/>
                    </a:lnTo>
                    <a:lnTo>
                      <a:pt x="0" y="15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  <p:sp>
            <p:nvSpPr>
              <p:cNvPr id="230" name="Freeform 75"/>
              <p:cNvSpPr>
                <a:spLocks/>
              </p:cNvSpPr>
              <p:nvPr/>
            </p:nvSpPr>
            <p:spPr bwMode="auto">
              <a:xfrm>
                <a:off x="1231" y="1971"/>
                <a:ext cx="37" cy="27"/>
              </a:xfrm>
              <a:custGeom>
                <a:avLst/>
                <a:gdLst>
                  <a:gd name="T0" fmla="*/ 31 w 37"/>
                  <a:gd name="T1" fmla="*/ 0 h 27"/>
                  <a:gd name="T2" fmla="*/ 37 w 37"/>
                  <a:gd name="T3" fmla="*/ 13 h 27"/>
                  <a:gd name="T4" fmla="*/ 19 w 37"/>
                  <a:gd name="T5" fmla="*/ 23 h 27"/>
                  <a:gd name="T6" fmla="*/ 4 w 37"/>
                  <a:gd name="T7" fmla="*/ 27 h 27"/>
                  <a:gd name="T8" fmla="*/ 0 w 37"/>
                  <a:gd name="T9" fmla="*/ 14 h 27"/>
                  <a:gd name="T10" fmla="*/ 7 w 37"/>
                  <a:gd name="T11" fmla="*/ 5 h 27"/>
                  <a:gd name="T12" fmla="*/ 31 w 37"/>
                  <a:gd name="T13" fmla="*/ 0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7"/>
                  <a:gd name="T22" fmla="*/ 0 h 27"/>
                  <a:gd name="T23" fmla="*/ 37 w 37"/>
                  <a:gd name="T24" fmla="*/ 27 h 2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7" h="27">
                    <a:moveTo>
                      <a:pt x="31" y="0"/>
                    </a:moveTo>
                    <a:lnTo>
                      <a:pt x="37" y="13"/>
                    </a:lnTo>
                    <a:lnTo>
                      <a:pt x="19" y="23"/>
                    </a:lnTo>
                    <a:lnTo>
                      <a:pt x="4" y="27"/>
                    </a:lnTo>
                    <a:lnTo>
                      <a:pt x="0" y="14"/>
                    </a:lnTo>
                    <a:lnTo>
                      <a:pt x="7" y="5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  <p:sp>
            <p:nvSpPr>
              <p:cNvPr id="231" name="Freeform 76"/>
              <p:cNvSpPr>
                <a:spLocks/>
              </p:cNvSpPr>
              <p:nvPr/>
            </p:nvSpPr>
            <p:spPr bwMode="auto">
              <a:xfrm>
                <a:off x="1286" y="1835"/>
                <a:ext cx="20" cy="52"/>
              </a:xfrm>
              <a:custGeom>
                <a:avLst/>
                <a:gdLst>
                  <a:gd name="T0" fmla="*/ 9 w 20"/>
                  <a:gd name="T1" fmla="*/ 52 h 52"/>
                  <a:gd name="T2" fmla="*/ 20 w 20"/>
                  <a:gd name="T3" fmla="*/ 39 h 52"/>
                  <a:gd name="T4" fmla="*/ 16 w 20"/>
                  <a:gd name="T5" fmla="*/ 22 h 52"/>
                  <a:gd name="T6" fmla="*/ 13 w 20"/>
                  <a:gd name="T7" fmla="*/ 13 h 52"/>
                  <a:gd name="T8" fmla="*/ 9 w 20"/>
                  <a:gd name="T9" fmla="*/ 0 h 52"/>
                  <a:gd name="T10" fmla="*/ 0 w 20"/>
                  <a:gd name="T11" fmla="*/ 6 h 52"/>
                  <a:gd name="T12" fmla="*/ 5 w 20"/>
                  <a:gd name="T13" fmla="*/ 24 h 52"/>
                  <a:gd name="T14" fmla="*/ 9 w 20"/>
                  <a:gd name="T15" fmla="*/ 52 h 5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52"/>
                  <a:gd name="T26" fmla="*/ 20 w 20"/>
                  <a:gd name="T27" fmla="*/ 52 h 5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52">
                    <a:moveTo>
                      <a:pt x="9" y="52"/>
                    </a:moveTo>
                    <a:lnTo>
                      <a:pt x="20" y="39"/>
                    </a:lnTo>
                    <a:lnTo>
                      <a:pt x="16" y="22"/>
                    </a:lnTo>
                    <a:lnTo>
                      <a:pt x="13" y="13"/>
                    </a:lnTo>
                    <a:lnTo>
                      <a:pt x="9" y="0"/>
                    </a:lnTo>
                    <a:lnTo>
                      <a:pt x="0" y="6"/>
                    </a:lnTo>
                    <a:lnTo>
                      <a:pt x="5" y="24"/>
                    </a:lnTo>
                    <a:lnTo>
                      <a:pt x="9" y="52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  <p:sp>
            <p:nvSpPr>
              <p:cNvPr id="232" name="Freeform 77"/>
              <p:cNvSpPr>
                <a:spLocks/>
              </p:cNvSpPr>
              <p:nvPr/>
            </p:nvSpPr>
            <p:spPr bwMode="auto">
              <a:xfrm>
                <a:off x="1138" y="2038"/>
                <a:ext cx="97" cy="99"/>
              </a:xfrm>
              <a:custGeom>
                <a:avLst/>
                <a:gdLst>
                  <a:gd name="T0" fmla="*/ 34 w 97"/>
                  <a:gd name="T1" fmla="*/ 0 h 99"/>
                  <a:gd name="T2" fmla="*/ 56 w 97"/>
                  <a:gd name="T3" fmla="*/ 0 h 99"/>
                  <a:gd name="T4" fmla="*/ 73 w 97"/>
                  <a:gd name="T5" fmla="*/ 4 h 99"/>
                  <a:gd name="T6" fmla="*/ 84 w 97"/>
                  <a:gd name="T7" fmla="*/ 20 h 99"/>
                  <a:gd name="T8" fmla="*/ 95 w 97"/>
                  <a:gd name="T9" fmla="*/ 46 h 99"/>
                  <a:gd name="T10" fmla="*/ 97 w 97"/>
                  <a:gd name="T11" fmla="*/ 68 h 99"/>
                  <a:gd name="T12" fmla="*/ 86 w 97"/>
                  <a:gd name="T13" fmla="*/ 79 h 99"/>
                  <a:gd name="T14" fmla="*/ 82 w 97"/>
                  <a:gd name="T15" fmla="*/ 94 h 99"/>
                  <a:gd name="T16" fmla="*/ 71 w 97"/>
                  <a:gd name="T17" fmla="*/ 99 h 99"/>
                  <a:gd name="T18" fmla="*/ 60 w 97"/>
                  <a:gd name="T19" fmla="*/ 86 h 99"/>
                  <a:gd name="T20" fmla="*/ 50 w 97"/>
                  <a:gd name="T21" fmla="*/ 62 h 99"/>
                  <a:gd name="T22" fmla="*/ 43 w 97"/>
                  <a:gd name="T23" fmla="*/ 53 h 99"/>
                  <a:gd name="T24" fmla="*/ 24 w 97"/>
                  <a:gd name="T25" fmla="*/ 51 h 99"/>
                  <a:gd name="T26" fmla="*/ 0 w 97"/>
                  <a:gd name="T27" fmla="*/ 26 h 99"/>
                  <a:gd name="T28" fmla="*/ 34 w 97"/>
                  <a:gd name="T29" fmla="*/ 0 h 9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99"/>
                  <a:gd name="T47" fmla="*/ 97 w 97"/>
                  <a:gd name="T48" fmla="*/ 99 h 9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99">
                    <a:moveTo>
                      <a:pt x="34" y="0"/>
                    </a:moveTo>
                    <a:lnTo>
                      <a:pt x="56" y="0"/>
                    </a:lnTo>
                    <a:lnTo>
                      <a:pt x="73" y="4"/>
                    </a:lnTo>
                    <a:lnTo>
                      <a:pt x="84" y="20"/>
                    </a:lnTo>
                    <a:lnTo>
                      <a:pt x="95" y="46"/>
                    </a:lnTo>
                    <a:lnTo>
                      <a:pt x="97" y="68"/>
                    </a:lnTo>
                    <a:lnTo>
                      <a:pt x="86" y="79"/>
                    </a:lnTo>
                    <a:lnTo>
                      <a:pt x="82" y="94"/>
                    </a:lnTo>
                    <a:lnTo>
                      <a:pt x="71" y="99"/>
                    </a:lnTo>
                    <a:lnTo>
                      <a:pt x="60" y="86"/>
                    </a:lnTo>
                    <a:lnTo>
                      <a:pt x="50" y="62"/>
                    </a:lnTo>
                    <a:lnTo>
                      <a:pt x="43" y="53"/>
                    </a:lnTo>
                    <a:lnTo>
                      <a:pt x="24" y="51"/>
                    </a:lnTo>
                    <a:lnTo>
                      <a:pt x="0" y="26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  <p:sp>
            <p:nvSpPr>
              <p:cNvPr id="233" name="Freeform 78"/>
              <p:cNvSpPr>
                <a:spLocks/>
              </p:cNvSpPr>
              <p:nvPr/>
            </p:nvSpPr>
            <p:spPr bwMode="auto">
              <a:xfrm>
                <a:off x="1282" y="1776"/>
                <a:ext cx="50" cy="37"/>
              </a:xfrm>
              <a:custGeom>
                <a:avLst/>
                <a:gdLst>
                  <a:gd name="T0" fmla="*/ 44 w 50"/>
                  <a:gd name="T1" fmla="*/ 0 h 37"/>
                  <a:gd name="T2" fmla="*/ 50 w 50"/>
                  <a:gd name="T3" fmla="*/ 9 h 37"/>
                  <a:gd name="T4" fmla="*/ 31 w 50"/>
                  <a:gd name="T5" fmla="*/ 20 h 37"/>
                  <a:gd name="T6" fmla="*/ 13 w 50"/>
                  <a:gd name="T7" fmla="*/ 37 h 37"/>
                  <a:gd name="T8" fmla="*/ 2 w 50"/>
                  <a:gd name="T9" fmla="*/ 33 h 37"/>
                  <a:gd name="T10" fmla="*/ 0 w 50"/>
                  <a:gd name="T11" fmla="*/ 13 h 37"/>
                  <a:gd name="T12" fmla="*/ 0 w 50"/>
                  <a:gd name="T13" fmla="*/ 6 h 37"/>
                  <a:gd name="T14" fmla="*/ 30 w 50"/>
                  <a:gd name="T15" fmla="*/ 0 h 37"/>
                  <a:gd name="T16" fmla="*/ 44 w 50"/>
                  <a:gd name="T17" fmla="*/ 0 h 3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0"/>
                  <a:gd name="T28" fmla="*/ 0 h 37"/>
                  <a:gd name="T29" fmla="*/ 50 w 50"/>
                  <a:gd name="T30" fmla="*/ 37 h 3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0" h="37">
                    <a:moveTo>
                      <a:pt x="44" y="0"/>
                    </a:moveTo>
                    <a:lnTo>
                      <a:pt x="50" y="9"/>
                    </a:lnTo>
                    <a:lnTo>
                      <a:pt x="31" y="20"/>
                    </a:lnTo>
                    <a:lnTo>
                      <a:pt x="13" y="37"/>
                    </a:lnTo>
                    <a:lnTo>
                      <a:pt x="2" y="33"/>
                    </a:lnTo>
                    <a:lnTo>
                      <a:pt x="0" y="13"/>
                    </a:lnTo>
                    <a:lnTo>
                      <a:pt x="0" y="6"/>
                    </a:lnTo>
                    <a:lnTo>
                      <a:pt x="30" y="0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ea typeface="+mn-ea"/>
                  <a:cs typeface="ＭＳ Ｐゴシック" charset="0"/>
                </a:endParaRPr>
              </a:p>
            </p:txBody>
          </p:sp>
        </p:grpSp>
        <p:sp>
          <p:nvSpPr>
            <p:cNvPr id="222" name="Freeform 106"/>
            <p:cNvSpPr>
              <a:spLocks/>
            </p:cNvSpPr>
            <p:nvPr/>
          </p:nvSpPr>
          <p:spPr bwMode="auto">
            <a:xfrm>
              <a:off x="5504649" y="3760163"/>
              <a:ext cx="531589" cy="248193"/>
            </a:xfrm>
            <a:custGeom>
              <a:avLst/>
              <a:gdLst>
                <a:gd name="T0" fmla="*/ 2147483647 w 352"/>
                <a:gd name="T1" fmla="*/ 2147483647 h 157"/>
                <a:gd name="T2" fmla="*/ 2147483647 w 352"/>
                <a:gd name="T3" fmla="*/ 0 h 157"/>
                <a:gd name="T4" fmla="*/ 2147483647 w 352"/>
                <a:gd name="T5" fmla="*/ 0 h 157"/>
                <a:gd name="T6" fmla="*/ 2147483647 w 352"/>
                <a:gd name="T7" fmla="*/ 2147483647 h 157"/>
                <a:gd name="T8" fmla="*/ 2147483647 w 352"/>
                <a:gd name="T9" fmla="*/ 2147483647 h 157"/>
                <a:gd name="T10" fmla="*/ 2147483647 w 352"/>
                <a:gd name="T11" fmla="*/ 2147483647 h 157"/>
                <a:gd name="T12" fmla="*/ 2147483647 w 352"/>
                <a:gd name="T13" fmla="*/ 2147483647 h 157"/>
                <a:gd name="T14" fmla="*/ 2147483647 w 352"/>
                <a:gd name="T15" fmla="*/ 2147483647 h 157"/>
                <a:gd name="T16" fmla="*/ 2147483647 w 352"/>
                <a:gd name="T17" fmla="*/ 2147483647 h 157"/>
                <a:gd name="T18" fmla="*/ 2147483647 w 352"/>
                <a:gd name="T19" fmla="*/ 2147483647 h 157"/>
                <a:gd name="T20" fmla="*/ 2147483647 w 352"/>
                <a:gd name="T21" fmla="*/ 2147483647 h 157"/>
                <a:gd name="T22" fmla="*/ 2147483647 w 352"/>
                <a:gd name="T23" fmla="*/ 2147483647 h 157"/>
                <a:gd name="T24" fmla="*/ 2147483647 w 352"/>
                <a:gd name="T25" fmla="*/ 2147483647 h 157"/>
                <a:gd name="T26" fmla="*/ 2147483647 w 352"/>
                <a:gd name="T27" fmla="*/ 2147483647 h 157"/>
                <a:gd name="T28" fmla="*/ 2147483647 w 352"/>
                <a:gd name="T29" fmla="*/ 2147483647 h 157"/>
                <a:gd name="T30" fmla="*/ 2147483647 w 352"/>
                <a:gd name="T31" fmla="*/ 2147483647 h 157"/>
                <a:gd name="T32" fmla="*/ 2147483647 w 352"/>
                <a:gd name="T33" fmla="*/ 2147483647 h 157"/>
                <a:gd name="T34" fmla="*/ 2147483647 w 352"/>
                <a:gd name="T35" fmla="*/ 2147483647 h 157"/>
                <a:gd name="T36" fmla="*/ 2147483647 w 352"/>
                <a:gd name="T37" fmla="*/ 2147483647 h 157"/>
                <a:gd name="T38" fmla="*/ 2147483647 w 352"/>
                <a:gd name="T39" fmla="*/ 2147483647 h 157"/>
                <a:gd name="T40" fmla="*/ 2147483647 w 352"/>
                <a:gd name="T41" fmla="*/ 2147483647 h 157"/>
                <a:gd name="T42" fmla="*/ 2147483647 w 352"/>
                <a:gd name="T43" fmla="*/ 2147483647 h 157"/>
                <a:gd name="T44" fmla="*/ 2147483647 w 352"/>
                <a:gd name="T45" fmla="*/ 2147483647 h 157"/>
                <a:gd name="T46" fmla="*/ 2147483647 w 352"/>
                <a:gd name="T47" fmla="*/ 2147483647 h 157"/>
                <a:gd name="T48" fmla="*/ 2147483647 w 352"/>
                <a:gd name="T49" fmla="*/ 2147483647 h 157"/>
                <a:gd name="T50" fmla="*/ 2147483647 w 352"/>
                <a:gd name="T51" fmla="*/ 2147483647 h 157"/>
                <a:gd name="T52" fmla="*/ 2147483647 w 352"/>
                <a:gd name="T53" fmla="*/ 2147483647 h 157"/>
                <a:gd name="T54" fmla="*/ 2147483647 w 352"/>
                <a:gd name="T55" fmla="*/ 2147483647 h 157"/>
                <a:gd name="T56" fmla="*/ 2147483647 w 352"/>
                <a:gd name="T57" fmla="*/ 2147483647 h 157"/>
                <a:gd name="T58" fmla="*/ 2147483647 w 352"/>
                <a:gd name="T59" fmla="*/ 2147483647 h 157"/>
                <a:gd name="T60" fmla="*/ 2147483647 w 352"/>
                <a:gd name="T61" fmla="*/ 2147483647 h 157"/>
                <a:gd name="T62" fmla="*/ 2147483647 w 352"/>
                <a:gd name="T63" fmla="*/ 2147483647 h 157"/>
                <a:gd name="T64" fmla="*/ 2147483647 w 352"/>
                <a:gd name="T65" fmla="*/ 2147483647 h 157"/>
                <a:gd name="T66" fmla="*/ 2147483647 w 352"/>
                <a:gd name="T67" fmla="*/ 2147483647 h 157"/>
                <a:gd name="T68" fmla="*/ 2147483647 w 352"/>
                <a:gd name="T69" fmla="*/ 2147483647 h 157"/>
                <a:gd name="T70" fmla="*/ 2147483647 w 352"/>
                <a:gd name="T71" fmla="*/ 2147483647 h 157"/>
                <a:gd name="T72" fmla="*/ 2147483647 w 352"/>
                <a:gd name="T73" fmla="*/ 2147483647 h 157"/>
                <a:gd name="T74" fmla="*/ 0 w 352"/>
                <a:gd name="T75" fmla="*/ 2147483647 h 157"/>
                <a:gd name="T76" fmla="*/ 0 w 352"/>
                <a:gd name="T77" fmla="*/ 2147483647 h 157"/>
                <a:gd name="T78" fmla="*/ 2147483647 w 352"/>
                <a:gd name="T79" fmla="*/ 2147483647 h 157"/>
                <a:gd name="T80" fmla="*/ 2147483647 w 352"/>
                <a:gd name="T81" fmla="*/ 2147483647 h 157"/>
                <a:gd name="T82" fmla="*/ 2147483647 w 352"/>
                <a:gd name="T83" fmla="*/ 2147483647 h 157"/>
                <a:gd name="T84" fmla="*/ 2147483647 w 352"/>
                <a:gd name="T85" fmla="*/ 2147483647 h 157"/>
                <a:gd name="T86" fmla="*/ 2147483647 w 352"/>
                <a:gd name="T87" fmla="*/ 2147483647 h 15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52"/>
                <a:gd name="T133" fmla="*/ 0 h 157"/>
                <a:gd name="T134" fmla="*/ 352 w 352"/>
                <a:gd name="T135" fmla="*/ 157 h 15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52" h="157">
                  <a:moveTo>
                    <a:pt x="120" y="8"/>
                  </a:moveTo>
                  <a:lnTo>
                    <a:pt x="132" y="0"/>
                  </a:lnTo>
                  <a:lnTo>
                    <a:pt x="146" y="0"/>
                  </a:lnTo>
                  <a:lnTo>
                    <a:pt x="152" y="11"/>
                  </a:lnTo>
                  <a:lnTo>
                    <a:pt x="165" y="2"/>
                  </a:lnTo>
                  <a:lnTo>
                    <a:pt x="178" y="6"/>
                  </a:lnTo>
                  <a:lnTo>
                    <a:pt x="198" y="27"/>
                  </a:lnTo>
                  <a:lnTo>
                    <a:pt x="220" y="36"/>
                  </a:lnTo>
                  <a:lnTo>
                    <a:pt x="228" y="38"/>
                  </a:lnTo>
                  <a:lnTo>
                    <a:pt x="239" y="29"/>
                  </a:lnTo>
                  <a:lnTo>
                    <a:pt x="250" y="25"/>
                  </a:lnTo>
                  <a:lnTo>
                    <a:pt x="280" y="33"/>
                  </a:lnTo>
                  <a:lnTo>
                    <a:pt x="320" y="42"/>
                  </a:lnTo>
                  <a:lnTo>
                    <a:pt x="352" y="51"/>
                  </a:lnTo>
                  <a:lnTo>
                    <a:pt x="341" y="64"/>
                  </a:lnTo>
                  <a:lnTo>
                    <a:pt x="320" y="85"/>
                  </a:lnTo>
                  <a:lnTo>
                    <a:pt x="315" y="92"/>
                  </a:lnTo>
                  <a:lnTo>
                    <a:pt x="317" y="107"/>
                  </a:lnTo>
                  <a:lnTo>
                    <a:pt x="302" y="107"/>
                  </a:lnTo>
                  <a:lnTo>
                    <a:pt x="287" y="96"/>
                  </a:lnTo>
                  <a:lnTo>
                    <a:pt x="272" y="92"/>
                  </a:lnTo>
                  <a:lnTo>
                    <a:pt x="233" y="101"/>
                  </a:lnTo>
                  <a:lnTo>
                    <a:pt x="223" y="110"/>
                  </a:lnTo>
                  <a:lnTo>
                    <a:pt x="212" y="124"/>
                  </a:lnTo>
                  <a:lnTo>
                    <a:pt x="191" y="137"/>
                  </a:lnTo>
                  <a:lnTo>
                    <a:pt x="179" y="137"/>
                  </a:lnTo>
                  <a:lnTo>
                    <a:pt x="166" y="126"/>
                  </a:lnTo>
                  <a:lnTo>
                    <a:pt x="155" y="126"/>
                  </a:lnTo>
                  <a:lnTo>
                    <a:pt x="115" y="145"/>
                  </a:lnTo>
                  <a:lnTo>
                    <a:pt x="96" y="155"/>
                  </a:lnTo>
                  <a:lnTo>
                    <a:pt x="82" y="157"/>
                  </a:lnTo>
                  <a:lnTo>
                    <a:pt x="50" y="155"/>
                  </a:lnTo>
                  <a:lnTo>
                    <a:pt x="37" y="155"/>
                  </a:lnTo>
                  <a:lnTo>
                    <a:pt x="27" y="140"/>
                  </a:lnTo>
                  <a:lnTo>
                    <a:pt x="22" y="135"/>
                  </a:lnTo>
                  <a:lnTo>
                    <a:pt x="11" y="129"/>
                  </a:lnTo>
                  <a:lnTo>
                    <a:pt x="5" y="122"/>
                  </a:lnTo>
                  <a:lnTo>
                    <a:pt x="0" y="107"/>
                  </a:lnTo>
                  <a:lnTo>
                    <a:pt x="0" y="90"/>
                  </a:lnTo>
                  <a:lnTo>
                    <a:pt x="34" y="76"/>
                  </a:lnTo>
                  <a:lnTo>
                    <a:pt x="72" y="76"/>
                  </a:lnTo>
                  <a:lnTo>
                    <a:pt x="95" y="55"/>
                  </a:lnTo>
                  <a:lnTo>
                    <a:pt x="98" y="19"/>
                  </a:lnTo>
                  <a:lnTo>
                    <a:pt x="120" y="8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3" name="Freeform 107"/>
            <p:cNvSpPr>
              <a:spLocks/>
            </p:cNvSpPr>
            <p:nvPr/>
          </p:nvSpPr>
          <p:spPr bwMode="auto">
            <a:xfrm>
              <a:off x="5373261" y="4364045"/>
              <a:ext cx="359427" cy="349366"/>
            </a:xfrm>
            <a:custGeom>
              <a:avLst/>
              <a:gdLst>
                <a:gd name="T0" fmla="*/ 2147483647 w 238"/>
                <a:gd name="T1" fmla="*/ 2147483647 h 221"/>
                <a:gd name="T2" fmla="*/ 2147483647 w 238"/>
                <a:gd name="T3" fmla="*/ 2147483647 h 221"/>
                <a:gd name="T4" fmla="*/ 2147483647 w 238"/>
                <a:gd name="T5" fmla="*/ 2147483647 h 221"/>
                <a:gd name="T6" fmla="*/ 2147483647 w 238"/>
                <a:gd name="T7" fmla="*/ 2147483647 h 221"/>
                <a:gd name="T8" fmla="*/ 2147483647 w 238"/>
                <a:gd name="T9" fmla="*/ 2147483647 h 221"/>
                <a:gd name="T10" fmla="*/ 2147483647 w 238"/>
                <a:gd name="T11" fmla="*/ 2147483647 h 221"/>
                <a:gd name="T12" fmla="*/ 2147483647 w 238"/>
                <a:gd name="T13" fmla="*/ 2147483647 h 221"/>
                <a:gd name="T14" fmla="*/ 2147483647 w 238"/>
                <a:gd name="T15" fmla="*/ 2147483647 h 221"/>
                <a:gd name="T16" fmla="*/ 2147483647 w 238"/>
                <a:gd name="T17" fmla="*/ 2147483647 h 221"/>
                <a:gd name="T18" fmla="*/ 2147483647 w 238"/>
                <a:gd name="T19" fmla="*/ 0 h 221"/>
                <a:gd name="T20" fmla="*/ 2147483647 w 238"/>
                <a:gd name="T21" fmla="*/ 2147483647 h 221"/>
                <a:gd name="T22" fmla="*/ 2147483647 w 238"/>
                <a:gd name="T23" fmla="*/ 2147483647 h 221"/>
                <a:gd name="T24" fmla="*/ 0 w 238"/>
                <a:gd name="T25" fmla="*/ 2147483647 h 221"/>
                <a:gd name="T26" fmla="*/ 0 w 238"/>
                <a:gd name="T27" fmla="*/ 2147483647 h 221"/>
                <a:gd name="T28" fmla="*/ 2147483647 w 238"/>
                <a:gd name="T29" fmla="*/ 2147483647 h 221"/>
                <a:gd name="T30" fmla="*/ 2147483647 w 238"/>
                <a:gd name="T31" fmla="*/ 2147483647 h 221"/>
                <a:gd name="T32" fmla="*/ 2147483647 w 238"/>
                <a:gd name="T33" fmla="*/ 2147483647 h 221"/>
                <a:gd name="T34" fmla="*/ 2147483647 w 238"/>
                <a:gd name="T35" fmla="*/ 2147483647 h 221"/>
                <a:gd name="T36" fmla="*/ 2147483647 w 238"/>
                <a:gd name="T37" fmla="*/ 2147483647 h 221"/>
                <a:gd name="T38" fmla="*/ 2147483647 w 238"/>
                <a:gd name="T39" fmla="*/ 2147483647 h 221"/>
                <a:gd name="T40" fmla="*/ 2147483647 w 238"/>
                <a:gd name="T41" fmla="*/ 2147483647 h 221"/>
                <a:gd name="T42" fmla="*/ 2147483647 w 238"/>
                <a:gd name="T43" fmla="*/ 2147483647 h 221"/>
                <a:gd name="T44" fmla="*/ 2147483647 w 238"/>
                <a:gd name="T45" fmla="*/ 2147483647 h 221"/>
                <a:gd name="T46" fmla="*/ 2147483647 w 238"/>
                <a:gd name="T47" fmla="*/ 2147483647 h 221"/>
                <a:gd name="T48" fmla="*/ 2147483647 w 238"/>
                <a:gd name="T49" fmla="*/ 2147483647 h 221"/>
                <a:gd name="T50" fmla="*/ 2147483647 w 238"/>
                <a:gd name="T51" fmla="*/ 2147483647 h 221"/>
                <a:gd name="T52" fmla="*/ 2147483647 w 238"/>
                <a:gd name="T53" fmla="*/ 2147483647 h 221"/>
                <a:gd name="T54" fmla="*/ 2147483647 w 238"/>
                <a:gd name="T55" fmla="*/ 2147483647 h 221"/>
                <a:gd name="T56" fmla="*/ 2147483647 w 238"/>
                <a:gd name="T57" fmla="*/ 2147483647 h 221"/>
                <a:gd name="T58" fmla="*/ 2147483647 w 238"/>
                <a:gd name="T59" fmla="*/ 2147483647 h 221"/>
                <a:gd name="T60" fmla="*/ 2147483647 w 238"/>
                <a:gd name="T61" fmla="*/ 2147483647 h 221"/>
                <a:gd name="T62" fmla="*/ 2147483647 w 238"/>
                <a:gd name="T63" fmla="*/ 2147483647 h 221"/>
                <a:gd name="T64" fmla="*/ 2147483647 w 238"/>
                <a:gd name="T65" fmla="*/ 2147483647 h 221"/>
                <a:gd name="T66" fmla="*/ 2147483647 w 238"/>
                <a:gd name="T67" fmla="*/ 2147483647 h 22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38"/>
                <a:gd name="T103" fmla="*/ 0 h 221"/>
                <a:gd name="T104" fmla="*/ 238 w 238"/>
                <a:gd name="T105" fmla="*/ 221 h 22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38" h="221">
                  <a:moveTo>
                    <a:pt x="220" y="31"/>
                  </a:moveTo>
                  <a:lnTo>
                    <a:pt x="208" y="31"/>
                  </a:lnTo>
                  <a:lnTo>
                    <a:pt x="195" y="22"/>
                  </a:lnTo>
                  <a:lnTo>
                    <a:pt x="178" y="13"/>
                  </a:lnTo>
                  <a:lnTo>
                    <a:pt x="157" y="24"/>
                  </a:lnTo>
                  <a:lnTo>
                    <a:pt x="138" y="19"/>
                  </a:lnTo>
                  <a:lnTo>
                    <a:pt x="121" y="27"/>
                  </a:lnTo>
                  <a:lnTo>
                    <a:pt x="120" y="19"/>
                  </a:lnTo>
                  <a:lnTo>
                    <a:pt x="105" y="18"/>
                  </a:lnTo>
                  <a:lnTo>
                    <a:pt x="87" y="0"/>
                  </a:lnTo>
                  <a:lnTo>
                    <a:pt x="60" y="30"/>
                  </a:lnTo>
                  <a:lnTo>
                    <a:pt x="17" y="16"/>
                  </a:lnTo>
                  <a:lnTo>
                    <a:pt x="0" y="21"/>
                  </a:lnTo>
                  <a:lnTo>
                    <a:pt x="0" y="31"/>
                  </a:lnTo>
                  <a:lnTo>
                    <a:pt x="46" y="78"/>
                  </a:lnTo>
                  <a:lnTo>
                    <a:pt x="57" y="109"/>
                  </a:lnTo>
                  <a:lnTo>
                    <a:pt x="81" y="127"/>
                  </a:lnTo>
                  <a:lnTo>
                    <a:pt x="91" y="124"/>
                  </a:lnTo>
                  <a:lnTo>
                    <a:pt x="150" y="187"/>
                  </a:lnTo>
                  <a:lnTo>
                    <a:pt x="154" y="201"/>
                  </a:lnTo>
                  <a:lnTo>
                    <a:pt x="150" y="211"/>
                  </a:lnTo>
                  <a:lnTo>
                    <a:pt x="154" y="221"/>
                  </a:lnTo>
                  <a:lnTo>
                    <a:pt x="171" y="212"/>
                  </a:lnTo>
                  <a:lnTo>
                    <a:pt x="184" y="207"/>
                  </a:lnTo>
                  <a:lnTo>
                    <a:pt x="184" y="186"/>
                  </a:lnTo>
                  <a:lnTo>
                    <a:pt x="201" y="172"/>
                  </a:lnTo>
                  <a:lnTo>
                    <a:pt x="208" y="157"/>
                  </a:lnTo>
                  <a:lnTo>
                    <a:pt x="226" y="150"/>
                  </a:lnTo>
                  <a:lnTo>
                    <a:pt x="229" y="132"/>
                  </a:lnTo>
                  <a:lnTo>
                    <a:pt x="226" y="115"/>
                  </a:lnTo>
                  <a:lnTo>
                    <a:pt x="235" y="108"/>
                  </a:lnTo>
                  <a:lnTo>
                    <a:pt x="219" y="85"/>
                  </a:lnTo>
                  <a:lnTo>
                    <a:pt x="238" y="52"/>
                  </a:lnTo>
                  <a:lnTo>
                    <a:pt x="220" y="31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4" name="Freeform 108"/>
            <p:cNvSpPr>
              <a:spLocks/>
            </p:cNvSpPr>
            <p:nvPr/>
          </p:nvSpPr>
          <p:spPr bwMode="auto">
            <a:xfrm>
              <a:off x="5864075" y="4817746"/>
              <a:ext cx="244651" cy="173892"/>
            </a:xfrm>
            <a:custGeom>
              <a:avLst/>
              <a:gdLst>
                <a:gd name="T0" fmla="*/ 2147483647 w 162"/>
                <a:gd name="T1" fmla="*/ 2147483647 h 110"/>
                <a:gd name="T2" fmla="*/ 2147483647 w 162"/>
                <a:gd name="T3" fmla="*/ 2147483647 h 110"/>
                <a:gd name="T4" fmla="*/ 2147483647 w 162"/>
                <a:gd name="T5" fmla="*/ 2147483647 h 110"/>
                <a:gd name="T6" fmla="*/ 2147483647 w 162"/>
                <a:gd name="T7" fmla="*/ 2147483647 h 110"/>
                <a:gd name="T8" fmla="*/ 2147483647 w 162"/>
                <a:gd name="T9" fmla="*/ 2147483647 h 110"/>
                <a:gd name="T10" fmla="*/ 2147483647 w 162"/>
                <a:gd name="T11" fmla="*/ 0 h 110"/>
                <a:gd name="T12" fmla="*/ 2147483647 w 162"/>
                <a:gd name="T13" fmla="*/ 2147483647 h 110"/>
                <a:gd name="T14" fmla="*/ 2147483647 w 162"/>
                <a:gd name="T15" fmla="*/ 2147483647 h 110"/>
                <a:gd name="T16" fmla="*/ 2147483647 w 162"/>
                <a:gd name="T17" fmla="*/ 2147483647 h 110"/>
                <a:gd name="T18" fmla="*/ 2147483647 w 162"/>
                <a:gd name="T19" fmla="*/ 2147483647 h 110"/>
                <a:gd name="T20" fmla="*/ 2147483647 w 162"/>
                <a:gd name="T21" fmla="*/ 2147483647 h 110"/>
                <a:gd name="T22" fmla="*/ 2147483647 w 162"/>
                <a:gd name="T23" fmla="*/ 2147483647 h 110"/>
                <a:gd name="T24" fmla="*/ 2147483647 w 162"/>
                <a:gd name="T25" fmla="*/ 2147483647 h 110"/>
                <a:gd name="T26" fmla="*/ 2147483647 w 162"/>
                <a:gd name="T27" fmla="*/ 2147483647 h 110"/>
                <a:gd name="T28" fmla="*/ 2147483647 w 162"/>
                <a:gd name="T29" fmla="*/ 2147483647 h 110"/>
                <a:gd name="T30" fmla="*/ 2147483647 w 162"/>
                <a:gd name="T31" fmla="*/ 2147483647 h 110"/>
                <a:gd name="T32" fmla="*/ 2147483647 w 162"/>
                <a:gd name="T33" fmla="*/ 2147483647 h 110"/>
                <a:gd name="T34" fmla="*/ 2147483647 w 162"/>
                <a:gd name="T35" fmla="*/ 2147483647 h 110"/>
                <a:gd name="T36" fmla="*/ 2147483647 w 162"/>
                <a:gd name="T37" fmla="*/ 2147483647 h 110"/>
                <a:gd name="T38" fmla="*/ 2147483647 w 162"/>
                <a:gd name="T39" fmla="*/ 2147483647 h 110"/>
                <a:gd name="T40" fmla="*/ 2147483647 w 162"/>
                <a:gd name="T41" fmla="*/ 2147483647 h 110"/>
                <a:gd name="T42" fmla="*/ 0 w 162"/>
                <a:gd name="T43" fmla="*/ 2147483647 h 110"/>
                <a:gd name="T44" fmla="*/ 2147483647 w 162"/>
                <a:gd name="T45" fmla="*/ 2147483647 h 110"/>
                <a:gd name="T46" fmla="*/ 2147483647 w 162"/>
                <a:gd name="T47" fmla="*/ 2147483647 h 11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62"/>
                <a:gd name="T73" fmla="*/ 0 h 110"/>
                <a:gd name="T74" fmla="*/ 162 w 162"/>
                <a:gd name="T75" fmla="*/ 110 h 11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62" h="110">
                  <a:moveTo>
                    <a:pt x="6" y="33"/>
                  </a:moveTo>
                  <a:lnTo>
                    <a:pt x="34" y="14"/>
                  </a:lnTo>
                  <a:lnTo>
                    <a:pt x="52" y="11"/>
                  </a:lnTo>
                  <a:lnTo>
                    <a:pt x="70" y="6"/>
                  </a:lnTo>
                  <a:lnTo>
                    <a:pt x="85" y="6"/>
                  </a:lnTo>
                  <a:lnTo>
                    <a:pt x="100" y="0"/>
                  </a:lnTo>
                  <a:lnTo>
                    <a:pt x="126" y="6"/>
                  </a:lnTo>
                  <a:lnTo>
                    <a:pt x="141" y="5"/>
                  </a:lnTo>
                  <a:lnTo>
                    <a:pt x="156" y="20"/>
                  </a:lnTo>
                  <a:lnTo>
                    <a:pt x="154" y="63"/>
                  </a:lnTo>
                  <a:lnTo>
                    <a:pt x="162" y="68"/>
                  </a:lnTo>
                  <a:lnTo>
                    <a:pt x="151" y="86"/>
                  </a:lnTo>
                  <a:lnTo>
                    <a:pt x="115" y="93"/>
                  </a:lnTo>
                  <a:lnTo>
                    <a:pt x="100" y="89"/>
                  </a:lnTo>
                  <a:lnTo>
                    <a:pt x="90" y="110"/>
                  </a:lnTo>
                  <a:lnTo>
                    <a:pt x="63" y="108"/>
                  </a:lnTo>
                  <a:lnTo>
                    <a:pt x="52" y="105"/>
                  </a:lnTo>
                  <a:lnTo>
                    <a:pt x="36" y="104"/>
                  </a:lnTo>
                  <a:lnTo>
                    <a:pt x="27" y="95"/>
                  </a:lnTo>
                  <a:lnTo>
                    <a:pt x="21" y="98"/>
                  </a:lnTo>
                  <a:lnTo>
                    <a:pt x="9" y="89"/>
                  </a:lnTo>
                  <a:lnTo>
                    <a:pt x="0" y="63"/>
                  </a:lnTo>
                  <a:lnTo>
                    <a:pt x="7" y="50"/>
                  </a:lnTo>
                  <a:lnTo>
                    <a:pt x="6" y="33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5" name="Freeform 109"/>
            <p:cNvSpPr>
              <a:spLocks/>
            </p:cNvSpPr>
            <p:nvPr/>
          </p:nvSpPr>
          <p:spPr bwMode="auto">
            <a:xfrm>
              <a:off x="5602811" y="4254967"/>
              <a:ext cx="493834" cy="613366"/>
            </a:xfrm>
            <a:custGeom>
              <a:avLst/>
              <a:gdLst>
                <a:gd name="T0" fmla="*/ 2147483647 w 327"/>
                <a:gd name="T1" fmla="*/ 2147483647 h 388"/>
                <a:gd name="T2" fmla="*/ 2147483647 w 327"/>
                <a:gd name="T3" fmla="*/ 2147483647 h 388"/>
                <a:gd name="T4" fmla="*/ 2147483647 w 327"/>
                <a:gd name="T5" fmla="*/ 2147483647 h 388"/>
                <a:gd name="T6" fmla="*/ 2147483647 w 327"/>
                <a:gd name="T7" fmla="*/ 2147483647 h 388"/>
                <a:gd name="T8" fmla="*/ 2147483647 w 327"/>
                <a:gd name="T9" fmla="*/ 2147483647 h 388"/>
                <a:gd name="T10" fmla="*/ 2147483647 w 327"/>
                <a:gd name="T11" fmla="*/ 2147483647 h 388"/>
                <a:gd name="T12" fmla="*/ 2147483647 w 327"/>
                <a:gd name="T13" fmla="*/ 2147483647 h 388"/>
                <a:gd name="T14" fmla="*/ 2147483647 w 327"/>
                <a:gd name="T15" fmla="*/ 2147483647 h 388"/>
                <a:gd name="T16" fmla="*/ 2147483647 w 327"/>
                <a:gd name="T17" fmla="*/ 2147483647 h 388"/>
                <a:gd name="T18" fmla="*/ 2147483647 w 327"/>
                <a:gd name="T19" fmla="*/ 2147483647 h 388"/>
                <a:gd name="T20" fmla="*/ 2147483647 w 327"/>
                <a:gd name="T21" fmla="*/ 2147483647 h 388"/>
                <a:gd name="T22" fmla="*/ 2147483647 w 327"/>
                <a:gd name="T23" fmla="*/ 2147483647 h 388"/>
                <a:gd name="T24" fmla="*/ 2147483647 w 327"/>
                <a:gd name="T25" fmla="*/ 2147483647 h 388"/>
                <a:gd name="T26" fmla="*/ 2147483647 w 327"/>
                <a:gd name="T27" fmla="*/ 2147483647 h 388"/>
                <a:gd name="T28" fmla="*/ 2147483647 w 327"/>
                <a:gd name="T29" fmla="*/ 2147483647 h 388"/>
                <a:gd name="T30" fmla="*/ 2147483647 w 327"/>
                <a:gd name="T31" fmla="*/ 2147483647 h 388"/>
                <a:gd name="T32" fmla="*/ 2147483647 w 327"/>
                <a:gd name="T33" fmla="*/ 2147483647 h 388"/>
                <a:gd name="T34" fmla="*/ 2147483647 w 327"/>
                <a:gd name="T35" fmla="*/ 2147483647 h 388"/>
                <a:gd name="T36" fmla="*/ 2147483647 w 327"/>
                <a:gd name="T37" fmla="*/ 2147483647 h 388"/>
                <a:gd name="T38" fmla="*/ 2147483647 w 327"/>
                <a:gd name="T39" fmla="*/ 2147483647 h 388"/>
                <a:gd name="T40" fmla="*/ 2147483647 w 327"/>
                <a:gd name="T41" fmla="*/ 2147483647 h 388"/>
                <a:gd name="T42" fmla="*/ 2147483647 w 327"/>
                <a:gd name="T43" fmla="*/ 2147483647 h 388"/>
                <a:gd name="T44" fmla="*/ 2147483647 w 327"/>
                <a:gd name="T45" fmla="*/ 2147483647 h 388"/>
                <a:gd name="T46" fmla="*/ 2147483647 w 327"/>
                <a:gd name="T47" fmla="*/ 2147483647 h 388"/>
                <a:gd name="T48" fmla="*/ 2147483647 w 327"/>
                <a:gd name="T49" fmla="*/ 2147483647 h 388"/>
                <a:gd name="T50" fmla="*/ 2147483647 w 327"/>
                <a:gd name="T51" fmla="*/ 2147483647 h 388"/>
                <a:gd name="T52" fmla="*/ 2147483647 w 327"/>
                <a:gd name="T53" fmla="*/ 2147483647 h 388"/>
                <a:gd name="T54" fmla="*/ 2147483647 w 327"/>
                <a:gd name="T55" fmla="*/ 2147483647 h 388"/>
                <a:gd name="T56" fmla="*/ 2147483647 w 327"/>
                <a:gd name="T57" fmla="*/ 2147483647 h 388"/>
                <a:gd name="T58" fmla="*/ 2147483647 w 327"/>
                <a:gd name="T59" fmla="*/ 2147483647 h 388"/>
                <a:gd name="T60" fmla="*/ 2147483647 w 327"/>
                <a:gd name="T61" fmla="*/ 2147483647 h 388"/>
                <a:gd name="T62" fmla="*/ 2147483647 w 327"/>
                <a:gd name="T63" fmla="*/ 2147483647 h 388"/>
                <a:gd name="T64" fmla="*/ 2147483647 w 327"/>
                <a:gd name="T65" fmla="*/ 2147483647 h 38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27"/>
                <a:gd name="T100" fmla="*/ 0 h 388"/>
                <a:gd name="T101" fmla="*/ 327 w 327"/>
                <a:gd name="T102" fmla="*/ 388 h 38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27" h="388">
                  <a:moveTo>
                    <a:pt x="55" y="27"/>
                  </a:moveTo>
                  <a:lnTo>
                    <a:pt x="120" y="3"/>
                  </a:lnTo>
                  <a:lnTo>
                    <a:pt x="150" y="0"/>
                  </a:lnTo>
                  <a:lnTo>
                    <a:pt x="168" y="1"/>
                  </a:lnTo>
                  <a:lnTo>
                    <a:pt x="175" y="6"/>
                  </a:lnTo>
                  <a:lnTo>
                    <a:pt x="180" y="12"/>
                  </a:lnTo>
                  <a:lnTo>
                    <a:pt x="181" y="19"/>
                  </a:lnTo>
                  <a:lnTo>
                    <a:pt x="187" y="21"/>
                  </a:lnTo>
                  <a:lnTo>
                    <a:pt x="195" y="36"/>
                  </a:lnTo>
                  <a:lnTo>
                    <a:pt x="196" y="58"/>
                  </a:lnTo>
                  <a:lnTo>
                    <a:pt x="204" y="66"/>
                  </a:lnTo>
                  <a:lnTo>
                    <a:pt x="223" y="66"/>
                  </a:lnTo>
                  <a:lnTo>
                    <a:pt x="235" y="97"/>
                  </a:lnTo>
                  <a:lnTo>
                    <a:pt x="235" y="118"/>
                  </a:lnTo>
                  <a:lnTo>
                    <a:pt x="243" y="132"/>
                  </a:lnTo>
                  <a:lnTo>
                    <a:pt x="252" y="132"/>
                  </a:lnTo>
                  <a:lnTo>
                    <a:pt x="271" y="118"/>
                  </a:lnTo>
                  <a:lnTo>
                    <a:pt x="282" y="127"/>
                  </a:lnTo>
                  <a:lnTo>
                    <a:pt x="283" y="145"/>
                  </a:lnTo>
                  <a:lnTo>
                    <a:pt x="303" y="156"/>
                  </a:lnTo>
                  <a:lnTo>
                    <a:pt x="300" y="175"/>
                  </a:lnTo>
                  <a:lnTo>
                    <a:pt x="301" y="180"/>
                  </a:lnTo>
                  <a:lnTo>
                    <a:pt x="304" y="183"/>
                  </a:lnTo>
                  <a:lnTo>
                    <a:pt x="297" y="193"/>
                  </a:lnTo>
                  <a:lnTo>
                    <a:pt x="295" y="205"/>
                  </a:lnTo>
                  <a:lnTo>
                    <a:pt x="306" y="229"/>
                  </a:lnTo>
                  <a:lnTo>
                    <a:pt x="322" y="232"/>
                  </a:lnTo>
                  <a:lnTo>
                    <a:pt x="327" y="244"/>
                  </a:lnTo>
                  <a:lnTo>
                    <a:pt x="322" y="268"/>
                  </a:lnTo>
                  <a:lnTo>
                    <a:pt x="298" y="290"/>
                  </a:lnTo>
                  <a:lnTo>
                    <a:pt x="304" y="328"/>
                  </a:lnTo>
                  <a:lnTo>
                    <a:pt x="295" y="344"/>
                  </a:lnTo>
                  <a:lnTo>
                    <a:pt x="301" y="362"/>
                  </a:lnTo>
                  <a:lnTo>
                    <a:pt x="271" y="356"/>
                  </a:lnTo>
                  <a:lnTo>
                    <a:pt x="256" y="362"/>
                  </a:lnTo>
                  <a:lnTo>
                    <a:pt x="241" y="362"/>
                  </a:lnTo>
                  <a:lnTo>
                    <a:pt x="223" y="367"/>
                  </a:lnTo>
                  <a:lnTo>
                    <a:pt x="205" y="370"/>
                  </a:lnTo>
                  <a:lnTo>
                    <a:pt x="177" y="388"/>
                  </a:lnTo>
                  <a:lnTo>
                    <a:pt x="178" y="353"/>
                  </a:lnTo>
                  <a:lnTo>
                    <a:pt x="172" y="344"/>
                  </a:lnTo>
                  <a:lnTo>
                    <a:pt x="153" y="341"/>
                  </a:lnTo>
                  <a:lnTo>
                    <a:pt x="147" y="326"/>
                  </a:lnTo>
                  <a:lnTo>
                    <a:pt x="135" y="325"/>
                  </a:lnTo>
                  <a:lnTo>
                    <a:pt x="130" y="329"/>
                  </a:lnTo>
                  <a:lnTo>
                    <a:pt x="105" y="325"/>
                  </a:lnTo>
                  <a:lnTo>
                    <a:pt x="96" y="332"/>
                  </a:lnTo>
                  <a:lnTo>
                    <a:pt x="91" y="359"/>
                  </a:lnTo>
                  <a:lnTo>
                    <a:pt x="81" y="380"/>
                  </a:lnTo>
                  <a:lnTo>
                    <a:pt x="13" y="320"/>
                  </a:lnTo>
                  <a:lnTo>
                    <a:pt x="0" y="292"/>
                  </a:lnTo>
                  <a:lnTo>
                    <a:pt x="18" y="284"/>
                  </a:lnTo>
                  <a:lnTo>
                    <a:pt x="33" y="276"/>
                  </a:lnTo>
                  <a:lnTo>
                    <a:pt x="33" y="253"/>
                  </a:lnTo>
                  <a:lnTo>
                    <a:pt x="48" y="244"/>
                  </a:lnTo>
                  <a:lnTo>
                    <a:pt x="55" y="228"/>
                  </a:lnTo>
                  <a:lnTo>
                    <a:pt x="72" y="217"/>
                  </a:lnTo>
                  <a:lnTo>
                    <a:pt x="75" y="202"/>
                  </a:lnTo>
                  <a:lnTo>
                    <a:pt x="73" y="186"/>
                  </a:lnTo>
                  <a:lnTo>
                    <a:pt x="84" y="177"/>
                  </a:lnTo>
                  <a:lnTo>
                    <a:pt x="69" y="154"/>
                  </a:lnTo>
                  <a:lnTo>
                    <a:pt x="85" y="123"/>
                  </a:lnTo>
                  <a:lnTo>
                    <a:pt x="67" y="102"/>
                  </a:lnTo>
                  <a:lnTo>
                    <a:pt x="72" y="79"/>
                  </a:lnTo>
                  <a:lnTo>
                    <a:pt x="55" y="58"/>
                  </a:lnTo>
                  <a:lnTo>
                    <a:pt x="55" y="27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6" name="Text Box 117"/>
            <p:cNvSpPr txBox="1">
              <a:spLocks noChangeArrowheads="1"/>
            </p:cNvSpPr>
            <p:nvPr/>
          </p:nvSpPr>
          <p:spPr bwMode="auto">
            <a:xfrm>
              <a:off x="4693221" y="4217767"/>
              <a:ext cx="402354" cy="215444"/>
            </a:xfrm>
            <a:prstGeom prst="rect">
              <a:avLst/>
            </a:prstGeom>
            <a:grpFill/>
            <a:ln w="14351">
              <a:noFill/>
              <a:miter lim="800000"/>
              <a:headEnd/>
              <a:tailEnd/>
            </a:ln>
            <a:extLst/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ahoma" pitchFamily="34" charset="0"/>
                  <a:ea typeface="ＭＳ Ｐゴシック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ahoma" pitchFamily="34" charset="0"/>
                  <a:ea typeface="ＭＳ Ｐゴシック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ahoma" pitchFamily="34" charset="0"/>
                  <a:ea typeface="ＭＳ Ｐゴシック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ahoma" pitchFamily="34" charset="0"/>
                  <a:ea typeface="ＭＳ Ｐゴシック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ahoma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ahoma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ahoma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ahoma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ahoma" pitchFamily="34" charset="0"/>
                  <a:ea typeface="ＭＳ Ｐゴシック" charset="-128"/>
                </a:defRPr>
              </a:lvl9pPr>
            </a:lstStyle>
            <a:p>
              <a:pPr eaLnBrk="1" hangingPunct="1"/>
              <a:r>
                <a:rPr lang="de-DE" sz="1400" b="1" dirty="0" smtClean="0">
                  <a:solidFill>
                    <a:schemeClr val="bg1"/>
                  </a:solidFill>
                  <a:latin typeface="+mn-lt"/>
                </a:rPr>
                <a:t>+107</a:t>
              </a:r>
              <a:endParaRPr lang="de-DE" sz="140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7" name="Freeform 13"/>
            <p:cNvSpPr>
              <a:spLocks/>
            </p:cNvSpPr>
            <p:nvPr/>
          </p:nvSpPr>
          <p:spPr bwMode="auto">
            <a:xfrm>
              <a:off x="4836246" y="3865238"/>
              <a:ext cx="684119" cy="325653"/>
            </a:xfrm>
            <a:custGeom>
              <a:avLst/>
              <a:gdLst>
                <a:gd name="T0" fmla="*/ 2147483647 w 453"/>
                <a:gd name="T1" fmla="*/ 2147483647 h 206"/>
                <a:gd name="T2" fmla="*/ 2147483647 w 453"/>
                <a:gd name="T3" fmla="*/ 2147483647 h 206"/>
                <a:gd name="T4" fmla="*/ 2147483647 w 453"/>
                <a:gd name="T5" fmla="*/ 2147483647 h 206"/>
                <a:gd name="T6" fmla="*/ 2147483647 w 453"/>
                <a:gd name="T7" fmla="*/ 2147483647 h 206"/>
                <a:gd name="T8" fmla="*/ 2147483647 w 453"/>
                <a:gd name="T9" fmla="*/ 2147483647 h 206"/>
                <a:gd name="T10" fmla="*/ 2147483647 w 453"/>
                <a:gd name="T11" fmla="*/ 2147483647 h 206"/>
                <a:gd name="T12" fmla="*/ 2147483647 w 453"/>
                <a:gd name="T13" fmla="*/ 2147483647 h 206"/>
                <a:gd name="T14" fmla="*/ 2147483647 w 453"/>
                <a:gd name="T15" fmla="*/ 2147483647 h 206"/>
                <a:gd name="T16" fmla="*/ 2147483647 w 453"/>
                <a:gd name="T17" fmla="*/ 2147483647 h 206"/>
                <a:gd name="T18" fmla="*/ 2147483647 w 453"/>
                <a:gd name="T19" fmla="*/ 2147483647 h 206"/>
                <a:gd name="T20" fmla="*/ 2147483647 w 453"/>
                <a:gd name="T21" fmla="*/ 2147483647 h 206"/>
                <a:gd name="T22" fmla="*/ 2147483647 w 453"/>
                <a:gd name="T23" fmla="*/ 2147483647 h 206"/>
                <a:gd name="T24" fmla="*/ 2147483647 w 453"/>
                <a:gd name="T25" fmla="*/ 2147483647 h 206"/>
                <a:gd name="T26" fmla="*/ 2147483647 w 453"/>
                <a:gd name="T27" fmla="*/ 2147483647 h 206"/>
                <a:gd name="T28" fmla="*/ 2147483647 w 453"/>
                <a:gd name="T29" fmla="*/ 2147483647 h 206"/>
                <a:gd name="T30" fmla="*/ 2147483647 w 453"/>
                <a:gd name="T31" fmla="*/ 2147483647 h 206"/>
                <a:gd name="T32" fmla="*/ 2147483647 w 453"/>
                <a:gd name="T33" fmla="*/ 2147483647 h 206"/>
                <a:gd name="T34" fmla="*/ 2147483647 w 453"/>
                <a:gd name="T35" fmla="*/ 2147483647 h 206"/>
                <a:gd name="T36" fmla="*/ 2147483647 w 453"/>
                <a:gd name="T37" fmla="*/ 2147483647 h 206"/>
                <a:gd name="T38" fmla="*/ 2147483647 w 453"/>
                <a:gd name="T39" fmla="*/ 2147483647 h 206"/>
                <a:gd name="T40" fmla="*/ 2147483647 w 453"/>
                <a:gd name="T41" fmla="*/ 2147483647 h 206"/>
                <a:gd name="T42" fmla="*/ 2147483647 w 453"/>
                <a:gd name="T43" fmla="*/ 2147483647 h 206"/>
                <a:gd name="T44" fmla="*/ 2147483647 w 453"/>
                <a:gd name="T45" fmla="*/ 2147483647 h 206"/>
                <a:gd name="T46" fmla="*/ 2147483647 w 453"/>
                <a:gd name="T47" fmla="*/ 2147483647 h 206"/>
                <a:gd name="T48" fmla="*/ 2147483647 w 453"/>
                <a:gd name="T49" fmla="*/ 2147483647 h 206"/>
                <a:gd name="T50" fmla="*/ 2147483647 w 453"/>
                <a:gd name="T51" fmla="*/ 2147483647 h 206"/>
                <a:gd name="T52" fmla="*/ 2147483647 w 453"/>
                <a:gd name="T53" fmla="*/ 2147483647 h 206"/>
                <a:gd name="T54" fmla="*/ 2147483647 w 453"/>
                <a:gd name="T55" fmla="*/ 2147483647 h 206"/>
                <a:gd name="T56" fmla="*/ 2147483647 w 453"/>
                <a:gd name="T57" fmla="*/ 2147483647 h 206"/>
                <a:gd name="T58" fmla="*/ 2147483647 w 453"/>
                <a:gd name="T59" fmla="*/ 2147483647 h 206"/>
                <a:gd name="T60" fmla="*/ 2147483647 w 453"/>
                <a:gd name="T61" fmla="*/ 2147483647 h 206"/>
                <a:gd name="T62" fmla="*/ 0 w 453"/>
                <a:gd name="T63" fmla="*/ 2147483647 h 20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53"/>
                <a:gd name="T97" fmla="*/ 0 h 206"/>
                <a:gd name="T98" fmla="*/ 453 w 453"/>
                <a:gd name="T99" fmla="*/ 206 h 20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53" h="206">
                  <a:moveTo>
                    <a:pt x="0" y="74"/>
                  </a:moveTo>
                  <a:lnTo>
                    <a:pt x="19" y="72"/>
                  </a:lnTo>
                  <a:lnTo>
                    <a:pt x="26" y="70"/>
                  </a:lnTo>
                  <a:lnTo>
                    <a:pt x="36" y="82"/>
                  </a:lnTo>
                  <a:lnTo>
                    <a:pt x="48" y="78"/>
                  </a:lnTo>
                  <a:lnTo>
                    <a:pt x="63" y="80"/>
                  </a:lnTo>
                  <a:lnTo>
                    <a:pt x="72" y="87"/>
                  </a:lnTo>
                  <a:lnTo>
                    <a:pt x="88" y="78"/>
                  </a:lnTo>
                  <a:lnTo>
                    <a:pt x="109" y="79"/>
                  </a:lnTo>
                  <a:lnTo>
                    <a:pt x="118" y="88"/>
                  </a:lnTo>
                  <a:lnTo>
                    <a:pt x="131" y="91"/>
                  </a:lnTo>
                  <a:lnTo>
                    <a:pt x="138" y="85"/>
                  </a:lnTo>
                  <a:lnTo>
                    <a:pt x="161" y="81"/>
                  </a:lnTo>
                  <a:lnTo>
                    <a:pt x="172" y="81"/>
                  </a:lnTo>
                  <a:lnTo>
                    <a:pt x="189" y="87"/>
                  </a:lnTo>
                  <a:lnTo>
                    <a:pt x="209" y="100"/>
                  </a:lnTo>
                  <a:lnTo>
                    <a:pt x="224" y="94"/>
                  </a:lnTo>
                  <a:lnTo>
                    <a:pt x="227" y="81"/>
                  </a:lnTo>
                  <a:lnTo>
                    <a:pt x="217" y="64"/>
                  </a:lnTo>
                  <a:lnTo>
                    <a:pt x="212" y="40"/>
                  </a:lnTo>
                  <a:lnTo>
                    <a:pt x="263" y="5"/>
                  </a:lnTo>
                  <a:lnTo>
                    <a:pt x="274" y="5"/>
                  </a:lnTo>
                  <a:lnTo>
                    <a:pt x="276" y="17"/>
                  </a:lnTo>
                  <a:lnTo>
                    <a:pt x="291" y="20"/>
                  </a:lnTo>
                  <a:lnTo>
                    <a:pt x="323" y="16"/>
                  </a:lnTo>
                  <a:lnTo>
                    <a:pt x="336" y="2"/>
                  </a:lnTo>
                  <a:lnTo>
                    <a:pt x="376" y="0"/>
                  </a:lnTo>
                  <a:lnTo>
                    <a:pt x="385" y="17"/>
                  </a:lnTo>
                  <a:lnTo>
                    <a:pt x="402" y="17"/>
                  </a:lnTo>
                  <a:lnTo>
                    <a:pt x="417" y="8"/>
                  </a:lnTo>
                  <a:lnTo>
                    <a:pt x="442" y="24"/>
                  </a:lnTo>
                  <a:lnTo>
                    <a:pt x="442" y="52"/>
                  </a:lnTo>
                  <a:lnTo>
                    <a:pt x="453" y="64"/>
                  </a:lnTo>
                  <a:lnTo>
                    <a:pt x="450" y="82"/>
                  </a:lnTo>
                  <a:lnTo>
                    <a:pt x="442" y="100"/>
                  </a:lnTo>
                  <a:lnTo>
                    <a:pt x="429" y="100"/>
                  </a:lnTo>
                  <a:lnTo>
                    <a:pt x="424" y="105"/>
                  </a:lnTo>
                  <a:lnTo>
                    <a:pt x="432" y="120"/>
                  </a:lnTo>
                  <a:lnTo>
                    <a:pt x="432" y="135"/>
                  </a:lnTo>
                  <a:lnTo>
                    <a:pt x="424" y="148"/>
                  </a:lnTo>
                  <a:lnTo>
                    <a:pt x="402" y="159"/>
                  </a:lnTo>
                  <a:lnTo>
                    <a:pt x="401" y="172"/>
                  </a:lnTo>
                  <a:lnTo>
                    <a:pt x="401" y="185"/>
                  </a:lnTo>
                  <a:lnTo>
                    <a:pt x="380" y="189"/>
                  </a:lnTo>
                  <a:lnTo>
                    <a:pt x="346" y="187"/>
                  </a:lnTo>
                  <a:lnTo>
                    <a:pt x="330" y="192"/>
                  </a:lnTo>
                  <a:lnTo>
                    <a:pt x="301" y="192"/>
                  </a:lnTo>
                  <a:lnTo>
                    <a:pt x="289" y="206"/>
                  </a:lnTo>
                  <a:lnTo>
                    <a:pt x="243" y="191"/>
                  </a:lnTo>
                  <a:lnTo>
                    <a:pt x="220" y="192"/>
                  </a:lnTo>
                  <a:lnTo>
                    <a:pt x="162" y="179"/>
                  </a:lnTo>
                  <a:lnTo>
                    <a:pt x="154" y="165"/>
                  </a:lnTo>
                  <a:lnTo>
                    <a:pt x="154" y="150"/>
                  </a:lnTo>
                  <a:lnTo>
                    <a:pt x="150" y="141"/>
                  </a:lnTo>
                  <a:lnTo>
                    <a:pt x="143" y="137"/>
                  </a:lnTo>
                  <a:lnTo>
                    <a:pt x="107" y="139"/>
                  </a:lnTo>
                  <a:lnTo>
                    <a:pt x="57" y="144"/>
                  </a:lnTo>
                  <a:lnTo>
                    <a:pt x="52" y="132"/>
                  </a:lnTo>
                  <a:lnTo>
                    <a:pt x="43" y="128"/>
                  </a:lnTo>
                  <a:lnTo>
                    <a:pt x="28" y="123"/>
                  </a:lnTo>
                  <a:lnTo>
                    <a:pt x="13" y="119"/>
                  </a:lnTo>
                  <a:lnTo>
                    <a:pt x="13" y="105"/>
                  </a:lnTo>
                  <a:lnTo>
                    <a:pt x="13" y="85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lt1"/>
                </a:solidFill>
              </a:endParaRPr>
            </a:p>
          </p:txBody>
        </p:sp>
      </p:grpSp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23850" y="6453188"/>
            <a:ext cx="8496300" cy="144462"/>
          </a:xfrm>
        </p:spPr>
        <p:txBody>
          <a:bodyPr/>
          <a:lstStyle/>
          <a:p>
            <a:r>
              <a:rPr lang="de-DE" dirty="0" smtClean="0"/>
              <a:t>Source: </a:t>
            </a:r>
            <a:r>
              <a:rPr lang="de-DE" dirty="0"/>
              <a:t> </a:t>
            </a:r>
            <a:r>
              <a:rPr lang="de-DE" dirty="0" smtClean="0"/>
              <a:t>OECD Economic Outlook 94 database</a:t>
            </a:r>
            <a:r>
              <a:rPr lang="de-DE" dirty="0"/>
              <a:t> </a:t>
            </a:r>
            <a:r>
              <a:rPr lang="de-DE" dirty="0" smtClean="0"/>
              <a:t>(Stand: 24.01.2014)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23849" y="260648"/>
            <a:ext cx="7673157" cy="647402"/>
          </a:xfrm>
        </p:spPr>
        <p:txBody>
          <a:bodyPr/>
          <a:lstStyle/>
          <a:p>
            <a:r>
              <a:rPr lang="en-US" dirty="0"/>
              <a:t>Accordingly, 2014 growth </a:t>
            </a:r>
            <a:r>
              <a:rPr lang="en-US" dirty="0" smtClean="0"/>
              <a:t>improvement </a:t>
            </a:r>
            <a:r>
              <a:rPr lang="en-US" dirty="0"/>
              <a:t>for private consumption</a:t>
            </a:r>
            <a:br>
              <a:rPr lang="en-US" dirty="0"/>
            </a:br>
            <a:r>
              <a:rPr lang="en-US" dirty="0" smtClean="0"/>
              <a:t>is expected </a:t>
            </a:r>
            <a:r>
              <a:rPr lang="en-US" dirty="0"/>
              <a:t>in all </a:t>
            </a:r>
            <a:r>
              <a:rPr lang="en-US" dirty="0" smtClean="0"/>
              <a:t>countries</a:t>
            </a:r>
            <a:endParaRPr lang="en-US" dirty="0"/>
          </a:p>
        </p:txBody>
      </p:sp>
      <p:cxnSp>
        <p:nvCxnSpPr>
          <p:cNvPr id="7" name="LeanLine Vertical 634947453867075289"/>
          <p:cNvCxnSpPr>
            <a:cxnSpLocks/>
          </p:cNvCxnSpPr>
          <p:nvPr/>
        </p:nvCxnSpPr>
        <p:spPr>
          <a:xfrm>
            <a:off x="323850" y="1771994"/>
            <a:ext cx="8496300" cy="0"/>
          </a:xfrm>
          <a:prstGeom prst="line">
            <a:avLst/>
          </a:prstGeom>
          <a:ln w="22225" cmpd="sng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Box 116"/>
          <p:cNvSpPr txBox="1">
            <a:spLocks noChangeArrowheads="1"/>
          </p:cNvSpPr>
          <p:nvPr/>
        </p:nvSpPr>
        <p:spPr bwMode="auto">
          <a:xfrm>
            <a:off x="323850" y="1650472"/>
            <a:ext cx="399148" cy="215444"/>
          </a:xfrm>
          <a:prstGeom prst="rect">
            <a:avLst/>
          </a:prstGeom>
          <a:solidFill>
            <a:schemeClr val="bg1"/>
          </a:solidFill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dirty="0" smtClean="0">
                <a:latin typeface="+mj-lt"/>
              </a:rPr>
              <a:t>in % </a:t>
            </a:r>
            <a:endParaRPr lang="de-DE" sz="1400" dirty="0">
              <a:latin typeface="+mj-lt"/>
            </a:endParaRPr>
          </a:p>
        </p:txBody>
      </p:sp>
      <p:sp>
        <p:nvSpPr>
          <p:cNvPr id="99" name="Inhaltsplatzhalter 588914"/>
          <p:cNvSpPr txBox="1">
            <a:spLocks/>
          </p:cNvSpPr>
          <p:nvPr/>
        </p:nvSpPr>
        <p:spPr bwMode="gray">
          <a:xfrm>
            <a:off x="323850" y="1052736"/>
            <a:ext cx="5693866" cy="24622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de-DE" sz="1600" dirty="0" smtClean="0"/>
              <a:t>Private consumption, real [change compared to last year in %]</a:t>
            </a:r>
            <a:endParaRPr lang="de-DE" sz="1600" dirty="0"/>
          </a:p>
        </p:txBody>
      </p:sp>
      <p:graphicFrame>
        <p:nvGraphicFramePr>
          <p:cNvPr id="25" name="Objekt 2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24694881"/>
              </p:ext>
            </p:extLst>
          </p:nvPr>
        </p:nvGraphicFramePr>
        <p:xfrm>
          <a:off x="3390900" y="3810000"/>
          <a:ext cx="1381110" cy="10000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42" name="Diagramm" r:id="rId37" imgW="1381083" imgH="1000125" progId="MSGraph.Chart.8">
                  <p:embed followColorScheme="full"/>
                </p:oleObj>
              </mc:Choice>
              <mc:Fallback>
                <p:oleObj name="Diagramm" r:id="rId37" imgW="1381083" imgH="100012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3390900" y="3810000"/>
                        <a:ext cx="1381110" cy="100006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4" name="Rechteck 263"/>
          <p:cNvSpPr/>
          <p:nvPr>
            <p:custDataLst>
              <p:tags r:id="rId4"/>
            </p:custDataLst>
          </p:nvPr>
        </p:nvSpPr>
        <p:spPr bwMode="gray">
          <a:xfrm>
            <a:off x="3838575" y="4248150"/>
            <a:ext cx="209550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12A504E-F27E-4FFE-A40D-F81475C338F8}" type="datetime'''''''''''''''''0'''''',''''''''''''''9'''''''''''''''''">
              <a:rPr lang="en-US" sz="1000" b="1">
                <a:solidFill>
                  <a:schemeClr val="bg1"/>
                </a:solidFill>
              </a:rPr>
              <a:pPr/>
              <a:t>0,9</a:t>
            </a:fld>
            <a:endParaRPr lang="de-DE" sz="1000" b="1" dirty="0" err="1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63" name="Rechteck 262"/>
          <p:cNvSpPr/>
          <p:nvPr>
            <p:custDataLst>
              <p:tags r:id="rId5"/>
            </p:custDataLst>
          </p:nvPr>
        </p:nvSpPr>
        <p:spPr bwMode="gray">
          <a:xfrm>
            <a:off x="3552825" y="4419600"/>
            <a:ext cx="209550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39A8437-F4CD-4EA7-BA44-99DFA1DF8666}" type="datetime'0'',''''''5'''''''''''''''''''''''''''''''''">
              <a:rPr lang="en-US" sz="1000" b="1">
                <a:solidFill>
                  <a:schemeClr val="bg1"/>
                </a:solidFill>
              </a:rPr>
              <a:pPr/>
              <a:t>0,5</a:t>
            </a:fld>
            <a:endParaRPr lang="de-DE" sz="1000" b="1" dirty="0" err="1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58" name="Rechteck 257"/>
          <p:cNvSpPr/>
          <p:nvPr>
            <p:custDataLst>
              <p:tags r:id="rId6"/>
            </p:custDataLst>
          </p:nvPr>
        </p:nvSpPr>
        <p:spPr bwMode="auto">
          <a:xfrm>
            <a:off x="7823200" y="2520950"/>
            <a:ext cx="214313" cy="16033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de-DE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6" name="Rechteck 255"/>
          <p:cNvSpPr/>
          <p:nvPr>
            <p:custDataLst>
              <p:tags r:id="rId7"/>
            </p:custDataLst>
          </p:nvPr>
        </p:nvSpPr>
        <p:spPr bwMode="auto">
          <a:xfrm>
            <a:off x="7823200" y="2287588"/>
            <a:ext cx="214313" cy="1603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de-DE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7" name="Rechteck 256"/>
          <p:cNvSpPr/>
          <p:nvPr>
            <p:custDataLst>
              <p:tags r:id="rId8"/>
            </p:custDataLst>
          </p:nvPr>
        </p:nvSpPr>
        <p:spPr bwMode="auto">
          <a:xfrm>
            <a:off x="8088313" y="2516188"/>
            <a:ext cx="336550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CC837BB-4FA7-422D-97CE-C2C8DA7B1643}" type="datetime'''''''''''''''''''''''''20''''''1''''''''''''''4'''">
              <a:rPr lang="en-US" sz="1200">
                <a:solidFill>
                  <a:schemeClr val="tx1"/>
                </a:solidFill>
                <a:sym typeface="+mn-lt"/>
              </a:rPr>
              <a:pPr/>
              <a:t>2014</a:t>
            </a:fld>
            <a:endParaRPr lang="de-DE" sz="12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1" name="Rechteck 30"/>
          <p:cNvSpPr/>
          <p:nvPr>
            <p:custDataLst>
              <p:tags r:id="rId9"/>
            </p:custDataLst>
          </p:nvPr>
        </p:nvSpPr>
        <p:spPr bwMode="auto">
          <a:xfrm>
            <a:off x="8088313" y="2282825"/>
            <a:ext cx="336550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1A4EA9F-B5F3-4753-9580-C7D1FCA35424}" type="datetime'''''''20''''''''''''''''''''1''''''''''''3'''''''">
              <a:rPr lang="en-US" sz="1200">
                <a:solidFill>
                  <a:schemeClr val="tx1"/>
                </a:solidFill>
                <a:sym typeface="+mn-lt"/>
              </a:rPr>
              <a:pPr/>
              <a:t>2013</a:t>
            </a:fld>
            <a:endParaRPr lang="de-DE" sz="1200" dirty="0" err="1" smtClean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167" name="Objekt 166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460958597"/>
              </p:ext>
            </p:extLst>
          </p:nvPr>
        </p:nvGraphicFramePr>
        <p:xfrm>
          <a:off x="3086100" y="2628900"/>
          <a:ext cx="1381110" cy="9145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43" name="Diagramm" r:id="rId39" imgW="1381083" imgH="914439" progId="MSGraph.Chart.8">
                  <p:embed followColorScheme="full"/>
                </p:oleObj>
              </mc:Choice>
              <mc:Fallback>
                <p:oleObj name="Diagramm" r:id="rId39" imgW="1381083" imgH="91443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3086100" y="2628900"/>
                        <a:ext cx="1381110" cy="9145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Rechteck 169"/>
          <p:cNvSpPr/>
          <p:nvPr>
            <p:custDataLst>
              <p:tags r:id="rId11"/>
            </p:custDataLst>
          </p:nvPr>
        </p:nvSpPr>
        <p:spPr bwMode="gray">
          <a:xfrm>
            <a:off x="3533775" y="2971800"/>
            <a:ext cx="209550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868878A-D1C3-434D-AA47-F55C79076F97}" type="datetime'''''''''''''''''''''''1'''''''''''''''''''''''''',''''''''8'''">
              <a:rPr lang="en-US" sz="1000" b="1">
                <a:solidFill>
                  <a:schemeClr val="bg1"/>
                </a:solidFill>
              </a:rPr>
              <a:pPr/>
              <a:t>1,8</a:t>
            </a:fld>
            <a:endParaRPr lang="de-DE" sz="1000" b="1" dirty="0" err="1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8" name="Rechteck 167"/>
          <p:cNvSpPr/>
          <p:nvPr>
            <p:custDataLst>
              <p:tags r:id="rId12"/>
            </p:custDataLst>
          </p:nvPr>
        </p:nvSpPr>
        <p:spPr bwMode="gray">
          <a:xfrm>
            <a:off x="3248025" y="2986088"/>
            <a:ext cx="209550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C141175-0AD6-4606-BAD3-2A36AAB9E677}" type="datetime'''''''1'''''''''''''''''''''''''''',''''''''''''''''''''''7'">
              <a:rPr lang="en-US" sz="1000" b="1">
                <a:solidFill>
                  <a:schemeClr val="bg1"/>
                </a:solidFill>
              </a:rPr>
              <a:pPr/>
              <a:t>1,7</a:t>
            </a:fld>
            <a:endParaRPr lang="de-DE" sz="1000" b="1" dirty="0" err="1" smtClean="0">
              <a:solidFill>
                <a:schemeClr val="bg1"/>
              </a:solidFill>
              <a:sym typeface="+mn-lt"/>
            </a:endParaRPr>
          </a:p>
        </p:txBody>
      </p:sp>
      <p:graphicFrame>
        <p:nvGraphicFramePr>
          <p:cNvPr id="178" name="Objekt 177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81477100"/>
              </p:ext>
            </p:extLst>
          </p:nvPr>
        </p:nvGraphicFramePr>
        <p:xfrm>
          <a:off x="4800600" y="3048000"/>
          <a:ext cx="1381110" cy="9145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44" name="Diagramm" r:id="rId41" imgW="1381083" imgH="914439" progId="MSGraph.Chart.8">
                  <p:embed followColorScheme="full"/>
                </p:oleObj>
              </mc:Choice>
              <mc:Fallback>
                <p:oleObj name="Diagramm" r:id="rId41" imgW="1381083" imgH="91443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4800600" y="3048000"/>
                        <a:ext cx="1381110" cy="9145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9" name="Rechteck 178"/>
          <p:cNvSpPr/>
          <p:nvPr>
            <p:custDataLst>
              <p:tags r:id="rId14"/>
            </p:custDataLst>
          </p:nvPr>
        </p:nvSpPr>
        <p:spPr bwMode="gray">
          <a:xfrm>
            <a:off x="4953000" y="3500438"/>
            <a:ext cx="209550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9BF254D-E3CC-47FC-BD00-22B03C0D20E9}" type="datetime'''''''''''''''''''''''''''''''''''''''''1'''''''',''''1'">
              <a:rPr lang="en-US" sz="1000" b="1">
                <a:solidFill>
                  <a:schemeClr val="bg1"/>
                </a:solidFill>
              </a:rPr>
              <a:pPr/>
              <a:t>1,1</a:t>
            </a:fld>
            <a:endParaRPr lang="de-DE" sz="1000" b="1" dirty="0" err="1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81" name="Rechteck 180"/>
          <p:cNvSpPr/>
          <p:nvPr>
            <p:custDataLst>
              <p:tags r:id="rId15"/>
            </p:custDataLst>
          </p:nvPr>
        </p:nvSpPr>
        <p:spPr bwMode="gray">
          <a:xfrm>
            <a:off x="5238750" y="3386138"/>
            <a:ext cx="209550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8B3A7-190C-4649-8450-75E9C1A98D54}" type="datetime'''''''1,''''''''''''''''''''''''''''''''''''''''8'">
              <a:rPr lang="en-US" sz="1000" b="1">
                <a:solidFill>
                  <a:schemeClr val="bg1"/>
                </a:solidFill>
              </a:rPr>
              <a:pPr/>
              <a:t>1,8</a:t>
            </a:fld>
            <a:endParaRPr lang="de-DE" sz="1000" b="1" dirty="0" err="1" smtClean="0">
              <a:solidFill>
                <a:schemeClr val="bg1"/>
              </a:solidFill>
              <a:sym typeface="+mn-lt"/>
            </a:endParaRPr>
          </a:p>
        </p:txBody>
      </p:sp>
      <p:pic>
        <p:nvPicPr>
          <p:cNvPr id="182" name="Picture 10"/>
          <p:cNvPicPr>
            <a:picLocks noChangeAspect="1" noChangeArrowheads="1"/>
          </p:cNvPicPr>
          <p:nvPr/>
        </p:nvPicPr>
        <p:blipFill>
          <a:blip r:embed="rId43" cstate="print"/>
          <a:srcRect/>
          <a:stretch>
            <a:fillRect/>
          </a:stretch>
        </p:blipFill>
        <p:spPr bwMode="gray">
          <a:xfrm>
            <a:off x="4838062" y="3105365"/>
            <a:ext cx="306075" cy="198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aphicFrame>
        <p:nvGraphicFramePr>
          <p:cNvPr id="183" name="Objekt 182"/>
          <p:cNvGraphicFramePr>
            <a:graphicFrameLocks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21878049"/>
              </p:ext>
            </p:extLst>
          </p:nvPr>
        </p:nvGraphicFramePr>
        <p:xfrm>
          <a:off x="4724400" y="4686300"/>
          <a:ext cx="1381110" cy="10381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45" name="Diagramm" r:id="rId44" imgW="1381083" imgH="1038238" progId="MSGraph.Chart.8">
                  <p:embed followColorScheme="full"/>
                </p:oleObj>
              </mc:Choice>
              <mc:Fallback>
                <p:oleObj name="Diagramm" r:id="rId44" imgW="1381083" imgH="103823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4724400" y="4686300"/>
                        <a:ext cx="1381110" cy="10381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84" name="Rechteck 183"/>
          <p:cNvSpPr/>
          <p:nvPr>
            <p:custDataLst>
              <p:tags r:id="rId17"/>
            </p:custDataLst>
          </p:nvPr>
        </p:nvSpPr>
        <p:spPr bwMode="gray">
          <a:xfrm>
            <a:off x="4886325" y="5543550"/>
            <a:ext cx="209550" cy="152400"/>
          </a:xfrm>
          <a:prstGeom prst="rect">
            <a:avLst/>
          </a:pr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BF190AE-9EE1-48CD-A342-F288BE18681D}" type="datetime'''''''''''0'''''',0'''''''''''''''''">
              <a:rPr lang="en-US" sz="1000" b="1">
                <a:solidFill>
                  <a:schemeClr val="tx1"/>
                </a:solidFill>
              </a:rPr>
              <a:pPr/>
              <a:t>0,0</a:t>
            </a:fld>
            <a:endParaRPr lang="de-DE" sz="1000" b="1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86" name="Rechteck 185"/>
          <p:cNvSpPr/>
          <p:nvPr>
            <p:custDataLst>
              <p:tags r:id="rId18"/>
            </p:custDataLst>
          </p:nvPr>
        </p:nvSpPr>
        <p:spPr bwMode="gray">
          <a:xfrm>
            <a:off x="5172075" y="5143500"/>
            <a:ext cx="209550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610B795-FE4F-44D8-A045-8C600F9EDE0B}" type="datetime'''''''''''''0,''''''''8'''''''''''''''''''''''''''">
              <a:rPr lang="en-US" sz="1000" b="1">
                <a:solidFill>
                  <a:schemeClr val="bg1"/>
                </a:solidFill>
              </a:rPr>
              <a:pPr/>
              <a:t>0,8</a:t>
            </a:fld>
            <a:endParaRPr lang="de-DE" sz="1000" b="1" dirty="0" err="1" smtClean="0">
              <a:solidFill>
                <a:schemeClr val="bg1"/>
              </a:solidFill>
              <a:sym typeface="+mn-lt"/>
            </a:endParaRPr>
          </a:p>
        </p:txBody>
      </p:sp>
      <p:graphicFrame>
        <p:nvGraphicFramePr>
          <p:cNvPr id="194" name="Objekt 193"/>
          <p:cNvGraphicFramePr>
            <a:graphicFrameLocks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723981"/>
              </p:ext>
            </p:extLst>
          </p:nvPr>
        </p:nvGraphicFramePr>
        <p:xfrm>
          <a:off x="2438400" y="4648199"/>
          <a:ext cx="1381110" cy="10764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46" name="Diagramm" r:id="rId46" imgW="1381083" imgH="1076351" progId="MSGraph.Chart.8">
                  <p:embed followColorScheme="full"/>
                </p:oleObj>
              </mc:Choice>
              <mc:Fallback>
                <p:oleObj name="Diagramm" r:id="rId46" imgW="1381083" imgH="107635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438400" y="4648199"/>
                        <a:ext cx="1381110" cy="10764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7" name="Rechteck 196"/>
          <p:cNvSpPr/>
          <p:nvPr>
            <p:custDataLst>
              <p:tags r:id="rId20"/>
            </p:custDataLst>
          </p:nvPr>
        </p:nvSpPr>
        <p:spPr bwMode="gray">
          <a:xfrm>
            <a:off x="2865438" y="4733925"/>
            <a:ext cx="252413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0E30F07-2D4C-4566-8620-179DFB98B5F6}" type="datetime'''''''''''''''''''''''''''''''''''''-''''''''0,4'''''''''">
              <a:rPr lang="en-US" sz="1000" b="1">
                <a:solidFill>
                  <a:schemeClr val="bg1"/>
                </a:solidFill>
              </a:rPr>
              <a:pPr/>
              <a:t>-0,4</a:t>
            </a:fld>
            <a:endParaRPr lang="de-DE" sz="1000" b="1" dirty="0" err="1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95" name="Rechteck 194"/>
          <p:cNvSpPr/>
          <p:nvPr>
            <p:custDataLst>
              <p:tags r:id="rId21"/>
            </p:custDataLst>
          </p:nvPr>
        </p:nvSpPr>
        <p:spPr bwMode="gray">
          <a:xfrm>
            <a:off x="2579688" y="5105400"/>
            <a:ext cx="252413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3DAF200-3FF1-40EA-91D4-3D2B7557BBD3}" type="datetime'''''''''''-2'''''''''''''',6'''''''">
              <a:rPr lang="en-US" sz="1000" b="1">
                <a:solidFill>
                  <a:schemeClr val="bg1"/>
                </a:solidFill>
              </a:rPr>
              <a:pPr/>
              <a:t>-2,6</a:t>
            </a:fld>
            <a:endParaRPr lang="de-DE" sz="1000" b="1" dirty="0" err="1" smtClean="0">
              <a:solidFill>
                <a:schemeClr val="bg1"/>
              </a:solidFill>
              <a:sym typeface="+mn-lt"/>
            </a:endParaRPr>
          </a:p>
        </p:txBody>
      </p:sp>
      <p:graphicFrame>
        <p:nvGraphicFramePr>
          <p:cNvPr id="199" name="Objekt 198"/>
          <p:cNvGraphicFramePr>
            <a:graphicFrameLocks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617124804"/>
              </p:ext>
            </p:extLst>
          </p:nvPr>
        </p:nvGraphicFramePr>
        <p:xfrm>
          <a:off x="4076700" y="2667000"/>
          <a:ext cx="1381110" cy="9145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47" name="Diagramm" r:id="rId48" imgW="1381083" imgH="914439" progId="MSGraph.Chart.8">
                  <p:embed followColorScheme="full"/>
                </p:oleObj>
              </mc:Choice>
              <mc:Fallback>
                <p:oleObj name="Diagramm" r:id="rId48" imgW="1381083" imgH="91443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4076700" y="2667000"/>
                        <a:ext cx="1381110" cy="9145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0" name="Rechteck 199"/>
          <p:cNvSpPr/>
          <p:nvPr>
            <p:custDataLst>
              <p:tags r:id="rId23"/>
            </p:custDataLst>
          </p:nvPr>
        </p:nvSpPr>
        <p:spPr bwMode="gray">
          <a:xfrm>
            <a:off x="4208463" y="2990850"/>
            <a:ext cx="252413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CD36C97-217C-487F-884D-1245B2CE7CB4}" type="datetime'''''''''''''''-''''''''''''''''''''2'''''''',''''1'''''''''''">
              <a:rPr lang="en-US" sz="1000" b="1">
                <a:solidFill>
                  <a:schemeClr val="bg1"/>
                </a:solidFill>
              </a:rPr>
              <a:pPr/>
              <a:t>-2,1</a:t>
            </a:fld>
            <a:endParaRPr lang="de-DE" sz="1000" b="1" dirty="0" err="1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2" name="Rechteck 201"/>
          <p:cNvSpPr/>
          <p:nvPr>
            <p:custDataLst>
              <p:tags r:id="rId24"/>
            </p:custDataLst>
          </p:nvPr>
        </p:nvSpPr>
        <p:spPr bwMode="gray">
          <a:xfrm>
            <a:off x="4494213" y="2928938"/>
            <a:ext cx="252413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2D972AB-3B57-473B-AB22-5283E4A280EB}" type="datetime'''-''''''''''''''''''''''''''''1'''',''''''''''6'''''''''''''">
              <a:rPr lang="en-US" sz="1000" b="1">
                <a:solidFill>
                  <a:schemeClr val="bg1"/>
                </a:solidFill>
              </a:rPr>
              <a:pPr/>
              <a:t>-1,6</a:t>
            </a:fld>
            <a:endParaRPr lang="de-DE" sz="1000" b="1" dirty="0" err="1" smtClean="0">
              <a:solidFill>
                <a:schemeClr val="bg1"/>
              </a:solidFill>
              <a:sym typeface="+mn-lt"/>
            </a:endParaRPr>
          </a:p>
        </p:txBody>
      </p:sp>
      <p:pic>
        <p:nvPicPr>
          <p:cNvPr id="124" name="Picture 11"/>
          <p:cNvPicPr>
            <a:picLocks noChangeAspect="1" noChangeArrowheads="1"/>
          </p:cNvPicPr>
          <p:nvPr/>
        </p:nvPicPr>
        <p:blipFill>
          <a:blip r:embed="rId50" cstate="print"/>
          <a:srcRect/>
          <a:stretch>
            <a:fillRect/>
          </a:stretch>
        </p:blipFill>
        <p:spPr bwMode="gray">
          <a:xfrm>
            <a:off x="6411070" y="5371508"/>
            <a:ext cx="257179" cy="167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aphicFrame>
        <p:nvGraphicFramePr>
          <p:cNvPr id="125" name="Objekt 124"/>
          <p:cNvGraphicFramePr>
            <a:graphicFrameLocks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70579741"/>
              </p:ext>
            </p:extLst>
          </p:nvPr>
        </p:nvGraphicFramePr>
        <p:xfrm>
          <a:off x="6324600" y="5410200"/>
          <a:ext cx="1381110" cy="9906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48" name="Diagramm" r:id="rId51" imgW="1381083" imgH="990664" progId="MSGraph.Chart.8">
                  <p:embed followColorScheme="full"/>
                </p:oleObj>
              </mc:Choice>
              <mc:Fallback>
                <p:oleObj name="Diagramm" r:id="rId51" imgW="1381083" imgH="99066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6324600" y="5410200"/>
                        <a:ext cx="1381110" cy="9906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7" name="Rechteck 126"/>
          <p:cNvSpPr/>
          <p:nvPr>
            <p:custDataLst>
              <p:tags r:id="rId26"/>
            </p:custDataLst>
          </p:nvPr>
        </p:nvSpPr>
        <p:spPr bwMode="gray">
          <a:xfrm>
            <a:off x="6465888" y="5838825"/>
            <a:ext cx="252413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556D185-AE31-4DB2-AEE2-C050E16BCA7A}" type="datetime'-''''''''''6'''''''''''''''',''''''''''''''4'''">
              <a:rPr lang="en-US" sz="1000" b="1">
                <a:solidFill>
                  <a:schemeClr val="bg1"/>
                </a:solidFill>
              </a:rPr>
              <a:pPr/>
              <a:t>-6,4</a:t>
            </a:fld>
            <a:endParaRPr lang="de-DE" sz="1000" b="1" dirty="0" err="1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9" name="Rechteck 128"/>
          <p:cNvSpPr/>
          <p:nvPr>
            <p:custDataLst>
              <p:tags r:id="rId27"/>
            </p:custDataLst>
          </p:nvPr>
        </p:nvSpPr>
        <p:spPr bwMode="gray">
          <a:xfrm>
            <a:off x="6751638" y="5614988"/>
            <a:ext cx="252413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7F2A354-B7B8-4315-8BBC-8C6F1D269B86}" type="datetime'''''-''''''''''''''''2,6'''''''''''''">
              <a:rPr lang="en-US" sz="1000" b="1">
                <a:solidFill>
                  <a:schemeClr val="bg1"/>
                </a:solidFill>
              </a:rPr>
              <a:pPr/>
              <a:t>-2,6</a:t>
            </a:fld>
            <a:endParaRPr lang="de-DE" sz="1000" b="1" dirty="0" err="1" smtClean="0">
              <a:solidFill>
                <a:schemeClr val="bg1"/>
              </a:solidFill>
              <a:sym typeface="+mn-lt"/>
            </a:endParaRPr>
          </a:p>
        </p:txBody>
      </p:sp>
      <p:pic>
        <p:nvPicPr>
          <p:cNvPr id="174" name="Picture 4"/>
          <p:cNvPicPr>
            <a:picLocks noChangeAspect="1" noChangeArrowheads="1"/>
          </p:cNvPicPr>
          <p:nvPr/>
        </p:nvPicPr>
        <p:blipFill>
          <a:blip r:embed="rId53" cstate="print"/>
          <a:srcRect/>
          <a:stretch>
            <a:fillRect/>
          </a:stretch>
        </p:blipFill>
        <p:spPr bwMode="gray">
          <a:xfrm>
            <a:off x="3415656" y="3865453"/>
            <a:ext cx="310268" cy="203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5" name="Picture 19"/>
          <p:cNvPicPr>
            <a:picLocks noChangeAspect="1" noChangeArrowheads="1"/>
          </p:cNvPicPr>
          <p:nvPr/>
        </p:nvPicPr>
        <p:blipFill>
          <a:blip r:embed="rId54" cstate="print"/>
          <a:srcRect/>
          <a:stretch>
            <a:fillRect/>
          </a:stretch>
        </p:blipFill>
        <p:spPr bwMode="gray">
          <a:xfrm>
            <a:off x="3206750" y="2484836"/>
            <a:ext cx="310585" cy="203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6" name="Picture 31"/>
          <p:cNvPicPr>
            <a:picLocks noChangeAspect="1" noChangeArrowheads="1"/>
          </p:cNvPicPr>
          <p:nvPr/>
        </p:nvPicPr>
        <p:blipFill>
          <a:blip r:embed="rId55" cstate="print"/>
          <a:srcRect/>
          <a:stretch>
            <a:fillRect/>
          </a:stretch>
        </p:blipFill>
        <p:spPr bwMode="gray">
          <a:xfrm>
            <a:off x="4762561" y="4757374"/>
            <a:ext cx="310268" cy="206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87" name="Picture 4"/>
          <p:cNvPicPr>
            <a:picLocks noChangeAspect="1" noChangeArrowheads="1"/>
          </p:cNvPicPr>
          <p:nvPr/>
        </p:nvPicPr>
        <p:blipFill>
          <a:blip r:embed="rId56" cstate="print"/>
          <a:srcRect/>
          <a:stretch>
            <a:fillRect/>
          </a:stretch>
        </p:blipFill>
        <p:spPr bwMode="gray">
          <a:xfrm>
            <a:off x="2257407" y="4352925"/>
            <a:ext cx="311187" cy="203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88" name="Picture 14"/>
          <p:cNvPicPr>
            <a:picLocks noChangeAspect="1" noChangeArrowheads="1"/>
          </p:cNvPicPr>
          <p:nvPr/>
        </p:nvPicPr>
        <p:blipFill>
          <a:blip r:embed="rId57" cstate="print"/>
          <a:srcRect/>
          <a:stretch>
            <a:fillRect/>
          </a:stretch>
        </p:blipFill>
        <p:spPr bwMode="gray">
          <a:xfrm>
            <a:off x="4129044" y="2535227"/>
            <a:ext cx="310268" cy="203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aphicFrame>
        <p:nvGraphicFramePr>
          <p:cNvPr id="266" name="Objekt 265"/>
          <p:cNvGraphicFramePr>
            <a:graphicFrameLocks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349888341"/>
              </p:ext>
            </p:extLst>
          </p:nvPr>
        </p:nvGraphicFramePr>
        <p:xfrm>
          <a:off x="1104900" y="4343400"/>
          <a:ext cx="1381110" cy="10000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49" name="Diagramm" r:id="rId58" imgW="1381083" imgH="1000125" progId="MSGraph.Chart.8">
                  <p:embed followColorScheme="full"/>
                </p:oleObj>
              </mc:Choice>
              <mc:Fallback>
                <p:oleObj name="Diagramm" r:id="rId58" imgW="1381083" imgH="100012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104900" y="4343400"/>
                        <a:ext cx="1381110" cy="100006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7" name="Rechteck 266"/>
          <p:cNvSpPr/>
          <p:nvPr>
            <p:custDataLst>
              <p:tags r:id="rId29"/>
            </p:custDataLst>
          </p:nvPr>
        </p:nvSpPr>
        <p:spPr bwMode="gray">
          <a:xfrm>
            <a:off x="1522413" y="4500563"/>
            <a:ext cx="252413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A8A862F-D69E-4CF5-BA96-365E36418400}" type="datetime'''''''''-''''''''''''0'',6'''''''''''''''''''''''''">
              <a:rPr lang="en-US" sz="1000" b="1">
                <a:solidFill>
                  <a:schemeClr val="bg1"/>
                </a:solidFill>
              </a:rPr>
              <a:pPr/>
              <a:t>-0,6</a:t>
            </a:fld>
            <a:endParaRPr lang="de-DE" sz="1000" b="1" dirty="0" err="1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68" name="Rechteck 267"/>
          <p:cNvSpPr/>
          <p:nvPr>
            <p:custDataLst>
              <p:tags r:id="rId30"/>
            </p:custDataLst>
          </p:nvPr>
        </p:nvSpPr>
        <p:spPr bwMode="gray">
          <a:xfrm>
            <a:off x="1236663" y="4781550"/>
            <a:ext cx="252413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58D3A90-5120-4039-8DF5-C29E02F3EFBB}" type="datetime'''''''''''-''2'''''',''''''''''''''''''''''''''''3'''''''''''">
              <a:rPr lang="en-US" sz="1000" b="1">
                <a:solidFill>
                  <a:schemeClr val="bg1"/>
                </a:solidFill>
              </a:rPr>
              <a:pPr/>
              <a:t>-2,3</a:t>
            </a:fld>
            <a:endParaRPr lang="de-DE" sz="1000" b="1" dirty="0" err="1" smtClean="0">
              <a:solidFill>
                <a:schemeClr val="bg1"/>
              </a:solidFill>
              <a:sym typeface="+mn-lt"/>
            </a:endParaRPr>
          </a:p>
        </p:txBody>
      </p:sp>
      <p:pic>
        <p:nvPicPr>
          <p:cNvPr id="276" name="Picture 40"/>
          <p:cNvPicPr>
            <a:picLocks noChangeAspect="1" noChangeArrowheads="1"/>
          </p:cNvPicPr>
          <p:nvPr/>
        </p:nvPicPr>
        <p:blipFill>
          <a:blip r:embed="rId60" cstate="print"/>
          <a:srcRect/>
          <a:stretch>
            <a:fillRect/>
          </a:stretch>
        </p:blipFill>
        <p:spPr bwMode="gray">
          <a:xfrm>
            <a:off x="1117605" y="4331338"/>
            <a:ext cx="303208" cy="19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aphicFrame>
        <p:nvGraphicFramePr>
          <p:cNvPr id="277" name="Objekt 276"/>
          <p:cNvGraphicFramePr>
            <a:graphicFrameLocks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54101694"/>
              </p:ext>
            </p:extLst>
          </p:nvPr>
        </p:nvGraphicFramePr>
        <p:xfrm>
          <a:off x="5029200" y="3810000"/>
          <a:ext cx="1381110" cy="9145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50" name="Diagramm" r:id="rId61" imgW="1381083" imgH="914439" progId="MSGraph.Chart.8">
                  <p:embed followColorScheme="full"/>
                </p:oleObj>
              </mc:Choice>
              <mc:Fallback>
                <p:oleObj name="Diagramm" r:id="rId61" imgW="1381083" imgH="91443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5029200" y="3810000"/>
                        <a:ext cx="1381110" cy="9145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8" name="Rechteck 277"/>
          <p:cNvSpPr/>
          <p:nvPr>
            <p:custDataLst>
              <p:tags r:id="rId32"/>
            </p:custDataLst>
          </p:nvPr>
        </p:nvSpPr>
        <p:spPr bwMode="gray">
          <a:xfrm>
            <a:off x="5467350" y="4052888"/>
            <a:ext cx="209550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80BB7B1-461D-4E51-8AE6-038554F03F93}" type="datetime'0'''''''''',''''''''''''''''''''5'''''''''''''''''">
              <a:rPr lang="en-US" sz="1000" b="1">
                <a:solidFill>
                  <a:schemeClr val="bg1"/>
                </a:solidFill>
              </a:rPr>
              <a:pPr/>
              <a:t>0,5</a:t>
            </a:fld>
            <a:endParaRPr lang="de-DE" sz="1000" b="1" dirty="0" err="1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79" name="Rechteck 278"/>
          <p:cNvSpPr/>
          <p:nvPr>
            <p:custDataLst>
              <p:tags r:id="rId33"/>
            </p:custDataLst>
          </p:nvPr>
        </p:nvSpPr>
        <p:spPr bwMode="gray">
          <a:xfrm>
            <a:off x="5160963" y="4324350"/>
            <a:ext cx="252413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5566FCB-2A2E-42A2-B6D8-F137076F7040}" type="datetime'''''''''''''''''''''''''''-''''''0'',''''''''2'">
              <a:rPr lang="en-US" sz="1000" b="1">
                <a:solidFill>
                  <a:schemeClr val="bg1"/>
                </a:solidFill>
              </a:rPr>
              <a:pPr/>
              <a:t>-0,2</a:t>
            </a:fld>
            <a:endParaRPr lang="de-DE" sz="1000" b="1" dirty="0" err="1" smtClean="0">
              <a:solidFill>
                <a:schemeClr val="bg1"/>
              </a:solidFill>
              <a:sym typeface="+mn-lt"/>
            </a:endParaRPr>
          </a:p>
        </p:txBody>
      </p:sp>
      <p:pic>
        <p:nvPicPr>
          <p:cNvPr id="281" name="Picture 34"/>
          <p:cNvPicPr>
            <a:picLocks noChangeAspect="1" noChangeArrowheads="1"/>
          </p:cNvPicPr>
          <p:nvPr/>
        </p:nvPicPr>
        <p:blipFill>
          <a:blip r:embed="rId63" cstate="print"/>
          <a:srcRect/>
          <a:stretch>
            <a:fillRect/>
          </a:stretch>
        </p:blipFill>
        <p:spPr bwMode="gray">
          <a:xfrm>
            <a:off x="5094411" y="3905694"/>
            <a:ext cx="267551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730266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gitization and big data </a:t>
            </a:r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 rot="16200000">
            <a:off x="1367644" y="2744924"/>
            <a:ext cx="3024336" cy="6480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GB" sz="2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OMMODITIZA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895692" y="1988840"/>
            <a:ext cx="4700644" cy="6480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GB" sz="28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PASSIVE MEASUREMEN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29489" y="4437112"/>
            <a:ext cx="4700644" cy="6480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GB" sz="28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SELF-CANNIBILIZATION</a:t>
            </a:r>
          </a:p>
        </p:txBody>
      </p:sp>
      <p:sp>
        <p:nvSpPr>
          <p:cNvPr id="7" name="TextBox 6"/>
          <p:cNvSpPr txBox="1"/>
          <p:nvPr/>
        </p:nvSpPr>
        <p:spPr>
          <a:xfrm rot="16200000">
            <a:off x="3409810" y="4005064"/>
            <a:ext cx="3672408" cy="6480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GB" sz="28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ULTURAL CHANG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203848" y="2708920"/>
            <a:ext cx="1800200" cy="115212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GB" sz="48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BIG DATA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222000" y="3645024"/>
            <a:ext cx="1800200" cy="115212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GB" sz="28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Analytic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83566" y="1052736"/>
            <a:ext cx="2736306" cy="6480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GB" sz="28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Data Federation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364088" y="5589240"/>
            <a:ext cx="2880320" cy="6480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GB" sz="28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HYBRID MODEL</a:t>
            </a:r>
          </a:p>
        </p:txBody>
      </p:sp>
      <p:sp>
        <p:nvSpPr>
          <p:cNvPr id="14" name="TextBox 13"/>
          <p:cNvSpPr txBox="1"/>
          <p:nvPr/>
        </p:nvSpPr>
        <p:spPr>
          <a:xfrm rot="16200000">
            <a:off x="-504564" y="2744924"/>
            <a:ext cx="2880320" cy="6480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GB" sz="40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CURRENC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383524" y="5517232"/>
            <a:ext cx="4700644" cy="6480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GB" sz="40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NEUTRAL</a:t>
            </a:r>
          </a:p>
        </p:txBody>
      </p:sp>
      <p:sp>
        <p:nvSpPr>
          <p:cNvPr id="16" name="TextBox 15"/>
          <p:cNvSpPr txBox="1"/>
          <p:nvPr/>
        </p:nvSpPr>
        <p:spPr>
          <a:xfrm rot="16200000">
            <a:off x="6534218" y="4383106"/>
            <a:ext cx="2556284" cy="115212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GB" sz="48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Trust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076056" y="2420888"/>
            <a:ext cx="3672408" cy="79208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GB" sz="48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PRIVACY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376100" y="1628800"/>
            <a:ext cx="4084332" cy="6480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GB" sz="36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ANONYMISAT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-108520" y="5013176"/>
            <a:ext cx="4700644" cy="6480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GB" sz="28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DIGITAL TRACES</a:t>
            </a:r>
          </a:p>
        </p:txBody>
      </p:sp>
      <p:sp>
        <p:nvSpPr>
          <p:cNvPr id="20" name="TextBox 19"/>
          <p:cNvSpPr txBox="1"/>
          <p:nvPr/>
        </p:nvSpPr>
        <p:spPr>
          <a:xfrm rot="16200000">
            <a:off x="5377899" y="4018874"/>
            <a:ext cx="2492660" cy="79208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GB" sz="36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OFFLINE &amp; OFFLIN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003659" y="2299804"/>
            <a:ext cx="1800200" cy="115212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GB" sz="44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Brick &amp; Click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67544" y="5589240"/>
            <a:ext cx="1780076" cy="6480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GB" sz="28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PEED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993622" y="1124744"/>
            <a:ext cx="2466810" cy="6480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GB" sz="28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RESISTANCE</a:t>
            </a:r>
          </a:p>
        </p:txBody>
      </p:sp>
    </p:spTree>
    <p:extLst>
      <p:ext uri="{BB962C8B-B14F-4D97-AF65-F5344CB8AC3E}">
        <p14:creationId xmlns:p14="http://schemas.microsoft.com/office/powerpoint/2010/main" val="3508469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1736" name="Object 63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5589560"/>
              </p:ext>
            </p:extLst>
          </p:nvPr>
        </p:nvGraphicFramePr>
        <p:xfrm>
          <a:off x="0" y="2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2" name="think-cell Folie" r:id="rId34" imgW="360" imgH="360" progId="TCLayout.ActiveDocument.1">
                  <p:embed/>
                </p:oleObj>
              </mc:Choice>
              <mc:Fallback>
                <p:oleObj name="think-cell Folie" r:id="rId3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 bwMode="auto">
          <a:xfrm>
            <a:off x="0" y="2"/>
            <a:ext cx="158750" cy="15875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de-DE" sz="120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60" name="Rectangle 4"/>
          <p:cNvSpPr/>
          <p:nvPr/>
        </p:nvSpPr>
        <p:spPr bwMode="gray">
          <a:xfrm>
            <a:off x="7236472" y="1675647"/>
            <a:ext cx="1583000" cy="412961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endParaRPr lang="de-DE" sz="11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31742" name="Rectangle 12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pPr>
              <a:spcAft>
                <a:spcPts val="300"/>
              </a:spcAft>
            </a:pPr>
            <a:r>
              <a:rPr lang="de-DE" dirty="0" smtClean="0">
                <a:latin typeface="Arial" charset="0"/>
              </a:rPr>
              <a:t>The digital opportunities are changing </a:t>
            </a:r>
            <a:br>
              <a:rPr lang="de-DE" dirty="0" smtClean="0">
                <a:latin typeface="Arial" charset="0"/>
              </a:rPr>
            </a:br>
            <a:r>
              <a:rPr lang="de-DE" dirty="0" smtClean="0">
                <a:latin typeface="Arial" charset="0"/>
              </a:rPr>
              <a:t>the consumer behaviou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r>
              <a:rPr lang="de-DE" dirty="0"/>
              <a:t>GfK </a:t>
            </a:r>
            <a:r>
              <a:rPr lang="de-DE" dirty="0" smtClean="0"/>
              <a:t>Consumer Panel Non-Food/ROPOs</a:t>
            </a:r>
            <a:endParaRPr lang="de-DE" dirty="0"/>
          </a:p>
        </p:txBody>
      </p:sp>
      <p:grpSp>
        <p:nvGrpSpPr>
          <p:cNvPr id="13" name="Gruppieren 12"/>
          <p:cNvGrpSpPr/>
          <p:nvPr/>
        </p:nvGrpSpPr>
        <p:grpSpPr>
          <a:xfrm>
            <a:off x="971600" y="2828469"/>
            <a:ext cx="3127392" cy="1051453"/>
            <a:chOff x="906454" y="2213142"/>
            <a:chExt cx="3127392" cy="788590"/>
          </a:xfrm>
        </p:grpSpPr>
        <p:sp>
          <p:nvSpPr>
            <p:cNvPr id="29" name="Rechteck 28"/>
            <p:cNvSpPr/>
            <p:nvPr>
              <p:custDataLst>
                <p:tags r:id="rId25"/>
              </p:custDataLst>
            </p:nvPr>
          </p:nvSpPr>
          <p:spPr bwMode="auto">
            <a:xfrm>
              <a:off x="2281230" y="2864810"/>
              <a:ext cx="349250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E61CACF3-A16F-4DAF-817B-7EDFDB38D92F}" type="datetime'''''''''''2''''''''01''1'''''">
                <a:rPr lang="de-DE" sz="1200" smtClean="0">
                  <a:solidFill>
                    <a:schemeClr val="bg2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2011</a:t>
              </a:fld>
              <a:endParaRPr lang="de-DE" sz="1200" dirty="0" smtClean="0">
                <a:solidFill>
                  <a:schemeClr val="bg2"/>
                </a:solidFill>
                <a:cs typeface="Arial"/>
                <a:sym typeface="Arial"/>
              </a:endParaRPr>
            </a:p>
          </p:txBody>
        </p:sp>
        <p:sp>
          <p:nvSpPr>
            <p:cNvPr id="31" name="Rechteck 30"/>
            <p:cNvSpPr/>
            <p:nvPr>
              <p:custDataLst>
                <p:tags r:id="rId26"/>
              </p:custDataLst>
            </p:nvPr>
          </p:nvSpPr>
          <p:spPr bwMode="auto">
            <a:xfrm>
              <a:off x="1216017" y="2577870"/>
              <a:ext cx="471488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20638" tIns="0" rIns="20638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42F8D208-48FD-4984-BC97-6F76E8EB9F69}" type="datetime'''''''''''1''2'''',''''''''''1''''''''''''''''''''''''%'''">
                <a:rPr lang="de-DE" sz="1200" smtClean="0">
                  <a:solidFill>
                    <a:srgbClr val="000000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12,1%</a:t>
              </a:fld>
              <a:endParaRPr lang="de-DE" sz="1200" dirty="0" smtClea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33" name="Rechteck 32"/>
            <p:cNvSpPr/>
            <p:nvPr>
              <p:custDataLst>
                <p:tags r:id="rId27"/>
              </p:custDataLst>
            </p:nvPr>
          </p:nvSpPr>
          <p:spPr bwMode="auto">
            <a:xfrm>
              <a:off x="3225792" y="2549296"/>
              <a:ext cx="471488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20638" tIns="0" rIns="20638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BCEC4584-CDDD-473A-B6AB-67ABA607C056}" type="datetime'''''''1''6'',''''''''''''''2''''%'''''''''''''''">
                <a:rPr lang="de-DE" sz="1200" smtClean="0">
                  <a:solidFill>
                    <a:srgbClr val="000000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16,2%</a:t>
              </a:fld>
              <a:endParaRPr lang="de-DE" sz="1200" dirty="0" smtClea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28" name="Rechteck 27"/>
            <p:cNvSpPr/>
            <p:nvPr>
              <p:custDataLst>
                <p:tags r:id="rId28"/>
              </p:custDataLst>
            </p:nvPr>
          </p:nvSpPr>
          <p:spPr bwMode="auto">
            <a:xfrm>
              <a:off x="1276342" y="2864810"/>
              <a:ext cx="349250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1AFC1DE1-425B-4574-823F-FFF411366190}" type="datetime'''20''''''''''''''''''''''1''''''''0'''''''''''''''''''''">
                <a:rPr lang="de-DE" sz="1200" smtClean="0">
                  <a:solidFill>
                    <a:schemeClr val="bg2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2010</a:t>
              </a:fld>
              <a:endParaRPr lang="de-DE" sz="1200" dirty="0" smtClean="0">
                <a:solidFill>
                  <a:schemeClr val="bg2"/>
                </a:solidFill>
                <a:cs typeface="Arial"/>
                <a:sym typeface="Arial"/>
              </a:endParaRPr>
            </a:p>
          </p:txBody>
        </p:sp>
        <p:sp>
          <p:nvSpPr>
            <p:cNvPr id="30" name="Rechteck 29"/>
            <p:cNvSpPr/>
            <p:nvPr>
              <p:custDataLst>
                <p:tags r:id="rId29"/>
              </p:custDataLst>
            </p:nvPr>
          </p:nvSpPr>
          <p:spPr bwMode="auto">
            <a:xfrm>
              <a:off x="3286117" y="2864810"/>
              <a:ext cx="349250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E1850511-7B4E-4B7D-97A7-0722F05DFC54}" type="datetime'''''''''''''''''2''0''1''''''''''''''''''''2'''''''''''">
                <a:rPr lang="de-DE" sz="1200" smtClean="0">
                  <a:solidFill>
                    <a:schemeClr val="bg2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2012</a:t>
              </a:fld>
              <a:endParaRPr lang="de-DE" sz="1200" dirty="0" smtClean="0">
                <a:solidFill>
                  <a:schemeClr val="bg2"/>
                </a:solidFill>
                <a:cs typeface="Arial"/>
                <a:sym typeface="Arial"/>
              </a:endParaRPr>
            </a:p>
          </p:txBody>
        </p:sp>
        <p:sp>
          <p:nvSpPr>
            <p:cNvPr id="32" name="Rechteck 31"/>
            <p:cNvSpPr/>
            <p:nvPr>
              <p:custDataLst>
                <p:tags r:id="rId30"/>
              </p:custDataLst>
            </p:nvPr>
          </p:nvSpPr>
          <p:spPr bwMode="auto">
            <a:xfrm>
              <a:off x="2220905" y="2563583"/>
              <a:ext cx="471488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20638" tIns="0" rIns="20638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1CAC7A06-190A-4C05-9680-176EFDB2E599}" type="datetime'''1''''''''''4'''''',''''''''''''''''''''''''''4''''%'''''''''">
                <a:rPr lang="de-DE" sz="1200" smtClean="0">
                  <a:solidFill>
                    <a:srgbClr val="000000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14,4%</a:t>
              </a:fld>
              <a:endParaRPr lang="de-DE" sz="1200" dirty="0" smtClea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graphicFrame>
          <p:nvGraphicFramePr>
            <p:cNvPr id="7" name="Objekt 4"/>
            <p:cNvGraphicFramePr>
              <a:graphicFrameLocks/>
            </p:cNvGraphicFramePr>
            <p:nvPr>
              <p:custDataLst>
                <p:tags r:id="rId31"/>
              </p:custDataLst>
              <p:extLst>
                <p:ext uri="{D42A27DB-BD31-4B8C-83A1-F6EECF244321}">
                  <p14:modId xmlns:p14="http://schemas.microsoft.com/office/powerpoint/2010/main" val="695470949"/>
                </p:ext>
              </p:extLst>
            </p:nvPr>
          </p:nvGraphicFramePr>
          <p:xfrm>
            <a:off x="906454" y="2213142"/>
            <a:ext cx="3127392" cy="68422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6"/>
            </a:graphicData>
          </a:graphic>
        </p:graphicFrame>
      </p:grpSp>
      <p:grpSp>
        <p:nvGrpSpPr>
          <p:cNvPr id="15" name="Gruppieren 14"/>
          <p:cNvGrpSpPr/>
          <p:nvPr/>
        </p:nvGrpSpPr>
        <p:grpSpPr>
          <a:xfrm>
            <a:off x="971600" y="4465313"/>
            <a:ext cx="3127392" cy="1051455"/>
            <a:chOff x="888183" y="3375034"/>
            <a:chExt cx="3127392" cy="788591"/>
          </a:xfrm>
        </p:grpSpPr>
        <p:sp>
          <p:nvSpPr>
            <p:cNvPr id="50" name="Rechteck 49"/>
            <p:cNvSpPr/>
            <p:nvPr>
              <p:custDataLst>
                <p:tags r:id="rId18"/>
              </p:custDataLst>
            </p:nvPr>
          </p:nvSpPr>
          <p:spPr bwMode="auto">
            <a:xfrm>
              <a:off x="2262959" y="4026703"/>
              <a:ext cx="349250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3C2A09DD-167A-49FB-A9C9-753194BC9A51}" type="datetime'2''''''''''''''''01''''''''''''''''''1'''''''''''''''''''''">
                <a:rPr lang="de-DE" sz="1200" smtClean="0">
                  <a:solidFill>
                    <a:schemeClr val="bg2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2011</a:t>
              </a:fld>
              <a:endParaRPr lang="de-DE" sz="1200" dirty="0" smtClean="0">
                <a:solidFill>
                  <a:schemeClr val="bg2"/>
                </a:solidFill>
                <a:cs typeface="Arial"/>
                <a:sym typeface="Arial"/>
              </a:endParaRPr>
            </a:p>
          </p:txBody>
        </p:sp>
        <p:sp>
          <p:nvSpPr>
            <p:cNvPr id="54" name="Rechteck 53"/>
            <p:cNvSpPr/>
            <p:nvPr>
              <p:custDataLst>
                <p:tags r:id="rId19"/>
              </p:custDataLst>
            </p:nvPr>
          </p:nvSpPr>
          <p:spPr bwMode="auto">
            <a:xfrm>
              <a:off x="1239021" y="3775481"/>
              <a:ext cx="387350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20638" tIns="0" rIns="20638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2CFC3414-BAE5-406E-AC05-70D696E611A0}" type="datetime'''''7,''''''''''''''''''''''''''''''''9''''''''''''''''%'">
                <a:rPr lang="de-DE" sz="1200" smtClean="0">
                  <a:solidFill>
                    <a:srgbClr val="000000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7,9%</a:t>
              </a:fld>
              <a:endParaRPr lang="de-DE" sz="1200" dirty="0" smtClea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55" name="Rechteck 54"/>
            <p:cNvSpPr/>
            <p:nvPr>
              <p:custDataLst>
                <p:tags r:id="rId20"/>
              </p:custDataLst>
            </p:nvPr>
          </p:nvSpPr>
          <p:spPr bwMode="auto">
            <a:xfrm>
              <a:off x="3248796" y="3768338"/>
              <a:ext cx="387350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20638" tIns="0" rIns="20638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43AB5DEF-74B6-45E1-AE54-892B2D6F0D71}" type="datetime'''''''''''''''8'''''''''''''',''''''''''''''5%'''">
                <a:rPr lang="de-DE" sz="1200" smtClean="0">
                  <a:solidFill>
                    <a:srgbClr val="000000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8,5%</a:t>
              </a:fld>
              <a:endParaRPr lang="de-DE" sz="1200" dirty="0" smtClea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56" name="Rechteck 55"/>
            <p:cNvSpPr/>
            <p:nvPr>
              <p:custDataLst>
                <p:tags r:id="rId21"/>
              </p:custDataLst>
            </p:nvPr>
          </p:nvSpPr>
          <p:spPr bwMode="auto">
            <a:xfrm>
              <a:off x="1258071" y="4026703"/>
              <a:ext cx="349250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85948FB0-0FF1-4C98-A473-B41913B70C28}" type="datetime'''2''0''1''''''''''''''''''''''''''0'''''''''''''''''''''''''">
                <a:rPr lang="de-DE" sz="1200" smtClean="0">
                  <a:solidFill>
                    <a:schemeClr val="bg2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2010</a:t>
              </a:fld>
              <a:endParaRPr lang="de-DE" sz="1200" dirty="0" smtClean="0">
                <a:solidFill>
                  <a:schemeClr val="bg2"/>
                </a:solidFill>
                <a:cs typeface="Arial"/>
                <a:sym typeface="Arial"/>
              </a:endParaRPr>
            </a:p>
          </p:txBody>
        </p:sp>
        <p:sp>
          <p:nvSpPr>
            <p:cNvPr id="57" name="Rechteck 56"/>
            <p:cNvSpPr/>
            <p:nvPr>
              <p:custDataLst>
                <p:tags r:id="rId22"/>
              </p:custDataLst>
            </p:nvPr>
          </p:nvSpPr>
          <p:spPr bwMode="auto">
            <a:xfrm>
              <a:off x="3267846" y="4026703"/>
              <a:ext cx="349250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B358A8BC-48DB-4F6D-8725-14B86BD0E71E}" type="datetime'''''20''''''1''''''''''''''2'''''">
                <a:rPr lang="de-DE" sz="1200" smtClean="0">
                  <a:solidFill>
                    <a:schemeClr val="bg2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2012</a:t>
              </a:fld>
              <a:endParaRPr lang="de-DE" sz="1200" dirty="0" smtClean="0">
                <a:solidFill>
                  <a:schemeClr val="bg2"/>
                </a:solidFill>
                <a:cs typeface="Arial"/>
                <a:sym typeface="Arial"/>
              </a:endParaRPr>
            </a:p>
          </p:txBody>
        </p:sp>
        <p:sp>
          <p:nvSpPr>
            <p:cNvPr id="67" name="Rechteck 66"/>
            <p:cNvSpPr/>
            <p:nvPr>
              <p:custDataLst>
                <p:tags r:id="rId23"/>
              </p:custDataLst>
            </p:nvPr>
          </p:nvSpPr>
          <p:spPr bwMode="auto">
            <a:xfrm>
              <a:off x="2243909" y="3775481"/>
              <a:ext cx="387350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20638" tIns="0" rIns="20638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5A210306-ADDA-4B5A-8D90-E862FBF13EDE}" type="datetime'''''''7'',''''9''''''''''''''%'''''''''''''''''''''''''''">
                <a:rPr lang="de-DE" sz="1200" smtClean="0">
                  <a:solidFill>
                    <a:srgbClr val="000000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7,9%</a:t>
              </a:fld>
              <a:endParaRPr lang="de-DE" sz="1200" dirty="0" smtClea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graphicFrame>
          <p:nvGraphicFramePr>
            <p:cNvPr id="8" name="Objekt 48"/>
            <p:cNvGraphicFramePr>
              <a:graphicFrameLocks/>
            </p:cNvGraphicFramePr>
            <p:nvPr>
              <p:custDataLst>
                <p:tags r:id="rId24"/>
              </p:custDataLst>
              <p:extLst>
                <p:ext uri="{D42A27DB-BD31-4B8C-83A1-F6EECF244321}">
                  <p14:modId xmlns:p14="http://schemas.microsoft.com/office/powerpoint/2010/main" val="1199042092"/>
                </p:ext>
              </p:extLst>
            </p:nvPr>
          </p:nvGraphicFramePr>
          <p:xfrm>
            <a:off x="888183" y="3375034"/>
            <a:ext cx="3127392" cy="68422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7"/>
            </a:graphicData>
          </a:graphic>
        </p:graphicFrame>
      </p:grpSp>
      <p:grpSp>
        <p:nvGrpSpPr>
          <p:cNvPr id="17" name="Gruppieren 16"/>
          <p:cNvGrpSpPr/>
          <p:nvPr/>
        </p:nvGrpSpPr>
        <p:grpSpPr>
          <a:xfrm>
            <a:off x="4072918" y="4279369"/>
            <a:ext cx="3127375" cy="1219201"/>
            <a:chOff x="4064182" y="3259083"/>
            <a:chExt cx="3127375" cy="914401"/>
          </a:xfrm>
        </p:grpSpPr>
        <p:sp>
          <p:nvSpPr>
            <p:cNvPr id="69" name="Rechteck 68"/>
            <p:cNvSpPr/>
            <p:nvPr>
              <p:custDataLst>
                <p:tags r:id="rId11"/>
              </p:custDataLst>
            </p:nvPr>
          </p:nvSpPr>
          <p:spPr bwMode="auto">
            <a:xfrm>
              <a:off x="5438954" y="4036562"/>
              <a:ext cx="349250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5FD360A6-3941-4906-963A-03A1184A4FB0}" type="datetime'''''''2''''''''''''''0''''1''1'''''''''''''''''''''''">
                <a:rPr lang="de-DE" sz="1200" smtClean="0">
                  <a:solidFill>
                    <a:schemeClr val="bg2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2011</a:t>
              </a:fld>
              <a:endParaRPr lang="de-DE" sz="1200" dirty="0" smtClean="0">
                <a:solidFill>
                  <a:schemeClr val="bg2"/>
                </a:solidFill>
                <a:cs typeface="Arial"/>
                <a:sym typeface="Arial"/>
              </a:endParaRPr>
            </a:p>
          </p:txBody>
        </p:sp>
        <p:sp>
          <p:nvSpPr>
            <p:cNvPr id="70" name="Rechteck 69"/>
            <p:cNvSpPr/>
            <p:nvPr>
              <p:custDataLst>
                <p:tags r:id="rId12"/>
              </p:custDataLst>
            </p:nvPr>
          </p:nvSpPr>
          <p:spPr bwMode="auto">
            <a:xfrm>
              <a:off x="4373742" y="3259083"/>
              <a:ext cx="471488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20638" tIns="0" rIns="20638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E9B2AF7F-A719-4A21-8826-07C3C2E386F2}" type="datetime'''''''7''''''''''''''''''''''''8'''',''9''''''''''%'''''">
                <a:rPr lang="de-DE" sz="1200" smtClean="0">
                  <a:solidFill>
                    <a:srgbClr val="000000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78,9%</a:t>
              </a:fld>
              <a:endParaRPr lang="de-DE" sz="1200" dirty="0" smtClea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71" name="Rechteck 70"/>
            <p:cNvSpPr/>
            <p:nvPr>
              <p:custDataLst>
                <p:tags r:id="rId13"/>
              </p:custDataLst>
            </p:nvPr>
          </p:nvSpPr>
          <p:spPr bwMode="auto">
            <a:xfrm>
              <a:off x="6383517" y="3287658"/>
              <a:ext cx="471488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20638" tIns="0" rIns="20638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0D077E31-6A91-49B5-9D9C-2574FA3F03E9}" type="datetime'''''''''''''''''7''3'''''''''''',''''''''''''''8''%'''''">
                <a:rPr lang="de-DE" sz="1200" smtClean="0">
                  <a:solidFill>
                    <a:srgbClr val="000000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73,8%</a:t>
              </a:fld>
              <a:endParaRPr lang="de-DE" sz="1200" dirty="0" smtClea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72" name="Rechteck 71"/>
            <p:cNvSpPr/>
            <p:nvPr>
              <p:custDataLst>
                <p:tags r:id="rId14"/>
              </p:custDataLst>
            </p:nvPr>
          </p:nvSpPr>
          <p:spPr bwMode="auto">
            <a:xfrm>
              <a:off x="4434067" y="4036562"/>
              <a:ext cx="349250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04FA7A45-1744-46AB-994C-727E10135577}" type="datetime'''''''''''''''2''''''0''''''''''''''''''''''''1''''0'">
                <a:rPr lang="de-DE" sz="1200" smtClean="0">
                  <a:solidFill>
                    <a:schemeClr val="bg2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2010</a:t>
              </a:fld>
              <a:endParaRPr lang="de-DE" sz="1200" dirty="0" smtClean="0">
                <a:solidFill>
                  <a:schemeClr val="bg2"/>
                </a:solidFill>
                <a:cs typeface="Arial"/>
                <a:sym typeface="Arial"/>
              </a:endParaRPr>
            </a:p>
          </p:txBody>
        </p:sp>
        <p:sp>
          <p:nvSpPr>
            <p:cNvPr id="73" name="Rechteck 72"/>
            <p:cNvSpPr/>
            <p:nvPr>
              <p:custDataLst>
                <p:tags r:id="rId15"/>
              </p:custDataLst>
            </p:nvPr>
          </p:nvSpPr>
          <p:spPr bwMode="auto">
            <a:xfrm>
              <a:off x="6443842" y="4036562"/>
              <a:ext cx="349250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912F2D33-FB0F-45F6-A753-EB431DA4F4F5}" type="datetime'''''''2''''''''''''''''01''''2'''''''''''''''''''">
                <a:rPr lang="de-DE" sz="1200" smtClean="0">
                  <a:solidFill>
                    <a:schemeClr val="bg2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2012</a:t>
              </a:fld>
              <a:endParaRPr lang="de-DE" sz="1200" dirty="0" smtClean="0">
                <a:solidFill>
                  <a:schemeClr val="bg2"/>
                </a:solidFill>
                <a:cs typeface="Arial"/>
                <a:sym typeface="Arial"/>
              </a:endParaRPr>
            </a:p>
          </p:txBody>
        </p:sp>
        <p:sp>
          <p:nvSpPr>
            <p:cNvPr id="74" name="Rechteck 73"/>
            <p:cNvSpPr/>
            <p:nvPr>
              <p:custDataLst>
                <p:tags r:id="rId16"/>
              </p:custDataLst>
            </p:nvPr>
          </p:nvSpPr>
          <p:spPr bwMode="auto">
            <a:xfrm>
              <a:off x="5378629" y="3273371"/>
              <a:ext cx="471488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20638" tIns="0" rIns="20638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0593C39F-03F0-4B80-877A-DFC20F01DC85}" type="datetime'7''''''''''''6'''''''''''''''''',''4''%'''''''''''''''''''''">
                <a:rPr lang="de-DE" sz="1200" smtClean="0">
                  <a:solidFill>
                    <a:srgbClr val="000000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76,4%</a:t>
              </a:fld>
              <a:endParaRPr lang="de-DE" sz="1200" dirty="0" smtClea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graphicFrame>
          <p:nvGraphicFramePr>
            <p:cNvPr id="6" name="Objekt 67"/>
            <p:cNvGraphicFramePr>
              <a:graphicFrameLocks/>
            </p:cNvGraphicFramePr>
            <p:nvPr>
              <p:custDataLst>
                <p:tags r:id="rId17"/>
              </p:custDataLst>
              <p:extLst>
                <p:ext uri="{D42A27DB-BD31-4B8C-83A1-F6EECF244321}">
                  <p14:modId xmlns:p14="http://schemas.microsoft.com/office/powerpoint/2010/main" val="2116309537"/>
                </p:ext>
              </p:extLst>
            </p:nvPr>
          </p:nvGraphicFramePr>
          <p:xfrm>
            <a:off x="4064182" y="3394418"/>
            <a:ext cx="3127375" cy="68421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8"/>
            </a:graphicData>
          </a:graphic>
        </p:graphicFrame>
      </p:grpSp>
      <p:grpSp>
        <p:nvGrpSpPr>
          <p:cNvPr id="14" name="Gruppieren 13"/>
          <p:cNvGrpSpPr/>
          <p:nvPr/>
        </p:nvGrpSpPr>
        <p:grpSpPr>
          <a:xfrm>
            <a:off x="4072900" y="2829729"/>
            <a:ext cx="3127392" cy="1051453"/>
            <a:chOff x="4064165" y="2214087"/>
            <a:chExt cx="3127392" cy="788590"/>
          </a:xfrm>
        </p:grpSpPr>
        <p:graphicFrame>
          <p:nvGraphicFramePr>
            <p:cNvPr id="9" name="Objekt 74"/>
            <p:cNvGraphicFramePr>
              <a:graphicFrameLocks/>
            </p:cNvGraphicFramePr>
            <p:nvPr>
              <p:custDataLst>
                <p:tags r:id="rId4"/>
              </p:custDataLst>
              <p:extLst>
                <p:ext uri="{D42A27DB-BD31-4B8C-83A1-F6EECF244321}">
                  <p14:modId xmlns:p14="http://schemas.microsoft.com/office/powerpoint/2010/main" val="4024835923"/>
                </p:ext>
              </p:extLst>
            </p:nvPr>
          </p:nvGraphicFramePr>
          <p:xfrm>
            <a:off x="4064165" y="2214087"/>
            <a:ext cx="3127392" cy="68422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9"/>
            </a:graphicData>
          </a:graphic>
        </p:graphicFrame>
        <p:sp>
          <p:nvSpPr>
            <p:cNvPr id="76" name="Rechteck 75"/>
            <p:cNvSpPr/>
            <p:nvPr>
              <p:custDataLst>
                <p:tags r:id="rId5"/>
              </p:custDataLst>
            </p:nvPr>
          </p:nvSpPr>
          <p:spPr bwMode="auto">
            <a:xfrm>
              <a:off x="5438941" y="2865755"/>
              <a:ext cx="349250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2B27A95B-7B78-413D-9517-BCB92D041368}" type="datetime'''2''0''''''''''''''''''''''''''1''''''''''''''1'''''''">
                <a:rPr lang="de-DE" sz="1200" smtClean="0">
                  <a:solidFill>
                    <a:schemeClr val="bg2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2011</a:t>
              </a:fld>
              <a:endParaRPr lang="de-DE" sz="1200" dirty="0" smtClean="0">
                <a:solidFill>
                  <a:schemeClr val="bg2"/>
                </a:solidFill>
                <a:cs typeface="Arial"/>
                <a:sym typeface="Arial"/>
              </a:endParaRPr>
            </a:p>
          </p:txBody>
        </p:sp>
        <p:sp>
          <p:nvSpPr>
            <p:cNvPr id="77" name="Rechteck 76"/>
            <p:cNvSpPr/>
            <p:nvPr>
              <p:custDataLst>
                <p:tags r:id="rId6"/>
              </p:custDataLst>
            </p:nvPr>
          </p:nvSpPr>
          <p:spPr bwMode="auto">
            <a:xfrm>
              <a:off x="4415003" y="2664541"/>
              <a:ext cx="387350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20638" tIns="0" rIns="20638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F1D67C57-EE87-4CC9-9254-EFA7CDF79B8E}" type="datetime'''''''''''''''''''''''''''''''''''''1'''''',''''''''''1%'">
                <a:rPr lang="de-DE" sz="1200" smtClean="0">
                  <a:solidFill>
                    <a:srgbClr val="000000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1,1%</a:t>
              </a:fld>
              <a:endParaRPr lang="de-DE" sz="1200" dirty="0" smtClea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78" name="Rechteck 77"/>
            <p:cNvSpPr/>
            <p:nvPr>
              <p:custDataLst>
                <p:tags r:id="rId7"/>
              </p:custDataLst>
            </p:nvPr>
          </p:nvSpPr>
          <p:spPr bwMode="auto">
            <a:xfrm>
              <a:off x="6424778" y="2657396"/>
              <a:ext cx="387350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20638" tIns="0" rIns="20638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0EA6F964-0F16-4BE9-B4E1-BA699F8C81F9}" type="datetime'''''''''''''''1,''''''''''''''''5''''''''''''''''%'''''''''''">
                <a:rPr lang="de-DE" sz="1200" smtClean="0">
                  <a:solidFill>
                    <a:srgbClr val="000000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1,5%</a:t>
              </a:fld>
              <a:endParaRPr lang="de-DE" sz="1200" dirty="0" smtClea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79" name="Rechteck 78"/>
            <p:cNvSpPr/>
            <p:nvPr>
              <p:custDataLst>
                <p:tags r:id="rId8"/>
              </p:custDataLst>
            </p:nvPr>
          </p:nvSpPr>
          <p:spPr bwMode="auto">
            <a:xfrm>
              <a:off x="4434053" y="2865755"/>
              <a:ext cx="349250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CBA43C92-999D-4DD3-B806-42C47A0366C2}" type="datetime'''''''''''''2''''''''''''''''''''01''''0'''''''">
                <a:rPr lang="de-DE" sz="1200" smtClean="0">
                  <a:solidFill>
                    <a:schemeClr val="bg2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2010</a:t>
              </a:fld>
              <a:endParaRPr lang="de-DE" sz="1200" dirty="0" smtClean="0">
                <a:solidFill>
                  <a:schemeClr val="bg2"/>
                </a:solidFill>
                <a:cs typeface="Arial"/>
                <a:sym typeface="Arial"/>
              </a:endParaRPr>
            </a:p>
          </p:txBody>
        </p:sp>
        <p:sp>
          <p:nvSpPr>
            <p:cNvPr id="80" name="Rechteck 79"/>
            <p:cNvSpPr/>
            <p:nvPr>
              <p:custDataLst>
                <p:tags r:id="rId9"/>
              </p:custDataLst>
            </p:nvPr>
          </p:nvSpPr>
          <p:spPr bwMode="auto">
            <a:xfrm>
              <a:off x="6443828" y="2865755"/>
              <a:ext cx="349250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BB8E766B-1BEA-436F-9308-B64211BBFB1A}" type="datetime'''''''''''''''''''''''''2''''01''2'''''''''">
                <a:rPr lang="de-DE" sz="1200" smtClean="0">
                  <a:solidFill>
                    <a:schemeClr val="bg2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2012</a:t>
              </a:fld>
              <a:endParaRPr lang="de-DE" sz="1200" dirty="0" smtClean="0">
                <a:solidFill>
                  <a:schemeClr val="bg2"/>
                </a:solidFill>
                <a:cs typeface="Arial"/>
                <a:sym typeface="Arial"/>
              </a:endParaRPr>
            </a:p>
          </p:txBody>
        </p:sp>
        <p:sp>
          <p:nvSpPr>
            <p:cNvPr id="81" name="Rechteck 80"/>
            <p:cNvSpPr/>
            <p:nvPr>
              <p:custDataLst>
                <p:tags r:id="rId10"/>
              </p:custDataLst>
            </p:nvPr>
          </p:nvSpPr>
          <p:spPr bwMode="auto">
            <a:xfrm>
              <a:off x="5419891" y="2664541"/>
              <a:ext cx="387350" cy="1369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20638" tIns="0" rIns="20638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CE6AA716-F28D-4E68-B74E-E981BAD5D769}" type="datetime'''''''''''''1'''''''''''''',''3''''''''''%'''''''''''''">
                <a:rPr lang="de-DE" sz="1200" smtClean="0">
                  <a:solidFill>
                    <a:srgbClr val="000000"/>
                  </a:solidFill>
                  <a:cs typeface="Arial"/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1,3%</a:t>
              </a:fld>
              <a:endParaRPr lang="de-DE" sz="1200" dirty="0" smtClea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</p:grpSp>
      <p:sp>
        <p:nvSpPr>
          <p:cNvPr id="11" name="Rechteck 10"/>
          <p:cNvSpPr/>
          <p:nvPr/>
        </p:nvSpPr>
        <p:spPr bwMode="gray">
          <a:xfrm>
            <a:off x="7200292" y="2060383"/>
            <a:ext cx="1692012" cy="1632000"/>
          </a:xfrm>
          <a:prstGeom prst="rect">
            <a:avLst/>
          </a:prstGeom>
        </p:spPr>
        <p:txBody>
          <a:bodyPr wrap="square" lIns="90000" rIns="90000">
            <a:noAutofit/>
          </a:bodyPr>
          <a:lstStyle/>
          <a:p>
            <a:pPr marL="285750" indent="-285750">
              <a:buFont typeface="Wingdings" panose="05000000000000000000" pitchFamily="2" charset="2"/>
              <a:buChar char="è"/>
            </a:pPr>
            <a:r>
              <a:rPr lang="de-DE" sz="1300" dirty="0" smtClean="0">
                <a:latin typeface="Arial" charset="0"/>
              </a:rPr>
              <a:t>Online becoming more important as well in information search as purchase</a:t>
            </a:r>
            <a:endParaRPr lang="de-DE" sz="1300" dirty="0"/>
          </a:p>
        </p:txBody>
      </p:sp>
      <p:sp>
        <p:nvSpPr>
          <p:cNvPr id="90" name="Rechteck 89"/>
          <p:cNvSpPr/>
          <p:nvPr/>
        </p:nvSpPr>
        <p:spPr bwMode="gray">
          <a:xfrm>
            <a:off x="7163948" y="4172618"/>
            <a:ext cx="1728356" cy="1632000"/>
          </a:xfrm>
          <a:prstGeom prst="rect">
            <a:avLst/>
          </a:prstGeom>
        </p:spPr>
        <p:txBody>
          <a:bodyPr wrap="square" lIns="90000" rIns="90000">
            <a:noAutofit/>
          </a:bodyPr>
          <a:lstStyle/>
          <a:p>
            <a:pPr marL="285750" indent="-285750">
              <a:buFont typeface="Wingdings" panose="05000000000000000000" pitchFamily="2" charset="2"/>
              <a:buChar char="è"/>
            </a:pPr>
            <a:r>
              <a:rPr lang="de-DE" sz="1300" dirty="0" smtClean="0">
                <a:latin typeface="Arial" charset="0"/>
              </a:rPr>
              <a:t>The exclusive offline purchase process is less and less important</a:t>
            </a:r>
            <a:endParaRPr lang="de-DE" sz="1300" dirty="0"/>
          </a:p>
        </p:txBody>
      </p:sp>
      <p:sp>
        <p:nvSpPr>
          <p:cNvPr id="4" name="Rechteck 3"/>
          <p:cNvSpPr/>
          <p:nvPr/>
        </p:nvSpPr>
        <p:spPr bwMode="gray">
          <a:xfrm>
            <a:off x="1007605" y="1675644"/>
            <a:ext cx="6156684" cy="3840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r>
              <a:rPr lang="de-DE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formation search</a:t>
            </a:r>
          </a:p>
        </p:txBody>
      </p:sp>
      <p:sp>
        <p:nvSpPr>
          <p:cNvPr id="45" name="Rechteck 44"/>
          <p:cNvSpPr/>
          <p:nvPr/>
        </p:nvSpPr>
        <p:spPr bwMode="gray">
          <a:xfrm>
            <a:off x="323849" y="1052736"/>
            <a:ext cx="6477963" cy="2881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</a:pPr>
            <a:r>
              <a:rPr lang="de-DE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urchase behaviour in % of expenditure for non-food consumer goods</a:t>
            </a:r>
            <a:endParaRPr lang="de-DE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Rechteck 46"/>
          <p:cNvSpPr/>
          <p:nvPr/>
        </p:nvSpPr>
        <p:spPr bwMode="gray">
          <a:xfrm rot="16200000">
            <a:off x="-1153487" y="4028605"/>
            <a:ext cx="3263973" cy="2880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r>
              <a:rPr lang="de-DE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urchase</a:t>
            </a:r>
          </a:p>
        </p:txBody>
      </p:sp>
      <p:sp>
        <p:nvSpPr>
          <p:cNvPr id="48" name="Rechteck 47"/>
          <p:cNvSpPr/>
          <p:nvPr/>
        </p:nvSpPr>
        <p:spPr bwMode="gray">
          <a:xfrm>
            <a:off x="1007605" y="2060383"/>
            <a:ext cx="3078342" cy="38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r>
              <a:rPr lang="de-DE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nline</a:t>
            </a:r>
          </a:p>
        </p:txBody>
      </p:sp>
      <p:sp>
        <p:nvSpPr>
          <p:cNvPr id="49" name="Rechteck 48"/>
          <p:cNvSpPr/>
          <p:nvPr/>
        </p:nvSpPr>
        <p:spPr bwMode="gray">
          <a:xfrm>
            <a:off x="4085947" y="2060383"/>
            <a:ext cx="3078342" cy="38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r>
              <a:rPr lang="de-DE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ffline</a:t>
            </a:r>
          </a:p>
        </p:txBody>
      </p:sp>
      <p:sp>
        <p:nvSpPr>
          <p:cNvPr id="51" name="Rechteck 50"/>
          <p:cNvSpPr/>
          <p:nvPr/>
        </p:nvSpPr>
        <p:spPr bwMode="gray">
          <a:xfrm rot="16200000">
            <a:off x="-60440" y="4844799"/>
            <a:ext cx="163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r>
              <a:rPr lang="de-DE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ffline</a:t>
            </a:r>
          </a:p>
        </p:txBody>
      </p:sp>
      <p:sp>
        <p:nvSpPr>
          <p:cNvPr id="52" name="Rechteck 51"/>
          <p:cNvSpPr/>
          <p:nvPr/>
        </p:nvSpPr>
        <p:spPr bwMode="gray">
          <a:xfrm rot="16200000">
            <a:off x="-60440" y="3212618"/>
            <a:ext cx="163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r>
              <a:rPr lang="de-DE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nline</a:t>
            </a:r>
          </a:p>
        </p:txBody>
      </p:sp>
      <p:sp>
        <p:nvSpPr>
          <p:cNvPr id="18" name="Rechteck 17"/>
          <p:cNvSpPr/>
          <p:nvPr/>
        </p:nvSpPr>
        <p:spPr bwMode="gray">
          <a:xfrm>
            <a:off x="1007944" y="2540618"/>
            <a:ext cx="3060000" cy="1632677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Rechteck 52"/>
          <p:cNvSpPr/>
          <p:nvPr/>
        </p:nvSpPr>
        <p:spPr bwMode="gray">
          <a:xfrm>
            <a:off x="4103948" y="4173295"/>
            <a:ext cx="3060000" cy="1631504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93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Diagramm 11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1894142"/>
              </p:ext>
            </p:extLst>
          </p:nvPr>
        </p:nvGraphicFramePr>
        <p:xfrm>
          <a:off x="107504" y="1176101"/>
          <a:ext cx="8425170" cy="50770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1729968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en-US" dirty="0"/>
              <a:t>*Rather don‘t trust them/ Don‘t trust them at </a:t>
            </a:r>
            <a:r>
              <a:rPr lang="en-US" dirty="0" smtClean="0"/>
              <a:t>all I Source</a:t>
            </a:r>
            <a:r>
              <a:rPr lang="en-US" dirty="0"/>
              <a:t>: GfK Verein, </a:t>
            </a:r>
            <a:r>
              <a:rPr lang="en-US" dirty="0" err="1"/>
              <a:t>Studie</a:t>
            </a:r>
            <a:r>
              <a:rPr lang="en-US" dirty="0"/>
              <a:t> „</a:t>
            </a:r>
            <a:r>
              <a:rPr lang="en-US" dirty="0" err="1"/>
              <a:t>Daten</a:t>
            </a:r>
            <a:r>
              <a:rPr lang="en-US" dirty="0"/>
              <a:t> &amp; </a:t>
            </a:r>
            <a:r>
              <a:rPr lang="en-US" dirty="0" err="1"/>
              <a:t>Schutz</a:t>
            </a:r>
            <a:r>
              <a:rPr lang="en-US" dirty="0"/>
              <a:t>“, November </a:t>
            </a:r>
            <a:r>
              <a:rPr lang="en-US" dirty="0" smtClean="0"/>
              <a:t>2013 I Basis</a:t>
            </a:r>
            <a:r>
              <a:rPr lang="en-US" dirty="0"/>
              <a:t>: total sample, </a:t>
            </a:r>
            <a:r>
              <a:rPr lang="en-US" dirty="0" smtClean="0"/>
              <a:t>n=2014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en-US" dirty="0" smtClean="0"/>
              <a:t>Top 10 – </a:t>
            </a:r>
            <a:r>
              <a:rPr lang="de-DE" dirty="0" smtClean="0"/>
              <a:t>Mistrust* in institutions/Businesses </a:t>
            </a:r>
            <a:br>
              <a:rPr lang="de-DE" dirty="0" smtClean="0"/>
            </a:br>
            <a:r>
              <a:rPr lang="de-DE" dirty="0" smtClean="0"/>
              <a:t>regarding treatment of your personal data</a:t>
            </a:r>
            <a:endParaRPr lang="en-US" dirty="0"/>
          </a:p>
        </p:txBody>
      </p:sp>
      <p:sp>
        <p:nvSpPr>
          <p:cNvPr id="11" name="Rechteck 10"/>
          <p:cNvSpPr/>
          <p:nvPr>
            <p:custDataLst>
              <p:tags r:id="rId6"/>
            </p:custDataLst>
          </p:nvPr>
        </p:nvSpPr>
        <p:spPr bwMode="gray">
          <a:xfrm>
            <a:off x="251400" y="980661"/>
            <a:ext cx="1799810" cy="36018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hteck 44"/>
          <p:cNvSpPr/>
          <p:nvPr/>
        </p:nvSpPr>
        <p:spPr bwMode="gray">
          <a:xfrm>
            <a:off x="323849" y="1052736"/>
            <a:ext cx="6477963" cy="2881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</a:pPr>
            <a:r>
              <a:rPr lang="de-DE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n %</a:t>
            </a:r>
            <a:endParaRPr lang="de-DE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6592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9945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Source: </a:t>
            </a:r>
            <a:r>
              <a:rPr lang="de-DE" dirty="0"/>
              <a:t>GfK Verein, Studie „Daten &amp; Schutz“, November </a:t>
            </a:r>
            <a:r>
              <a:rPr lang="de-DE" dirty="0" smtClean="0"/>
              <a:t>2013 I Multiple answers possible I Basis</a:t>
            </a:r>
            <a:r>
              <a:rPr lang="de-DE" dirty="0"/>
              <a:t>: </a:t>
            </a:r>
            <a:r>
              <a:rPr lang="de-DE" dirty="0" smtClean="0"/>
              <a:t>Internet users, </a:t>
            </a:r>
            <a:r>
              <a:rPr lang="de-DE" dirty="0"/>
              <a:t>n= </a:t>
            </a:r>
            <a:r>
              <a:rPr lang="de-DE" dirty="0" smtClean="0"/>
              <a:t>1547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Non-users because of data security</a:t>
            </a:r>
            <a:endParaRPr lang="en-US" dirty="0"/>
          </a:p>
        </p:txBody>
      </p:sp>
      <p:graphicFrame>
        <p:nvGraphicFramePr>
          <p:cNvPr id="4" name="Diagramm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67566043"/>
              </p:ext>
            </p:extLst>
          </p:nvPr>
        </p:nvGraphicFramePr>
        <p:xfrm>
          <a:off x="323630" y="1418358"/>
          <a:ext cx="8208920" cy="48624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2" name="Rechteck 10"/>
          <p:cNvSpPr/>
          <p:nvPr>
            <p:custDataLst>
              <p:tags r:id="rId6"/>
            </p:custDataLst>
          </p:nvPr>
        </p:nvSpPr>
        <p:spPr bwMode="gray">
          <a:xfrm>
            <a:off x="251400" y="980661"/>
            <a:ext cx="1799810" cy="36018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hteck 44"/>
          <p:cNvSpPr/>
          <p:nvPr/>
        </p:nvSpPr>
        <p:spPr bwMode="gray">
          <a:xfrm>
            <a:off x="323849" y="1052736"/>
            <a:ext cx="6477963" cy="2881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</a:pPr>
            <a:r>
              <a:rPr lang="de-DE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</a:t>
            </a:r>
            <a:r>
              <a:rPr lang="de-DE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n %</a:t>
            </a:r>
            <a:endParaRPr lang="de-DE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9599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8" name="Straight Connector 47"/>
          <p:cNvCxnSpPr>
            <a:endCxn id="8" idx="1"/>
          </p:cNvCxnSpPr>
          <p:nvPr/>
        </p:nvCxnSpPr>
        <p:spPr>
          <a:xfrm flipH="1">
            <a:off x="395800" y="1845860"/>
            <a:ext cx="1655920" cy="270824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endCxn id="8" idx="3"/>
          </p:cNvCxnSpPr>
          <p:nvPr/>
        </p:nvCxnSpPr>
        <p:spPr>
          <a:xfrm>
            <a:off x="2051721" y="1845860"/>
            <a:ext cx="1583815" cy="270824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endCxn id="13" idx="1"/>
          </p:cNvCxnSpPr>
          <p:nvPr/>
        </p:nvCxnSpPr>
        <p:spPr>
          <a:xfrm flipH="1">
            <a:off x="5605586" y="620688"/>
            <a:ext cx="1594526" cy="305303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endCxn id="13" idx="3"/>
          </p:cNvCxnSpPr>
          <p:nvPr/>
        </p:nvCxnSpPr>
        <p:spPr>
          <a:xfrm>
            <a:off x="7212850" y="620688"/>
            <a:ext cx="1607262" cy="305303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510579"/>
              </p:ext>
            </p:ext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70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en-US" dirty="0" smtClean="0"/>
              <a:t>Privacy</a:t>
            </a:r>
            <a:endParaRPr lang="en-US" dirty="0"/>
          </a:p>
        </p:txBody>
      </p:sp>
      <p:sp>
        <p:nvSpPr>
          <p:cNvPr id="17" name="Rectangle 74"/>
          <p:cNvSpPr/>
          <p:nvPr>
            <p:custDataLst>
              <p:tags r:id="rId4"/>
            </p:custDataLst>
          </p:nvPr>
        </p:nvSpPr>
        <p:spPr bwMode="gray">
          <a:xfrm>
            <a:off x="395536" y="3861147"/>
            <a:ext cx="3240000" cy="384000"/>
          </a:xfrm>
          <a:prstGeom prst="rect">
            <a:avLst/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…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8" name="Rectangle 74"/>
          <p:cNvSpPr/>
          <p:nvPr>
            <p:custDataLst>
              <p:tags r:id="rId5"/>
            </p:custDataLst>
          </p:nvPr>
        </p:nvSpPr>
        <p:spPr bwMode="gray">
          <a:xfrm>
            <a:off x="395536" y="3285067"/>
            <a:ext cx="3240000" cy="384000"/>
          </a:xfrm>
          <a:prstGeom prst="rect">
            <a:avLst/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Incentives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9" name="Rectangle 74"/>
          <p:cNvSpPr/>
          <p:nvPr>
            <p:custDataLst>
              <p:tags r:id="rId6"/>
            </p:custDataLst>
          </p:nvPr>
        </p:nvSpPr>
        <p:spPr bwMode="gray">
          <a:xfrm>
            <a:off x="395536" y="2708987"/>
            <a:ext cx="3240000" cy="384000"/>
          </a:xfrm>
          <a:prstGeom prst="rect">
            <a:avLst/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Functionality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5" name="Rectangle 74"/>
          <p:cNvSpPr/>
          <p:nvPr>
            <p:custDataLst>
              <p:tags r:id="rId7"/>
            </p:custDataLst>
          </p:nvPr>
        </p:nvSpPr>
        <p:spPr bwMode="gray">
          <a:xfrm>
            <a:off x="5580112" y="2998020"/>
            <a:ext cx="3240000" cy="384000"/>
          </a:xfrm>
          <a:prstGeom prst="rect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…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6" name="Rectangle 74"/>
          <p:cNvSpPr/>
          <p:nvPr>
            <p:custDataLst>
              <p:tags r:id="rId8"/>
            </p:custDataLst>
          </p:nvPr>
        </p:nvSpPr>
        <p:spPr bwMode="gray">
          <a:xfrm>
            <a:off x="5580112" y="2421940"/>
            <a:ext cx="3240000" cy="384000"/>
          </a:xfrm>
          <a:prstGeom prst="rect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Misuse of data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7" name="Rectangle 74"/>
          <p:cNvSpPr/>
          <p:nvPr>
            <p:custDataLst>
              <p:tags r:id="rId9"/>
            </p:custDataLst>
          </p:nvPr>
        </p:nvSpPr>
        <p:spPr bwMode="gray">
          <a:xfrm>
            <a:off x="5580112" y="1845860"/>
            <a:ext cx="3240000" cy="384000"/>
          </a:xfrm>
          <a:prstGeom prst="rect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Privacy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37" name="Rectangle 74"/>
          <p:cNvSpPr/>
          <p:nvPr>
            <p:custDataLst>
              <p:tags r:id="rId10"/>
            </p:custDataLst>
          </p:nvPr>
        </p:nvSpPr>
        <p:spPr bwMode="gray">
          <a:xfrm>
            <a:off x="395536" y="2132907"/>
            <a:ext cx="3240000" cy="384000"/>
          </a:xfrm>
          <a:prstGeom prst="rect">
            <a:avLst/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Convenience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38" name="Rectangle 74"/>
          <p:cNvSpPr/>
          <p:nvPr>
            <p:custDataLst>
              <p:tags r:id="rId11"/>
            </p:custDataLst>
          </p:nvPr>
        </p:nvSpPr>
        <p:spPr bwMode="gray">
          <a:xfrm>
            <a:off x="5580112" y="1269780"/>
            <a:ext cx="3240000" cy="384000"/>
          </a:xfrm>
          <a:prstGeom prst="rect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Espionage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grpSp>
        <p:nvGrpSpPr>
          <p:cNvPr id="5" name="Group 8"/>
          <p:cNvGrpSpPr>
            <a:grpSpLocks/>
          </p:cNvGrpSpPr>
          <p:nvPr>
            <p:custDataLst>
              <p:tags r:id="rId12"/>
            </p:custDataLst>
          </p:nvPr>
        </p:nvGrpSpPr>
        <p:grpSpPr bwMode="gray">
          <a:xfrm>
            <a:off x="395800" y="4509171"/>
            <a:ext cx="3239736" cy="181727"/>
            <a:chOff x="204" y="3158"/>
            <a:chExt cx="1998" cy="184"/>
          </a:xfrm>
          <a:solidFill>
            <a:schemeClr val="bg1">
              <a:lumMod val="65000"/>
            </a:schemeClr>
          </a:solidFill>
          <a:effectLst/>
        </p:grpSpPr>
        <p:sp>
          <p:nvSpPr>
            <p:cNvPr id="6" name="Arc 9"/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1023" y="3203"/>
              <a:ext cx="360" cy="139"/>
            </a:xfrm>
            <a:custGeom>
              <a:avLst/>
              <a:gdLst>
                <a:gd name="T0" fmla="*/ 360 w 42134"/>
                <a:gd name="T1" fmla="*/ 41 h 21600"/>
                <a:gd name="T2" fmla="*/ 0 w 42134"/>
                <a:gd name="T3" fmla="*/ 40 h 21600"/>
                <a:gd name="T4" fmla="*/ 180 w 42134"/>
                <a:gd name="T5" fmla="*/ 0 h 21600"/>
                <a:gd name="T6" fmla="*/ 0 60000 65536"/>
                <a:gd name="T7" fmla="*/ 0 60000 65536"/>
                <a:gd name="T8" fmla="*/ 0 60000 65536"/>
                <a:gd name="T9" fmla="*/ 0 w 42134"/>
                <a:gd name="T10" fmla="*/ 0 h 21600"/>
                <a:gd name="T11" fmla="*/ 42134 w 42134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2134" h="21600" fill="none" extrusionOk="0">
                  <a:moveTo>
                    <a:pt x="42133" y="4834"/>
                  </a:moveTo>
                  <a:cubicBezTo>
                    <a:pt x="39880" y="14646"/>
                    <a:pt x="31148" y="21599"/>
                    <a:pt x="21082" y="21600"/>
                  </a:cubicBezTo>
                  <a:cubicBezTo>
                    <a:pt x="10964" y="21600"/>
                    <a:pt x="2203" y="14577"/>
                    <a:pt x="0" y="4702"/>
                  </a:cubicBezTo>
                </a:path>
                <a:path w="42134" h="21600" stroke="0" extrusionOk="0">
                  <a:moveTo>
                    <a:pt x="42133" y="4834"/>
                  </a:moveTo>
                  <a:cubicBezTo>
                    <a:pt x="39880" y="14646"/>
                    <a:pt x="31148" y="21599"/>
                    <a:pt x="21082" y="21600"/>
                  </a:cubicBezTo>
                  <a:cubicBezTo>
                    <a:pt x="10964" y="21600"/>
                    <a:pt x="2203" y="14577"/>
                    <a:pt x="0" y="4702"/>
                  </a:cubicBezTo>
                  <a:lnTo>
                    <a:pt x="21082" y="0"/>
                  </a:lnTo>
                  <a:close/>
                </a:path>
              </a:pathLst>
            </a:cu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8" name="AutoShape 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204" y="3158"/>
              <a:ext cx="1998" cy="91"/>
            </a:xfrm>
            <a:prstGeom prst="roundRect">
              <a:avLst>
                <a:gd name="adj" fmla="val 50000"/>
              </a:avLst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</p:grpSp>
      <p:grpSp>
        <p:nvGrpSpPr>
          <p:cNvPr id="9" name="Group 14"/>
          <p:cNvGrpSpPr>
            <a:grpSpLocks/>
          </p:cNvGrpSpPr>
          <p:nvPr>
            <p:custDataLst>
              <p:tags r:id="rId13"/>
            </p:custDataLst>
          </p:nvPr>
        </p:nvGrpSpPr>
        <p:grpSpPr bwMode="gray">
          <a:xfrm>
            <a:off x="5605586" y="3620050"/>
            <a:ext cx="3214526" cy="217047"/>
            <a:chOff x="3651" y="3158"/>
            <a:chExt cx="1998" cy="184"/>
          </a:xfrm>
          <a:solidFill>
            <a:schemeClr val="bg1">
              <a:lumMod val="65000"/>
            </a:schemeClr>
          </a:solidFill>
          <a:effectLst/>
        </p:grpSpPr>
        <p:sp>
          <p:nvSpPr>
            <p:cNvPr id="11" name="Arc 15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4470" y="3158"/>
              <a:ext cx="360" cy="184"/>
            </a:xfrm>
            <a:custGeom>
              <a:avLst/>
              <a:gdLst>
                <a:gd name="T0" fmla="*/ 360 w 42134"/>
                <a:gd name="T1" fmla="*/ 41 h 21600"/>
                <a:gd name="T2" fmla="*/ 0 w 42134"/>
                <a:gd name="T3" fmla="*/ 40 h 21600"/>
                <a:gd name="T4" fmla="*/ 180 w 42134"/>
                <a:gd name="T5" fmla="*/ 0 h 21600"/>
                <a:gd name="T6" fmla="*/ 0 60000 65536"/>
                <a:gd name="T7" fmla="*/ 0 60000 65536"/>
                <a:gd name="T8" fmla="*/ 0 60000 65536"/>
                <a:gd name="T9" fmla="*/ 0 w 42134"/>
                <a:gd name="T10" fmla="*/ 0 h 21600"/>
                <a:gd name="T11" fmla="*/ 42134 w 42134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2134" h="21600" fill="none" extrusionOk="0">
                  <a:moveTo>
                    <a:pt x="42133" y="4834"/>
                  </a:moveTo>
                  <a:cubicBezTo>
                    <a:pt x="39880" y="14646"/>
                    <a:pt x="31148" y="21599"/>
                    <a:pt x="21082" y="21600"/>
                  </a:cubicBezTo>
                  <a:cubicBezTo>
                    <a:pt x="10964" y="21600"/>
                    <a:pt x="2203" y="14577"/>
                    <a:pt x="0" y="4702"/>
                  </a:cubicBezTo>
                </a:path>
                <a:path w="42134" h="21600" stroke="0" extrusionOk="0">
                  <a:moveTo>
                    <a:pt x="42133" y="4834"/>
                  </a:moveTo>
                  <a:cubicBezTo>
                    <a:pt x="39880" y="14646"/>
                    <a:pt x="31148" y="21599"/>
                    <a:pt x="21082" y="21600"/>
                  </a:cubicBezTo>
                  <a:cubicBezTo>
                    <a:pt x="10964" y="21600"/>
                    <a:pt x="2203" y="14577"/>
                    <a:pt x="0" y="4702"/>
                  </a:cubicBezTo>
                  <a:lnTo>
                    <a:pt x="21082" y="0"/>
                  </a:lnTo>
                  <a:close/>
                </a:path>
              </a:pathLst>
            </a:cu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13" name="AutoShape 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3651" y="3158"/>
              <a:ext cx="1998" cy="91"/>
            </a:xfrm>
            <a:prstGeom prst="roundRect">
              <a:avLst>
                <a:gd name="adj" fmla="val 50000"/>
              </a:avLst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</p:grpSp>
      <p:sp>
        <p:nvSpPr>
          <p:cNvPr id="21" name="AutoShape 17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427985" y="1268792"/>
            <a:ext cx="360363" cy="288000"/>
          </a:xfrm>
          <a:prstGeom prst="triangle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051721" y="620688"/>
            <a:ext cx="5161129" cy="1225173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/>
          <p:cNvSpPr/>
          <p:nvPr/>
        </p:nvSpPr>
        <p:spPr bwMode="gray">
          <a:xfrm>
            <a:off x="4427985" y="1556792"/>
            <a:ext cx="360363" cy="325410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396098" y="4941168"/>
            <a:ext cx="8424312" cy="36004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300"/>
              </a:spcBef>
            </a:pPr>
            <a:r>
              <a:rPr lang="en-GB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is balance is shifting over time</a:t>
            </a:r>
          </a:p>
        </p:txBody>
      </p:sp>
      <p:sp>
        <p:nvSpPr>
          <p:cNvPr id="35" name="Rectangle 34"/>
          <p:cNvSpPr/>
          <p:nvPr/>
        </p:nvSpPr>
        <p:spPr bwMode="gray">
          <a:xfrm>
            <a:off x="395800" y="5301208"/>
            <a:ext cx="8424312" cy="97090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enerational differences, predicting where future could go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ade off </a:t>
            </a:r>
            <a:r>
              <a: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etween convenience and privacy resulting in </a:t>
            </a:r>
            <a:r>
              <a:rPr lang="en-GB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w business models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hift of power increases need of protection and opens opportunity for neutral parties</a:t>
            </a:r>
          </a:p>
        </p:txBody>
      </p:sp>
    </p:spTree>
    <p:extLst>
      <p:ext uri="{BB962C8B-B14F-4D97-AF65-F5344CB8AC3E}">
        <p14:creationId xmlns:p14="http://schemas.microsoft.com/office/powerpoint/2010/main" val="291763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21"/>
          <p:cNvSpPr txBox="1"/>
          <p:nvPr>
            <p:custDataLst>
              <p:tags r:id="rId1"/>
            </p:custDataLst>
          </p:nvPr>
        </p:nvSpPr>
        <p:spPr bwMode="gray">
          <a:xfrm>
            <a:off x="323411" y="2636912"/>
            <a:ext cx="4968669" cy="216024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vert="horz" wrap="square" lIns="864000" tIns="72000" rIns="36000" bIns="36000" rtlCol="0" anchor="t" anchorCtr="0">
            <a:noAutofit/>
          </a:bodyPr>
          <a:lstStyle/>
          <a:p>
            <a:endParaRPr lang="en-US" sz="1200" dirty="0">
              <a:solidFill>
                <a:sysClr val="windowText" lastClr="000000"/>
              </a:solidFill>
            </a:endParaRPr>
          </a:p>
        </p:txBody>
      </p:sp>
      <p:sp>
        <p:nvSpPr>
          <p:cNvPr id="8" name="Textfeld 22"/>
          <p:cNvSpPr txBox="1"/>
          <p:nvPr>
            <p:custDataLst>
              <p:tags r:id="rId2"/>
            </p:custDataLst>
          </p:nvPr>
        </p:nvSpPr>
        <p:spPr bwMode="gray">
          <a:xfrm>
            <a:off x="2555776" y="2636913"/>
            <a:ext cx="2592288" cy="2016224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72000" rIns="72000" bIns="72000" rtlCol="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400" dirty="0" smtClean="0">
                <a:solidFill>
                  <a:schemeClr val="bg1"/>
                </a:solidFill>
              </a:rPr>
              <a:t>GfK Austria</a:t>
            </a:r>
          </a:p>
          <a:p>
            <a:pPr>
              <a:spcBef>
                <a:spcPts val="200"/>
              </a:spcBef>
            </a:pPr>
            <a:r>
              <a:rPr lang="en-US" sz="1600" dirty="0" err="1" smtClean="0">
                <a:solidFill>
                  <a:schemeClr val="bg1"/>
                </a:solidFill>
              </a:rPr>
              <a:t>Ungargasse</a:t>
            </a:r>
            <a:r>
              <a:rPr lang="en-US" sz="1600" dirty="0" smtClean="0">
                <a:solidFill>
                  <a:schemeClr val="bg1"/>
                </a:solidFill>
              </a:rPr>
              <a:t> 37</a:t>
            </a:r>
          </a:p>
          <a:p>
            <a:pPr>
              <a:spcBef>
                <a:spcPts val="20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1030 Vienna</a:t>
            </a:r>
          </a:p>
          <a:p>
            <a:pPr>
              <a:spcBef>
                <a:spcPts val="200"/>
              </a:spcBef>
            </a:pPr>
            <a:endParaRPr lang="en-US" sz="16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+43 1 717100 </a:t>
            </a:r>
          </a:p>
          <a:p>
            <a:pPr>
              <a:spcBef>
                <a:spcPts val="20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at@gfk.com </a:t>
            </a:r>
          </a:p>
          <a:p>
            <a:pPr>
              <a:spcBef>
                <a:spcPts val="200"/>
              </a:spcBef>
            </a:pPr>
            <a:r>
              <a:rPr lang="en-US" sz="1600" dirty="0" smtClean="0">
                <a:solidFill>
                  <a:schemeClr val="bg1"/>
                </a:solidFill>
                <a:hlinkClick r:id="rId5"/>
              </a:rPr>
              <a:t>www.gfk.com/at</a:t>
            </a:r>
            <a:endParaRPr lang="en-US" sz="1600" dirty="0" smtClean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</a:pPr>
            <a:endParaRPr lang="en-US" sz="1600" dirty="0" smtClean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39552" y="2852936"/>
            <a:ext cx="1728192" cy="1728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9730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1052736"/>
            <a:ext cx="8820472" cy="5328592"/>
          </a:xfrm>
        </p:spPr>
        <p:txBody>
          <a:bodyPr/>
          <a:lstStyle/>
          <a:p>
            <a:endParaRPr lang="en-GB" sz="2000" dirty="0" smtClean="0"/>
          </a:p>
          <a:p>
            <a:r>
              <a:rPr lang="en-GB" sz="2000" dirty="0" smtClean="0"/>
              <a:t>Global economy 2014 – how does the consumer climate develop?</a:t>
            </a:r>
            <a:br>
              <a:rPr lang="en-GB" sz="2000" dirty="0" smtClean="0"/>
            </a:br>
            <a:endParaRPr lang="en-GB" sz="2000" dirty="0" smtClean="0"/>
          </a:p>
          <a:p>
            <a:r>
              <a:rPr lang="en-GB" sz="2000" dirty="0" smtClean="0"/>
              <a:t>How consumer behaviour is shifting</a:t>
            </a:r>
            <a:br>
              <a:rPr lang="en-GB" sz="2000" dirty="0" smtClean="0"/>
            </a:br>
            <a:endParaRPr lang="en-GB" sz="2000" dirty="0" smtClean="0"/>
          </a:p>
          <a:p>
            <a:r>
              <a:rPr lang="en-GB" sz="2000" dirty="0" smtClean="0"/>
              <a:t>Digitalization – Transformation of business models via Big Data</a:t>
            </a:r>
            <a:br>
              <a:rPr lang="en-GB" sz="2000" dirty="0" smtClean="0"/>
            </a:br>
            <a:endParaRPr lang="en-GB" sz="2000" dirty="0" smtClean="0"/>
          </a:p>
          <a:p>
            <a:r>
              <a:rPr lang="en-GB" sz="2000" dirty="0" smtClean="0"/>
              <a:t>Data, data, data – The effects of recent data scandals </a:t>
            </a:r>
            <a:br>
              <a:rPr lang="en-GB" sz="2000" dirty="0" smtClean="0"/>
            </a:br>
            <a:r>
              <a:rPr lang="en-GB" sz="2000" dirty="0" smtClean="0"/>
              <a:t>from a consumer perspective    </a:t>
            </a:r>
            <a:endParaRPr lang="en-GB" sz="2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1BDBE1E8-50F2-49BA-A952-1CC1DEAA5FBD}" type="slidenum">
              <a:rPr lang="en-US" smtClean="0"/>
              <a:pPr algn="r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026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rapezoid 3"/>
          <p:cNvSpPr/>
          <p:nvPr/>
        </p:nvSpPr>
        <p:spPr bwMode="gray">
          <a:xfrm rot="16200000">
            <a:off x="-41771" y="3352236"/>
            <a:ext cx="4993220" cy="921868"/>
          </a:xfrm>
          <a:custGeom>
            <a:avLst/>
            <a:gdLst>
              <a:gd name="connsiteX0" fmla="*/ 0 w 4993220"/>
              <a:gd name="connsiteY0" fmla="*/ 936159 h 936159"/>
              <a:gd name="connsiteX1" fmla="*/ 1091159 w 4993220"/>
              <a:gd name="connsiteY1" fmla="*/ 0 h 936159"/>
              <a:gd name="connsiteX2" fmla="*/ 3902061 w 4993220"/>
              <a:gd name="connsiteY2" fmla="*/ 0 h 936159"/>
              <a:gd name="connsiteX3" fmla="*/ 4993220 w 4993220"/>
              <a:gd name="connsiteY3" fmla="*/ 936159 h 936159"/>
              <a:gd name="connsiteX4" fmla="*/ 0 w 4993220"/>
              <a:gd name="connsiteY4" fmla="*/ 936159 h 936159"/>
              <a:gd name="connsiteX0" fmla="*/ 0 w 4993220"/>
              <a:gd name="connsiteY0" fmla="*/ 936159 h 936159"/>
              <a:gd name="connsiteX1" fmla="*/ 1091159 w 4993220"/>
              <a:gd name="connsiteY1" fmla="*/ 0 h 936159"/>
              <a:gd name="connsiteX2" fmla="*/ 3373420 w 4993220"/>
              <a:gd name="connsiteY2" fmla="*/ 28575 h 936159"/>
              <a:gd name="connsiteX3" fmla="*/ 4993220 w 4993220"/>
              <a:gd name="connsiteY3" fmla="*/ 936159 h 936159"/>
              <a:gd name="connsiteX4" fmla="*/ 0 w 4993220"/>
              <a:gd name="connsiteY4" fmla="*/ 936159 h 936159"/>
              <a:gd name="connsiteX0" fmla="*/ 0 w 4993220"/>
              <a:gd name="connsiteY0" fmla="*/ 921868 h 921868"/>
              <a:gd name="connsiteX1" fmla="*/ 1676943 w 4993220"/>
              <a:gd name="connsiteY1" fmla="*/ 0 h 921868"/>
              <a:gd name="connsiteX2" fmla="*/ 3373420 w 4993220"/>
              <a:gd name="connsiteY2" fmla="*/ 14284 h 921868"/>
              <a:gd name="connsiteX3" fmla="*/ 4993220 w 4993220"/>
              <a:gd name="connsiteY3" fmla="*/ 921868 h 921868"/>
              <a:gd name="connsiteX4" fmla="*/ 0 w 4993220"/>
              <a:gd name="connsiteY4" fmla="*/ 921868 h 921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3220" h="921868">
                <a:moveTo>
                  <a:pt x="0" y="921868"/>
                </a:moveTo>
                <a:lnTo>
                  <a:pt x="1676943" y="0"/>
                </a:lnTo>
                <a:lnTo>
                  <a:pt x="3373420" y="14284"/>
                </a:lnTo>
                <a:lnTo>
                  <a:pt x="4993220" y="921868"/>
                </a:lnTo>
                <a:lnTo>
                  <a:pt x="0" y="921868"/>
                </a:lnTo>
                <a:close/>
              </a:path>
            </a:pathLst>
          </a:custGeom>
          <a:gradFill>
            <a:gsLst>
              <a:gs pos="0">
                <a:schemeClr val="bg2">
                  <a:lumMod val="40000"/>
                  <a:lumOff val="60000"/>
                </a:schemeClr>
              </a:gs>
              <a:gs pos="85000">
                <a:schemeClr val="bg1"/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GB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dirty="0"/>
              <a:t> GfK  -  ‘Growth from Knowledge’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2771750" y="1124744"/>
            <a:ext cx="6048400" cy="5400600"/>
          </a:xfrm>
          <a:prstGeom prst="rect">
            <a:avLst/>
          </a:prstGeom>
        </p:spPr>
        <p:txBody>
          <a:bodyPr wrap="square" tIns="0" bIns="0" anchor="ctr" anchorCtr="0">
            <a:noAutofit/>
          </a:bodyPr>
          <a:lstStyle/>
          <a:p>
            <a:pPr>
              <a:spcAft>
                <a:spcPts val="1200"/>
              </a:spcAft>
            </a:pPr>
            <a:r>
              <a:rPr lang="en-GB" sz="1600" b="1" dirty="0" smtClean="0">
                <a:solidFill>
                  <a:srgbClr val="EE7212"/>
                </a:solidFill>
                <a:cs typeface="Tahoma"/>
              </a:rPr>
              <a:t>GfK makes research matter</a:t>
            </a:r>
            <a:r>
              <a:rPr lang="en-GB" sz="1600" dirty="0" smtClean="0">
                <a:solidFill>
                  <a:srgbClr val="7F7F7F"/>
                </a:solidFill>
                <a:cs typeface="Tahoma"/>
              </a:rPr>
              <a:t> </a:t>
            </a:r>
            <a:r>
              <a:rPr lang="en-GB" sz="1600" dirty="0" smtClean="0">
                <a:solidFill>
                  <a:srgbClr val="000000"/>
                </a:solidFill>
                <a:cs typeface="Tahoma"/>
              </a:rPr>
              <a:t>by delivering the future. </a:t>
            </a:r>
          </a:p>
          <a:p>
            <a:pPr>
              <a:spcAft>
                <a:spcPts val="1200"/>
              </a:spcAft>
            </a:pPr>
            <a:r>
              <a:rPr lang="en-GB" sz="1600" dirty="0" smtClean="0">
                <a:solidFill>
                  <a:srgbClr val="000000"/>
                </a:solidFill>
                <a:cs typeface="Tahoma"/>
              </a:rPr>
              <a:t>In a digitized world, we are the </a:t>
            </a:r>
            <a:r>
              <a:rPr lang="en-GB" sz="1600" b="1" dirty="0" smtClean="0">
                <a:solidFill>
                  <a:srgbClr val="EE7212"/>
                </a:solidFill>
                <a:cs typeface="Tahoma"/>
              </a:rPr>
              <a:t>trusted </a:t>
            </a:r>
            <a:r>
              <a:rPr lang="en-GB" sz="1600" dirty="0" smtClean="0">
                <a:solidFill>
                  <a:srgbClr val="000000"/>
                </a:solidFill>
                <a:cs typeface="Tahoma"/>
              </a:rPr>
              <a:t>source</a:t>
            </a:r>
            <a:r>
              <a:rPr lang="en-GB" sz="1600" b="1" dirty="0" smtClean="0">
                <a:solidFill>
                  <a:srgbClr val="000000"/>
                </a:solidFill>
                <a:cs typeface="Tahoma"/>
              </a:rPr>
              <a:t> </a:t>
            </a:r>
            <a:r>
              <a:rPr lang="en-GB" sz="1600" dirty="0" smtClean="0">
                <a:solidFill>
                  <a:srgbClr val="000000"/>
                </a:solidFill>
                <a:cs typeface="Tahoma"/>
              </a:rPr>
              <a:t>of </a:t>
            </a:r>
            <a:r>
              <a:rPr lang="en-GB" sz="1600" b="1" dirty="0" smtClean="0">
                <a:solidFill>
                  <a:srgbClr val="EE7212"/>
                </a:solidFill>
                <a:cs typeface="Tahoma"/>
              </a:rPr>
              <a:t>relevant</a:t>
            </a:r>
            <a:r>
              <a:rPr lang="en-GB" sz="1600" dirty="0" smtClean="0">
                <a:solidFill>
                  <a:srgbClr val="7F7F7F"/>
                </a:solidFill>
                <a:cs typeface="Tahoma"/>
              </a:rPr>
              <a:t> </a:t>
            </a:r>
            <a:r>
              <a:rPr lang="en-GB" sz="1600" dirty="0" smtClean="0">
                <a:solidFill>
                  <a:srgbClr val="000000"/>
                </a:solidFill>
                <a:cs typeface="Tahoma"/>
              </a:rPr>
              <a:t>market and consumer information that empowers our clients </a:t>
            </a:r>
            <a:br>
              <a:rPr lang="en-GB" sz="1600" dirty="0" smtClean="0">
                <a:solidFill>
                  <a:srgbClr val="000000"/>
                </a:solidFill>
                <a:cs typeface="Tahoma"/>
              </a:rPr>
            </a:br>
            <a:r>
              <a:rPr lang="en-GB" sz="1600" dirty="0" smtClean="0">
                <a:solidFill>
                  <a:srgbClr val="000000"/>
                </a:solidFill>
                <a:cs typeface="Tahoma"/>
              </a:rPr>
              <a:t>to make </a:t>
            </a:r>
            <a:r>
              <a:rPr lang="en-GB" sz="1600" b="1" dirty="0" smtClean="0">
                <a:solidFill>
                  <a:srgbClr val="EE7212"/>
                </a:solidFill>
                <a:cs typeface="Tahoma"/>
              </a:rPr>
              <a:t>smarter </a:t>
            </a:r>
            <a:r>
              <a:rPr lang="en-GB" sz="1600" dirty="0" smtClean="0">
                <a:solidFill>
                  <a:srgbClr val="000000"/>
                </a:solidFill>
                <a:cs typeface="Tahoma"/>
              </a:rPr>
              <a:t>decisions.</a:t>
            </a:r>
            <a:r>
              <a:rPr lang="en-GB" sz="1600" dirty="0" smtClean="0">
                <a:solidFill>
                  <a:prstClr val="black">
                    <a:lumMod val="50000"/>
                    <a:lumOff val="50000"/>
                  </a:prstClr>
                </a:solidFill>
                <a:cs typeface="Tahoma"/>
              </a:rPr>
              <a:t> </a:t>
            </a:r>
          </a:p>
          <a:p>
            <a:pPr>
              <a:spcAft>
                <a:spcPts val="1200"/>
              </a:spcAft>
            </a:pPr>
            <a:r>
              <a:rPr lang="en-GB" sz="1600" dirty="0" smtClean="0">
                <a:solidFill>
                  <a:srgbClr val="000000"/>
                </a:solidFill>
                <a:cs typeface="Tahoma"/>
              </a:rPr>
              <a:t>As</a:t>
            </a:r>
            <a:r>
              <a:rPr lang="en-GB" sz="1600" b="1" dirty="0" smtClean="0">
                <a:solidFill>
                  <a:srgbClr val="EE7212"/>
                </a:solidFill>
                <a:cs typeface="Tahoma"/>
              </a:rPr>
              <a:t> thought leaders in our industry, </a:t>
            </a:r>
            <a:r>
              <a:rPr lang="en-GB" sz="1600" dirty="0" smtClean="0">
                <a:solidFill>
                  <a:srgbClr val="000000"/>
                </a:solidFill>
                <a:cs typeface="Tahoma"/>
              </a:rPr>
              <a:t>we have a deep understanding of consumer experiences and choices. </a:t>
            </a:r>
          </a:p>
          <a:p>
            <a:pPr>
              <a:spcAft>
                <a:spcPts val="1200"/>
              </a:spcAft>
            </a:pPr>
            <a:r>
              <a:rPr lang="en-GB" sz="1600" dirty="0" smtClean="0">
                <a:solidFill>
                  <a:srgbClr val="000000"/>
                </a:solidFill>
                <a:cs typeface="Tahoma"/>
              </a:rPr>
              <a:t>We are 13,000 </a:t>
            </a:r>
            <a:r>
              <a:rPr lang="en-GB" sz="1600" b="1" dirty="0" smtClean="0">
                <a:solidFill>
                  <a:srgbClr val="EE7212"/>
                </a:solidFill>
                <a:cs typeface="Tahoma"/>
              </a:rPr>
              <a:t>passionate experts </a:t>
            </a:r>
            <a:r>
              <a:rPr lang="en-GB" sz="1600" dirty="0" smtClean="0">
                <a:solidFill>
                  <a:srgbClr val="000000"/>
                </a:solidFill>
                <a:cs typeface="Tahoma"/>
              </a:rPr>
              <a:t>with more than 80 years </a:t>
            </a:r>
            <a:br>
              <a:rPr lang="en-GB" sz="1600" dirty="0" smtClean="0">
                <a:solidFill>
                  <a:srgbClr val="000000"/>
                </a:solidFill>
                <a:cs typeface="Tahoma"/>
              </a:rPr>
            </a:br>
            <a:r>
              <a:rPr lang="en-GB" sz="1600" dirty="0" smtClean="0">
                <a:solidFill>
                  <a:srgbClr val="000000"/>
                </a:solidFill>
                <a:cs typeface="Tahoma"/>
              </a:rPr>
              <a:t>of data science experience and German heritage. </a:t>
            </a:r>
            <a:br>
              <a:rPr lang="en-GB" sz="1600" dirty="0" smtClean="0">
                <a:solidFill>
                  <a:srgbClr val="000000"/>
                </a:solidFill>
                <a:cs typeface="Tahoma"/>
              </a:rPr>
            </a:br>
            <a:r>
              <a:rPr lang="en-GB" sz="1600" dirty="0" smtClean="0">
                <a:solidFill>
                  <a:srgbClr val="000000"/>
                </a:solidFill>
                <a:cs typeface="Tahoma"/>
              </a:rPr>
              <a:t>We </a:t>
            </a:r>
            <a:r>
              <a:rPr lang="en-GB" sz="1600" b="1" dirty="0" smtClean="0">
                <a:solidFill>
                  <a:srgbClr val="EE7212"/>
                </a:solidFill>
                <a:cs typeface="Tahoma"/>
              </a:rPr>
              <a:t>deliver globally with vital insights into local markets </a:t>
            </a:r>
            <a:br>
              <a:rPr lang="en-GB" sz="1600" b="1" dirty="0" smtClean="0">
                <a:solidFill>
                  <a:srgbClr val="EE7212"/>
                </a:solidFill>
                <a:cs typeface="Tahoma"/>
              </a:rPr>
            </a:br>
            <a:r>
              <a:rPr lang="en-GB" sz="1600" dirty="0" smtClean="0">
                <a:solidFill>
                  <a:srgbClr val="000000"/>
                </a:solidFill>
                <a:cs typeface="Tahoma"/>
              </a:rPr>
              <a:t>in 100 countries.</a:t>
            </a:r>
          </a:p>
          <a:p>
            <a:pPr>
              <a:spcAft>
                <a:spcPts val="1200"/>
              </a:spcAft>
            </a:pPr>
            <a:r>
              <a:rPr lang="en-GB" sz="1600" dirty="0" smtClean="0">
                <a:solidFill>
                  <a:srgbClr val="000000"/>
                </a:solidFill>
                <a:cs typeface="Tahoma"/>
              </a:rPr>
              <a:t>We</a:t>
            </a:r>
            <a:r>
              <a:rPr lang="en-GB" sz="1600" b="1" dirty="0" smtClean="0">
                <a:solidFill>
                  <a:srgbClr val="EE7212"/>
                </a:solidFill>
                <a:cs typeface="Tahoma"/>
              </a:rPr>
              <a:t> turn research into business opportunities. </a:t>
            </a:r>
            <a:r>
              <a:rPr lang="en-GB" sz="1600" dirty="0" smtClean="0">
                <a:solidFill>
                  <a:srgbClr val="000000"/>
                </a:solidFill>
                <a:cs typeface="Tahoma"/>
              </a:rPr>
              <a:t>Through innovative systems and partnerships, we integrate on- and </a:t>
            </a:r>
            <a:br>
              <a:rPr lang="en-GB" sz="1600" dirty="0" smtClean="0">
                <a:solidFill>
                  <a:srgbClr val="000000"/>
                </a:solidFill>
                <a:cs typeface="Tahoma"/>
              </a:rPr>
            </a:br>
            <a:r>
              <a:rPr lang="en-GB" sz="1600" dirty="0" smtClean="0">
                <a:solidFill>
                  <a:srgbClr val="000000"/>
                </a:solidFill>
                <a:cs typeface="Tahoma"/>
              </a:rPr>
              <a:t>off-line data to support </a:t>
            </a:r>
            <a:r>
              <a:rPr lang="en-GB" sz="1600" b="1" dirty="0" smtClean="0">
                <a:solidFill>
                  <a:srgbClr val="EE7212"/>
                </a:solidFill>
                <a:cs typeface="Tahoma"/>
              </a:rPr>
              <a:t>Growth from Knowledge.</a:t>
            </a:r>
          </a:p>
          <a:p>
            <a:pPr>
              <a:spcAft>
                <a:spcPts val="1200"/>
              </a:spcAft>
            </a:pPr>
            <a:r>
              <a:rPr lang="en-GB" sz="1600" dirty="0" smtClean="0">
                <a:solidFill>
                  <a:srgbClr val="000000"/>
                </a:solidFill>
                <a:cs typeface="Tahoma"/>
              </a:rPr>
              <a:t>Our goal is simple: </a:t>
            </a:r>
            <a:r>
              <a:rPr lang="en-GB" sz="1600" b="1" dirty="0">
                <a:solidFill>
                  <a:srgbClr val="EE7212"/>
                </a:solidFill>
                <a:cs typeface="Tahoma"/>
              </a:rPr>
              <a:t>e</a:t>
            </a:r>
            <a:r>
              <a:rPr lang="en-GB" sz="1600" b="1" dirty="0" smtClean="0">
                <a:solidFill>
                  <a:srgbClr val="EE7212"/>
                </a:solidFill>
                <a:cs typeface="Tahoma"/>
              </a:rPr>
              <a:t>nable our clients to create winning strategies </a:t>
            </a:r>
            <a:r>
              <a:rPr lang="en-GB" sz="1600" dirty="0" smtClean="0">
                <a:solidFill>
                  <a:srgbClr val="000000"/>
                </a:solidFill>
                <a:cs typeface="Tahoma"/>
              </a:rPr>
              <a:t>to enrich consumers’ lives. </a:t>
            </a:r>
            <a:endParaRPr lang="en-GB" sz="1600" dirty="0">
              <a:solidFill>
                <a:srgbClr val="000000"/>
              </a:solidFill>
              <a:cs typeface="Tahoma"/>
            </a:endParaRPr>
          </a:p>
        </p:txBody>
      </p:sp>
      <p:sp>
        <p:nvSpPr>
          <p:cNvPr id="20" name="Freeform 56"/>
          <p:cNvSpPr>
            <a:spLocks/>
          </p:cNvSpPr>
          <p:nvPr/>
        </p:nvSpPr>
        <p:spPr bwMode="gray">
          <a:xfrm rot="10800000" flipH="1">
            <a:off x="2159861" y="3333507"/>
            <a:ext cx="359660" cy="959093"/>
          </a:xfrm>
          <a:custGeom>
            <a:avLst/>
            <a:gdLst>
              <a:gd name="T0" fmla="*/ 95 w 95"/>
              <a:gd name="T1" fmla="*/ 160 h 321"/>
              <a:gd name="T2" fmla="*/ 0 w 95"/>
              <a:gd name="T3" fmla="*/ 0 h 321"/>
              <a:gd name="T4" fmla="*/ 0 w 95"/>
              <a:gd name="T5" fmla="*/ 321 h 321"/>
              <a:gd name="T6" fmla="*/ 95 w 95"/>
              <a:gd name="T7" fmla="*/ 16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5" h="321">
                <a:moveTo>
                  <a:pt x="95" y="160"/>
                </a:moveTo>
                <a:lnTo>
                  <a:pt x="0" y="0"/>
                </a:lnTo>
                <a:lnTo>
                  <a:pt x="0" y="321"/>
                </a:lnTo>
                <a:lnTo>
                  <a:pt x="95" y="1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  <p:txBody>
          <a:bodyPr/>
          <a:lstStyle/>
          <a:p>
            <a:endParaRPr lang="en-GB" dirty="0">
              <a:latin typeface="Arial" pitchFamily="34" charset="0"/>
            </a:endParaRPr>
          </a:p>
        </p:txBody>
      </p:sp>
      <p:sp>
        <p:nvSpPr>
          <p:cNvPr id="15" name="Freihandform 14"/>
          <p:cNvSpPr/>
          <p:nvPr/>
        </p:nvSpPr>
        <p:spPr bwMode="gray">
          <a:xfrm>
            <a:off x="323410" y="1124744"/>
            <a:ext cx="8502650" cy="1584176"/>
          </a:xfrm>
          <a:custGeom>
            <a:avLst/>
            <a:gdLst>
              <a:gd name="connsiteX0" fmla="*/ 0 w 8502650"/>
              <a:gd name="connsiteY0" fmla="*/ 1016000 h 1016000"/>
              <a:gd name="connsiteX1" fmla="*/ 1625600 w 8502650"/>
              <a:gd name="connsiteY1" fmla="*/ 1016000 h 1016000"/>
              <a:gd name="connsiteX2" fmla="*/ 2482850 w 8502650"/>
              <a:gd name="connsiteY2" fmla="*/ 0 h 1016000"/>
              <a:gd name="connsiteX3" fmla="*/ 8502650 w 8502650"/>
              <a:gd name="connsiteY3" fmla="*/ 0 h 10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02650" h="1016000">
                <a:moveTo>
                  <a:pt x="0" y="1016000"/>
                </a:moveTo>
                <a:lnTo>
                  <a:pt x="1625600" y="1016000"/>
                </a:lnTo>
                <a:lnTo>
                  <a:pt x="2482850" y="0"/>
                </a:lnTo>
                <a:lnTo>
                  <a:pt x="8502650" y="0"/>
                </a:lnTo>
              </a:path>
            </a:pathLst>
          </a:custGeom>
          <a:noFill/>
          <a:ln w="12700" cap="rnd"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Freihandform 20"/>
          <p:cNvSpPr/>
          <p:nvPr/>
        </p:nvSpPr>
        <p:spPr bwMode="gray">
          <a:xfrm flipV="1">
            <a:off x="323410" y="4869160"/>
            <a:ext cx="8502650" cy="1656184"/>
          </a:xfrm>
          <a:custGeom>
            <a:avLst/>
            <a:gdLst>
              <a:gd name="connsiteX0" fmla="*/ 0 w 8502650"/>
              <a:gd name="connsiteY0" fmla="*/ 1016000 h 1016000"/>
              <a:gd name="connsiteX1" fmla="*/ 1625600 w 8502650"/>
              <a:gd name="connsiteY1" fmla="*/ 1016000 h 1016000"/>
              <a:gd name="connsiteX2" fmla="*/ 2482850 w 8502650"/>
              <a:gd name="connsiteY2" fmla="*/ 0 h 1016000"/>
              <a:gd name="connsiteX3" fmla="*/ 8502650 w 8502650"/>
              <a:gd name="connsiteY3" fmla="*/ 0 h 10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02650" h="1016000">
                <a:moveTo>
                  <a:pt x="0" y="1016000"/>
                </a:moveTo>
                <a:lnTo>
                  <a:pt x="1625600" y="1016000"/>
                </a:lnTo>
                <a:lnTo>
                  <a:pt x="2482850" y="0"/>
                </a:lnTo>
                <a:lnTo>
                  <a:pt x="8502650" y="0"/>
                </a:lnTo>
              </a:path>
            </a:pathLst>
          </a:custGeom>
          <a:noFill/>
          <a:ln w="12700" cap="rnd"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4951" y="2930722"/>
            <a:ext cx="1764662" cy="1764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66884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2"/>
          <p:cNvSpPr>
            <a:spLocks noGrp="1" noChangeAspect="1" noChangeArrowheads="1"/>
          </p:cNvSpPr>
          <p:nvPr>
            <p:ph type="title" sz="quarter"/>
          </p:nvPr>
        </p:nvSpPr>
        <p:spPr>
          <a:xfrm>
            <a:off x="250825" y="260350"/>
            <a:ext cx="7849567" cy="648445"/>
          </a:xfrm>
        </p:spPr>
        <p:txBody>
          <a:bodyPr/>
          <a:lstStyle/>
          <a:p>
            <a:r>
              <a:rPr lang="en-GB" dirty="0" smtClean="0"/>
              <a:t>GfK Group: a strong heritage in market research</a:t>
            </a:r>
            <a:endParaRPr lang="de-DE" dirty="0" smtClean="0"/>
          </a:p>
        </p:txBody>
      </p:sp>
      <p:sp>
        <p:nvSpPr>
          <p:cNvPr id="91139" name="Text Box 5"/>
          <p:cNvSpPr txBox="1">
            <a:spLocks noChangeArrowheads="1"/>
          </p:cNvSpPr>
          <p:nvPr/>
        </p:nvSpPr>
        <p:spPr bwMode="auto">
          <a:xfrm>
            <a:off x="209550" y="1845292"/>
            <a:ext cx="1841500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de-DE" sz="1400" dirty="0">
                <a:solidFill>
                  <a:srgbClr val="FC6800"/>
                </a:solidFill>
              </a:rPr>
              <a:t>1934</a:t>
            </a:r>
            <a:br>
              <a:rPr lang="de-DE" sz="1400" dirty="0">
                <a:solidFill>
                  <a:srgbClr val="FC6800"/>
                </a:solidFill>
              </a:rPr>
            </a:br>
            <a:r>
              <a:rPr lang="en-US" sz="1400" dirty="0">
                <a:solidFill>
                  <a:srgbClr val="010000"/>
                </a:solidFill>
              </a:rPr>
              <a:t>Founded as</a:t>
            </a:r>
            <a:r>
              <a:rPr lang="de-DE" sz="1400" dirty="0">
                <a:solidFill>
                  <a:srgbClr val="010000"/>
                </a:solidFill>
              </a:rPr>
              <a:t> </a:t>
            </a:r>
            <a:br>
              <a:rPr lang="de-DE" sz="1400" dirty="0">
                <a:solidFill>
                  <a:srgbClr val="010000"/>
                </a:solidFill>
              </a:rPr>
            </a:br>
            <a:r>
              <a:rPr lang="de-DE" sz="1400" dirty="0">
                <a:solidFill>
                  <a:srgbClr val="010000"/>
                </a:solidFill>
              </a:rPr>
              <a:t>GfK-Nürnberg e.V. </a:t>
            </a:r>
          </a:p>
          <a:p>
            <a:pPr eaLnBrk="1" hangingPunct="1"/>
            <a:r>
              <a:rPr lang="de-DE" sz="1400" dirty="0">
                <a:solidFill>
                  <a:srgbClr val="FC6800"/>
                </a:solidFill>
              </a:rPr>
              <a:t>(</a:t>
            </a:r>
            <a:r>
              <a:rPr lang="de-DE" sz="1400" dirty="0" err="1">
                <a:solidFill>
                  <a:srgbClr val="FC6800"/>
                </a:solidFill>
              </a:rPr>
              <a:t>the</a:t>
            </a:r>
            <a:r>
              <a:rPr lang="de-DE" sz="1400" dirty="0">
                <a:solidFill>
                  <a:srgbClr val="FC6800"/>
                </a:solidFill>
              </a:rPr>
              <a:t> GfK </a:t>
            </a:r>
            <a:r>
              <a:rPr lang="de-DE" sz="1400" dirty="0" smtClean="0">
                <a:solidFill>
                  <a:srgbClr val="FC6800"/>
                </a:solidFill>
              </a:rPr>
              <a:t>Verein)</a:t>
            </a:r>
            <a:endParaRPr lang="de-DE" sz="1400" dirty="0">
              <a:solidFill>
                <a:srgbClr val="FC6800"/>
              </a:solidFill>
            </a:endParaRPr>
          </a:p>
        </p:txBody>
      </p:sp>
      <p:sp>
        <p:nvSpPr>
          <p:cNvPr id="91140" name="Text Box 7"/>
          <p:cNvSpPr txBox="1">
            <a:spLocks noChangeArrowheads="1"/>
          </p:cNvSpPr>
          <p:nvPr/>
        </p:nvSpPr>
        <p:spPr bwMode="auto">
          <a:xfrm>
            <a:off x="2267744" y="4018579"/>
            <a:ext cx="2144712" cy="170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de-DE" sz="1400" dirty="0">
                <a:solidFill>
                  <a:srgbClr val="FC6800"/>
                </a:solidFill>
              </a:rPr>
              <a:t>1984</a:t>
            </a:r>
          </a:p>
          <a:p>
            <a:pPr eaLnBrk="1" hangingPunct="1"/>
            <a:r>
              <a:rPr lang="en-US" sz="1400" dirty="0">
                <a:solidFill>
                  <a:srgbClr val="000000"/>
                </a:solidFill>
              </a:rPr>
              <a:t>Operations hived off into a limited liability company;</a:t>
            </a:r>
          </a:p>
          <a:p>
            <a:pPr eaLnBrk="1" hangingPunct="1"/>
            <a:r>
              <a:rPr lang="en-US" sz="1400" dirty="0">
                <a:solidFill>
                  <a:srgbClr val="000000"/>
                </a:solidFill>
              </a:rPr>
              <a:t>GfK Association to retain status as a non-profit </a:t>
            </a:r>
            <a:r>
              <a:rPr lang="en-US" sz="1400" dirty="0"/>
              <a:t>organization</a:t>
            </a:r>
          </a:p>
          <a:p>
            <a:pPr eaLnBrk="1" hangingPunct="1"/>
            <a:r>
              <a:rPr lang="en-US" sz="1400" dirty="0">
                <a:solidFill>
                  <a:srgbClr val="FC6800"/>
                </a:solidFill>
              </a:rPr>
              <a:t>First contract for TV audience measurement</a:t>
            </a:r>
            <a:endParaRPr lang="de-DE" sz="1400" dirty="0">
              <a:solidFill>
                <a:srgbClr val="FC6800"/>
              </a:solidFill>
            </a:endParaRPr>
          </a:p>
        </p:txBody>
      </p:sp>
      <p:sp>
        <p:nvSpPr>
          <p:cNvPr id="91141" name="Text Box 8"/>
          <p:cNvSpPr txBox="1">
            <a:spLocks noChangeArrowheads="1"/>
          </p:cNvSpPr>
          <p:nvPr/>
        </p:nvSpPr>
        <p:spPr bwMode="auto">
          <a:xfrm>
            <a:off x="3563860" y="1905617"/>
            <a:ext cx="1600200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de-DE" sz="1400" dirty="0">
                <a:solidFill>
                  <a:srgbClr val="FC6800"/>
                </a:solidFill>
              </a:rPr>
              <a:t>1990</a:t>
            </a:r>
            <a:r>
              <a:rPr lang="de-DE" sz="1400" dirty="0">
                <a:solidFill>
                  <a:srgbClr val="A50021"/>
                </a:solidFill>
              </a:rPr>
              <a:t/>
            </a:r>
            <a:br>
              <a:rPr lang="de-DE" sz="1400" dirty="0">
                <a:solidFill>
                  <a:srgbClr val="A50021"/>
                </a:solidFill>
              </a:rPr>
            </a:br>
            <a:r>
              <a:rPr lang="en-US" sz="1400" dirty="0">
                <a:solidFill>
                  <a:srgbClr val="010000"/>
                </a:solidFill>
              </a:rPr>
              <a:t>Legal change to unlisted stock corporation</a:t>
            </a:r>
          </a:p>
          <a:p>
            <a:pPr eaLnBrk="1" hangingPunct="1"/>
            <a:r>
              <a:rPr lang="en-US" sz="1400" dirty="0">
                <a:solidFill>
                  <a:srgbClr val="FC6800"/>
                </a:solidFill>
              </a:rPr>
              <a:t>Focus on internationalization</a:t>
            </a:r>
            <a:endParaRPr lang="de-DE" sz="1400" dirty="0">
              <a:solidFill>
                <a:srgbClr val="FC6800"/>
              </a:solidFill>
            </a:endParaRPr>
          </a:p>
        </p:txBody>
      </p:sp>
      <p:sp>
        <p:nvSpPr>
          <p:cNvPr id="91142" name="Text Box 9"/>
          <p:cNvSpPr txBox="1">
            <a:spLocks noChangeArrowheads="1"/>
          </p:cNvSpPr>
          <p:nvPr/>
        </p:nvSpPr>
        <p:spPr bwMode="auto">
          <a:xfrm>
            <a:off x="4427984" y="4026517"/>
            <a:ext cx="2057400" cy="1508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de-DE" sz="1400" dirty="0">
                <a:solidFill>
                  <a:srgbClr val="FC6800"/>
                </a:solidFill>
              </a:rPr>
              <a:t>1999</a:t>
            </a:r>
            <a:r>
              <a:rPr lang="de-DE" sz="1400" dirty="0">
                <a:solidFill>
                  <a:srgbClr val="A50021"/>
                </a:solidFill>
              </a:rPr>
              <a:t> </a:t>
            </a:r>
          </a:p>
          <a:p>
            <a:pPr eaLnBrk="1" hangingPunct="1"/>
            <a:r>
              <a:rPr lang="en-US" sz="1400" dirty="0">
                <a:solidFill>
                  <a:srgbClr val="010000"/>
                </a:solidFill>
              </a:rPr>
              <a:t>GfK shares start </a:t>
            </a:r>
            <a:r>
              <a:rPr lang="en-US" sz="1400" dirty="0" smtClean="0">
                <a:solidFill>
                  <a:srgbClr val="010000"/>
                </a:solidFill>
              </a:rPr>
              <a:t/>
            </a:r>
            <a:br>
              <a:rPr lang="en-US" sz="1400" dirty="0" smtClean="0">
                <a:solidFill>
                  <a:srgbClr val="010000"/>
                </a:solidFill>
              </a:rPr>
            </a:br>
            <a:r>
              <a:rPr lang="en-US" sz="1400" dirty="0" smtClean="0">
                <a:solidFill>
                  <a:srgbClr val="010000"/>
                </a:solidFill>
              </a:rPr>
              <a:t>trading </a:t>
            </a:r>
            <a:r>
              <a:rPr lang="en-US" sz="1400" dirty="0">
                <a:solidFill>
                  <a:srgbClr val="010000"/>
                </a:solidFill>
              </a:rPr>
              <a:t>on the </a:t>
            </a:r>
            <a:r>
              <a:rPr lang="en-US" sz="1400" dirty="0" smtClean="0">
                <a:solidFill>
                  <a:srgbClr val="010000"/>
                </a:solidFill>
              </a:rPr>
              <a:t/>
            </a:r>
            <a:br>
              <a:rPr lang="en-US" sz="1400" dirty="0" smtClean="0">
                <a:solidFill>
                  <a:srgbClr val="010000"/>
                </a:solidFill>
              </a:rPr>
            </a:br>
            <a:r>
              <a:rPr lang="en-US" sz="1400" dirty="0" smtClean="0">
                <a:solidFill>
                  <a:srgbClr val="010000"/>
                </a:solidFill>
              </a:rPr>
              <a:t>Frankfurt </a:t>
            </a:r>
            <a:r>
              <a:rPr lang="en-US" sz="1400" dirty="0">
                <a:solidFill>
                  <a:srgbClr val="010000"/>
                </a:solidFill>
              </a:rPr>
              <a:t>stock </a:t>
            </a:r>
            <a:r>
              <a:rPr lang="en-US" sz="1400" dirty="0" smtClean="0">
                <a:solidFill>
                  <a:srgbClr val="010000"/>
                </a:solidFill>
              </a:rPr>
              <a:t/>
            </a:r>
            <a:br>
              <a:rPr lang="en-US" sz="1400" dirty="0" smtClean="0">
                <a:solidFill>
                  <a:srgbClr val="010000"/>
                </a:solidFill>
              </a:rPr>
            </a:br>
            <a:r>
              <a:rPr lang="en-US" sz="1400" dirty="0" smtClean="0">
                <a:solidFill>
                  <a:srgbClr val="010000"/>
                </a:solidFill>
              </a:rPr>
              <a:t>exchange</a:t>
            </a:r>
            <a:endParaRPr lang="en-US" sz="1400" dirty="0">
              <a:solidFill>
                <a:srgbClr val="010000"/>
              </a:solidFill>
            </a:endParaRPr>
          </a:p>
          <a:p>
            <a:pPr eaLnBrk="1" hangingPunct="1"/>
            <a:r>
              <a:rPr lang="en-US" sz="1400" dirty="0">
                <a:solidFill>
                  <a:srgbClr val="FC6800"/>
                </a:solidFill>
              </a:rPr>
              <a:t>Globally active pure market research player</a:t>
            </a:r>
            <a:endParaRPr lang="de-DE" sz="1400" dirty="0">
              <a:solidFill>
                <a:srgbClr val="FC6800"/>
              </a:solidFill>
            </a:endParaRPr>
          </a:p>
        </p:txBody>
      </p:sp>
      <p:sp>
        <p:nvSpPr>
          <p:cNvPr id="91143" name="Text Box 10"/>
          <p:cNvSpPr txBox="1">
            <a:spLocks noChangeArrowheads="1"/>
          </p:cNvSpPr>
          <p:nvPr/>
        </p:nvSpPr>
        <p:spPr bwMode="auto">
          <a:xfrm>
            <a:off x="5220090" y="1921492"/>
            <a:ext cx="1512105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de-DE" sz="1400" dirty="0" smtClean="0">
                <a:solidFill>
                  <a:srgbClr val="FC6800"/>
                </a:solidFill>
              </a:rPr>
              <a:t>2005</a:t>
            </a:r>
          </a:p>
          <a:p>
            <a:pPr eaLnBrk="1" hangingPunct="1"/>
            <a:r>
              <a:rPr lang="en-US" sz="1400" dirty="0" smtClean="0">
                <a:solidFill>
                  <a:srgbClr val="010000"/>
                </a:solidFill>
              </a:rPr>
              <a:t>Acquisition of </a:t>
            </a:r>
            <a:br>
              <a:rPr lang="en-US" sz="1400" dirty="0" smtClean="0">
                <a:solidFill>
                  <a:srgbClr val="010000"/>
                </a:solidFill>
              </a:rPr>
            </a:br>
            <a:r>
              <a:rPr lang="en-US" sz="1400" dirty="0" smtClean="0">
                <a:solidFill>
                  <a:srgbClr val="010000"/>
                </a:solidFill>
              </a:rPr>
              <a:t>NOP World</a:t>
            </a:r>
          </a:p>
          <a:p>
            <a:pPr eaLnBrk="1" hangingPunct="1"/>
            <a:r>
              <a:rPr lang="en-US" sz="1400" dirty="0" smtClean="0">
                <a:solidFill>
                  <a:srgbClr val="FC6800"/>
                </a:solidFill>
              </a:rPr>
              <a:t>Major step towards global business</a:t>
            </a:r>
            <a:endParaRPr lang="de-DE" sz="1400" dirty="0">
              <a:solidFill>
                <a:srgbClr val="FC6800"/>
              </a:solidFill>
            </a:endParaRPr>
          </a:p>
        </p:txBody>
      </p:sp>
      <p:sp>
        <p:nvSpPr>
          <p:cNvPr id="91152" name="Text Box 19"/>
          <p:cNvSpPr txBox="1">
            <a:spLocks noChangeArrowheads="1"/>
          </p:cNvSpPr>
          <p:nvPr/>
        </p:nvSpPr>
        <p:spPr bwMode="auto">
          <a:xfrm>
            <a:off x="6331024" y="4005879"/>
            <a:ext cx="2057400" cy="150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sz="1400" dirty="0">
                <a:solidFill>
                  <a:srgbClr val="FC6800"/>
                </a:solidFill>
                <a:ea typeface="Times New Roman" pitchFamily="18" charset="0"/>
                <a:cs typeface="Tahoma" pitchFamily="34" charset="0"/>
              </a:rPr>
              <a:t>2009 </a:t>
            </a:r>
            <a:r>
              <a:rPr lang="en-US" sz="1200" dirty="0">
                <a:solidFill>
                  <a:srgbClr val="FC6800"/>
                </a:solidFill>
                <a:ea typeface="Times New Roman" pitchFamily="18" charset="0"/>
                <a:cs typeface="Tahoma" pitchFamily="34" charset="0"/>
              </a:rPr>
              <a:t/>
            </a:r>
            <a:br>
              <a:rPr lang="en-US" sz="1200" dirty="0">
                <a:solidFill>
                  <a:srgbClr val="FC6800"/>
                </a:solidFill>
                <a:ea typeface="Times New Roman" pitchFamily="18" charset="0"/>
                <a:cs typeface="Tahoma" pitchFamily="34" charset="0"/>
              </a:rPr>
            </a:br>
            <a:r>
              <a:rPr lang="en-US" sz="1400" dirty="0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  <a:t>Change to </a:t>
            </a:r>
          </a:p>
          <a:p>
            <a:pPr eaLnBrk="1" hangingPunct="1"/>
            <a:r>
              <a:rPr lang="en-US" sz="1400" dirty="0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  <a:t>a European </a:t>
            </a:r>
          </a:p>
          <a:p>
            <a:pPr eaLnBrk="1" hangingPunct="1"/>
            <a:r>
              <a:rPr lang="en-US" sz="1400" dirty="0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  <a:t>joint stock company</a:t>
            </a:r>
            <a:r>
              <a:rPr lang="en-US" sz="1200" dirty="0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  <a:t> </a:t>
            </a:r>
            <a:br>
              <a:rPr lang="en-US" sz="1200" dirty="0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</a:br>
            <a:r>
              <a:rPr lang="en-US" sz="1400" dirty="0" err="1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  <a:t>Societas</a:t>
            </a:r>
            <a:r>
              <a:rPr lang="en-US" sz="1400" dirty="0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  <a:t>Europaea</a:t>
            </a:r>
            <a:r>
              <a:rPr lang="en-US" sz="1400" dirty="0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  <a:t> (SE)</a:t>
            </a:r>
            <a:r>
              <a:rPr lang="en-US" sz="1200" dirty="0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  <a:t/>
            </a:r>
            <a:br>
              <a:rPr lang="en-US" sz="1200" dirty="0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</a:br>
            <a:r>
              <a:rPr lang="en-US" sz="1400" dirty="0">
                <a:solidFill>
                  <a:srgbClr val="FC6800"/>
                </a:solidFill>
                <a:ea typeface="Times New Roman" pitchFamily="18" charset="0"/>
                <a:cs typeface="Tahoma" pitchFamily="34" charset="0"/>
              </a:rPr>
              <a:t>Represents international</a:t>
            </a:r>
            <a:br>
              <a:rPr lang="en-US" sz="1400" dirty="0">
                <a:solidFill>
                  <a:srgbClr val="FC6800"/>
                </a:solidFill>
                <a:ea typeface="Times New Roman" pitchFamily="18" charset="0"/>
                <a:cs typeface="Tahoma" pitchFamily="34" charset="0"/>
              </a:rPr>
            </a:br>
            <a:r>
              <a:rPr lang="en-US" sz="1400" dirty="0">
                <a:solidFill>
                  <a:srgbClr val="FC6800"/>
                </a:solidFill>
                <a:ea typeface="Times New Roman" pitchFamily="18" charset="0"/>
                <a:cs typeface="Tahoma" pitchFamily="34" charset="0"/>
              </a:rPr>
              <a:t>corporate culture</a:t>
            </a:r>
          </a:p>
        </p:txBody>
      </p:sp>
      <p:sp>
        <p:nvSpPr>
          <p:cNvPr id="91153" name="Text Box 20"/>
          <p:cNvSpPr txBox="1">
            <a:spLocks noChangeArrowheads="1"/>
          </p:cNvSpPr>
          <p:nvPr/>
        </p:nvSpPr>
        <p:spPr bwMode="auto">
          <a:xfrm>
            <a:off x="354013" y="4018579"/>
            <a:ext cx="1697037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de-DE" sz="1400" dirty="0">
                <a:solidFill>
                  <a:srgbClr val="FC6800"/>
                </a:solidFill>
              </a:rPr>
              <a:t>1957</a:t>
            </a:r>
          </a:p>
          <a:p>
            <a:pPr eaLnBrk="1" hangingPunct="1"/>
            <a:r>
              <a:rPr lang="en-US" sz="1400" dirty="0">
                <a:solidFill>
                  <a:srgbClr val="010000"/>
                </a:solidFill>
              </a:rPr>
              <a:t>Start of panel </a:t>
            </a:r>
            <a:r>
              <a:rPr lang="en-US" sz="1400" dirty="0" smtClean="0">
                <a:solidFill>
                  <a:srgbClr val="010000"/>
                </a:solidFill>
              </a:rPr>
              <a:t/>
            </a:r>
            <a:br>
              <a:rPr lang="en-US" sz="1400" dirty="0" smtClean="0">
                <a:solidFill>
                  <a:srgbClr val="010000"/>
                </a:solidFill>
              </a:rPr>
            </a:br>
            <a:r>
              <a:rPr lang="en-US" sz="1400" dirty="0" smtClean="0">
                <a:solidFill>
                  <a:srgbClr val="010000"/>
                </a:solidFill>
              </a:rPr>
              <a:t>research </a:t>
            </a:r>
            <a:r>
              <a:rPr lang="en-US" sz="1400" dirty="0">
                <a:solidFill>
                  <a:srgbClr val="010000"/>
                </a:solidFill>
              </a:rPr>
              <a:t>with 1.000 German households</a:t>
            </a:r>
          </a:p>
          <a:p>
            <a:pPr eaLnBrk="1" hangingPunct="1"/>
            <a:r>
              <a:rPr lang="en-US" sz="1400" dirty="0">
                <a:solidFill>
                  <a:srgbClr val="FC6800"/>
                </a:solidFill>
              </a:rPr>
              <a:t>First contract with Henkel</a:t>
            </a:r>
            <a:endParaRPr lang="de-DE" sz="1400" dirty="0">
              <a:solidFill>
                <a:srgbClr val="FC6800"/>
              </a:solidFill>
            </a:endParaRPr>
          </a:p>
        </p:txBody>
      </p:sp>
      <p:sp>
        <p:nvSpPr>
          <p:cNvPr id="91154" name="Text Box 21"/>
          <p:cNvSpPr txBox="1">
            <a:spLocks noChangeArrowheads="1"/>
          </p:cNvSpPr>
          <p:nvPr/>
        </p:nvSpPr>
        <p:spPr bwMode="auto">
          <a:xfrm>
            <a:off x="1835620" y="1844824"/>
            <a:ext cx="1656830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de-DE" sz="1400" dirty="0">
                <a:solidFill>
                  <a:srgbClr val="FC6800"/>
                </a:solidFill>
              </a:rPr>
              <a:t>1970</a:t>
            </a:r>
          </a:p>
          <a:p>
            <a:pPr eaLnBrk="1" hangingPunct="1"/>
            <a:r>
              <a:rPr lang="en-US" sz="1400" dirty="0">
                <a:solidFill>
                  <a:srgbClr val="010000"/>
                </a:solidFill>
              </a:rPr>
              <a:t>Start of retail panel research</a:t>
            </a:r>
          </a:p>
          <a:p>
            <a:pPr eaLnBrk="1" hangingPunct="1"/>
            <a:r>
              <a:rPr lang="en-US" sz="1400" dirty="0">
                <a:solidFill>
                  <a:srgbClr val="FC6800"/>
                </a:solidFill>
              </a:rPr>
              <a:t>Clients from food, photo and automotive industry</a:t>
            </a:r>
            <a:endParaRPr lang="de-DE" sz="1400" dirty="0">
              <a:solidFill>
                <a:srgbClr val="FC6800"/>
              </a:solidFill>
            </a:endParaRPr>
          </a:p>
        </p:txBody>
      </p:sp>
      <p:sp>
        <p:nvSpPr>
          <p:cNvPr id="91156" name="Text Box 35"/>
          <p:cNvSpPr txBox="1">
            <a:spLocks noChangeArrowheads="1"/>
          </p:cNvSpPr>
          <p:nvPr/>
        </p:nvSpPr>
        <p:spPr bwMode="auto">
          <a:xfrm>
            <a:off x="2339975" y="0"/>
            <a:ext cx="1468438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GB" sz="1100">
                <a:solidFill>
                  <a:srgbClr val="FFFFFF"/>
                </a:solidFill>
              </a:rPr>
              <a:t>1. Business overview</a:t>
            </a:r>
            <a:endParaRPr lang="de-DE" sz="1100">
              <a:solidFill>
                <a:srgbClr val="FFFFFF"/>
              </a:solidFill>
            </a:endParaRPr>
          </a:p>
        </p:txBody>
      </p:sp>
      <p:pic>
        <p:nvPicPr>
          <p:cNvPr id="91157" name="Picture 4" descr="~AUT000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2853354"/>
            <a:ext cx="1152525" cy="560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158" name="Picture 7" descr="USA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5" y="2006523"/>
            <a:ext cx="677862" cy="99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1160" name="Text Box 36"/>
          <p:cNvSpPr txBox="1">
            <a:spLocks noChangeArrowheads="1"/>
          </p:cNvSpPr>
          <p:nvPr/>
        </p:nvSpPr>
        <p:spPr bwMode="auto">
          <a:xfrm>
            <a:off x="7148513" y="0"/>
            <a:ext cx="1381125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GB" sz="1100">
                <a:solidFill>
                  <a:srgbClr val="FFFFFF"/>
                </a:solidFill>
              </a:rPr>
              <a:t>1.2 GfK at a glance</a:t>
            </a:r>
            <a:endParaRPr lang="de-DE" sz="1100">
              <a:solidFill>
                <a:srgbClr val="FFFFFF"/>
              </a:solidFill>
            </a:endParaRPr>
          </a:p>
        </p:txBody>
      </p:sp>
      <p:sp>
        <p:nvSpPr>
          <p:cNvPr id="26" name="Text Box 10"/>
          <p:cNvSpPr txBox="1">
            <a:spLocks noChangeArrowheads="1"/>
          </p:cNvSpPr>
          <p:nvPr/>
        </p:nvSpPr>
        <p:spPr bwMode="auto">
          <a:xfrm>
            <a:off x="6804310" y="1916834"/>
            <a:ext cx="1512105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de-DE" sz="1400" dirty="0" smtClean="0">
                <a:solidFill>
                  <a:srgbClr val="FC6800"/>
                </a:solidFill>
              </a:rPr>
              <a:t>2012</a:t>
            </a:r>
          </a:p>
          <a:p>
            <a:pPr eaLnBrk="1" hangingPunct="1"/>
            <a:r>
              <a:rPr lang="en-US" sz="1400" dirty="0" smtClean="0">
                <a:solidFill>
                  <a:srgbClr val="010000"/>
                </a:solidFill>
              </a:rPr>
              <a:t>Own the Future</a:t>
            </a:r>
          </a:p>
          <a:p>
            <a:pPr eaLnBrk="1" hangingPunct="1"/>
            <a:r>
              <a:rPr lang="en-US" sz="1400" dirty="0" smtClean="0">
                <a:solidFill>
                  <a:srgbClr val="FC6800"/>
                </a:solidFill>
              </a:rPr>
              <a:t>New strategy for global integration of GfK</a:t>
            </a:r>
            <a:endParaRPr lang="de-DE" sz="1400" dirty="0">
              <a:solidFill>
                <a:srgbClr val="FC6800"/>
              </a:solidFill>
            </a:endParaRPr>
          </a:p>
        </p:txBody>
      </p:sp>
      <p:sp>
        <p:nvSpPr>
          <p:cNvPr id="91144" name="Line 11"/>
          <p:cNvSpPr>
            <a:spLocks noChangeShapeType="1"/>
          </p:cNvSpPr>
          <p:nvPr/>
        </p:nvSpPr>
        <p:spPr bwMode="auto">
          <a:xfrm>
            <a:off x="250825" y="3716954"/>
            <a:ext cx="8670925" cy="0"/>
          </a:xfrm>
          <a:prstGeom prst="line">
            <a:avLst/>
          </a:prstGeom>
          <a:noFill/>
          <a:ln w="2857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91146" name="Line 13"/>
          <p:cNvSpPr>
            <a:spLocks noChangeShapeType="1"/>
          </p:cNvSpPr>
          <p:nvPr/>
        </p:nvSpPr>
        <p:spPr bwMode="auto">
          <a:xfrm flipV="1">
            <a:off x="250825" y="3572492"/>
            <a:ext cx="0" cy="144462"/>
          </a:xfrm>
          <a:prstGeom prst="line">
            <a:avLst/>
          </a:prstGeom>
          <a:noFill/>
          <a:ln w="952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91150" name="Line 17"/>
          <p:cNvSpPr>
            <a:spLocks noChangeShapeType="1"/>
          </p:cNvSpPr>
          <p:nvPr/>
        </p:nvSpPr>
        <p:spPr bwMode="auto">
          <a:xfrm flipV="1">
            <a:off x="1403350" y="3716954"/>
            <a:ext cx="0" cy="144463"/>
          </a:xfrm>
          <a:prstGeom prst="line">
            <a:avLst/>
          </a:prstGeom>
          <a:noFill/>
          <a:ln w="952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91145" name="Line 12"/>
          <p:cNvSpPr>
            <a:spLocks noChangeShapeType="1"/>
          </p:cNvSpPr>
          <p:nvPr/>
        </p:nvSpPr>
        <p:spPr bwMode="auto">
          <a:xfrm flipV="1">
            <a:off x="3601383" y="3716954"/>
            <a:ext cx="0" cy="144463"/>
          </a:xfrm>
          <a:prstGeom prst="line">
            <a:avLst/>
          </a:prstGeom>
          <a:noFill/>
          <a:ln w="952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91147" name="Line 14"/>
          <p:cNvSpPr>
            <a:spLocks noChangeShapeType="1"/>
          </p:cNvSpPr>
          <p:nvPr/>
        </p:nvSpPr>
        <p:spPr bwMode="auto">
          <a:xfrm flipV="1">
            <a:off x="5364110" y="3716954"/>
            <a:ext cx="0" cy="144463"/>
          </a:xfrm>
          <a:prstGeom prst="line">
            <a:avLst/>
          </a:prstGeom>
          <a:noFill/>
          <a:ln w="952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91148" name="Line 15"/>
          <p:cNvSpPr>
            <a:spLocks noChangeShapeType="1"/>
          </p:cNvSpPr>
          <p:nvPr/>
        </p:nvSpPr>
        <p:spPr bwMode="auto">
          <a:xfrm flipV="1">
            <a:off x="4477984" y="3572492"/>
            <a:ext cx="0" cy="144462"/>
          </a:xfrm>
          <a:prstGeom prst="line">
            <a:avLst/>
          </a:prstGeom>
          <a:noFill/>
          <a:ln w="952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91149" name="Line 16"/>
          <p:cNvSpPr>
            <a:spLocks noChangeShapeType="1"/>
          </p:cNvSpPr>
          <p:nvPr/>
        </p:nvSpPr>
        <p:spPr bwMode="auto">
          <a:xfrm flipV="1">
            <a:off x="5981322" y="3572492"/>
            <a:ext cx="0" cy="144462"/>
          </a:xfrm>
          <a:prstGeom prst="line">
            <a:avLst/>
          </a:prstGeom>
          <a:noFill/>
          <a:ln w="952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91151" name="Line 18"/>
          <p:cNvSpPr>
            <a:spLocks noChangeShapeType="1"/>
          </p:cNvSpPr>
          <p:nvPr/>
        </p:nvSpPr>
        <p:spPr bwMode="auto">
          <a:xfrm flipV="1">
            <a:off x="7236370" y="3716954"/>
            <a:ext cx="0" cy="144463"/>
          </a:xfrm>
          <a:prstGeom prst="line">
            <a:avLst/>
          </a:prstGeom>
          <a:noFill/>
          <a:ln w="952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91155" name="Line 22"/>
          <p:cNvSpPr>
            <a:spLocks noChangeShapeType="1"/>
          </p:cNvSpPr>
          <p:nvPr/>
        </p:nvSpPr>
        <p:spPr bwMode="auto">
          <a:xfrm flipV="1">
            <a:off x="2411413" y="3572492"/>
            <a:ext cx="0" cy="144462"/>
          </a:xfrm>
          <a:prstGeom prst="line">
            <a:avLst/>
          </a:prstGeom>
          <a:noFill/>
          <a:ln w="952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27" name="Line 15"/>
          <p:cNvSpPr>
            <a:spLocks noChangeShapeType="1"/>
          </p:cNvSpPr>
          <p:nvPr/>
        </p:nvSpPr>
        <p:spPr bwMode="auto">
          <a:xfrm flipV="1">
            <a:off x="7596420" y="3573064"/>
            <a:ext cx="0" cy="144462"/>
          </a:xfrm>
          <a:prstGeom prst="line">
            <a:avLst/>
          </a:prstGeom>
          <a:noFill/>
          <a:ln w="952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227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2"/>
          <p:cNvSpPr>
            <a:spLocks noGrp="1" noChangeAspect="1" noChangeArrowheads="1"/>
          </p:cNvSpPr>
          <p:nvPr>
            <p:ph type="title" sz="quarter"/>
          </p:nvPr>
        </p:nvSpPr>
        <p:spPr>
          <a:xfrm>
            <a:off x="250825" y="260350"/>
            <a:ext cx="7849567" cy="648445"/>
          </a:xfrm>
        </p:spPr>
        <p:txBody>
          <a:bodyPr/>
          <a:lstStyle/>
          <a:p>
            <a:r>
              <a:rPr lang="en-GB" dirty="0" smtClean="0"/>
              <a:t>GfK Group: a strong heritage in market research</a:t>
            </a:r>
            <a:endParaRPr lang="de-DE" dirty="0" smtClean="0"/>
          </a:p>
        </p:txBody>
      </p:sp>
      <p:sp>
        <p:nvSpPr>
          <p:cNvPr id="91139" name="Text Box 5"/>
          <p:cNvSpPr txBox="1">
            <a:spLocks noChangeArrowheads="1"/>
          </p:cNvSpPr>
          <p:nvPr/>
        </p:nvSpPr>
        <p:spPr bwMode="auto">
          <a:xfrm>
            <a:off x="209550" y="1845292"/>
            <a:ext cx="1841500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de-DE" sz="1400" dirty="0">
                <a:solidFill>
                  <a:srgbClr val="FC6800"/>
                </a:solidFill>
              </a:rPr>
              <a:t>1934</a:t>
            </a:r>
            <a:br>
              <a:rPr lang="de-DE" sz="1400" dirty="0">
                <a:solidFill>
                  <a:srgbClr val="FC6800"/>
                </a:solidFill>
              </a:rPr>
            </a:br>
            <a:r>
              <a:rPr lang="en-US" sz="1400" dirty="0">
                <a:solidFill>
                  <a:srgbClr val="010000"/>
                </a:solidFill>
              </a:rPr>
              <a:t>Founded as</a:t>
            </a:r>
            <a:r>
              <a:rPr lang="de-DE" sz="1400" dirty="0">
                <a:solidFill>
                  <a:srgbClr val="010000"/>
                </a:solidFill>
              </a:rPr>
              <a:t> </a:t>
            </a:r>
            <a:br>
              <a:rPr lang="de-DE" sz="1400" dirty="0">
                <a:solidFill>
                  <a:srgbClr val="010000"/>
                </a:solidFill>
              </a:rPr>
            </a:br>
            <a:r>
              <a:rPr lang="de-DE" sz="1400" dirty="0">
                <a:solidFill>
                  <a:srgbClr val="010000"/>
                </a:solidFill>
              </a:rPr>
              <a:t>GfK-Nürnberg e.V. </a:t>
            </a:r>
          </a:p>
          <a:p>
            <a:pPr eaLnBrk="1" hangingPunct="1"/>
            <a:r>
              <a:rPr lang="de-DE" sz="1400" dirty="0">
                <a:solidFill>
                  <a:srgbClr val="FC6800"/>
                </a:solidFill>
              </a:rPr>
              <a:t>(</a:t>
            </a:r>
            <a:r>
              <a:rPr lang="de-DE" sz="1400" dirty="0" err="1">
                <a:solidFill>
                  <a:srgbClr val="FC6800"/>
                </a:solidFill>
              </a:rPr>
              <a:t>the</a:t>
            </a:r>
            <a:r>
              <a:rPr lang="de-DE" sz="1400" dirty="0">
                <a:solidFill>
                  <a:srgbClr val="FC6800"/>
                </a:solidFill>
              </a:rPr>
              <a:t> GfK </a:t>
            </a:r>
            <a:r>
              <a:rPr lang="de-DE" sz="1400" dirty="0" smtClean="0">
                <a:solidFill>
                  <a:srgbClr val="FC6800"/>
                </a:solidFill>
              </a:rPr>
              <a:t>Verein)</a:t>
            </a:r>
            <a:endParaRPr lang="de-DE" sz="1400" dirty="0">
              <a:solidFill>
                <a:srgbClr val="FC6800"/>
              </a:solidFill>
            </a:endParaRPr>
          </a:p>
        </p:txBody>
      </p:sp>
      <p:sp>
        <p:nvSpPr>
          <p:cNvPr id="91140" name="Text Box 7"/>
          <p:cNvSpPr txBox="1">
            <a:spLocks noChangeArrowheads="1"/>
          </p:cNvSpPr>
          <p:nvPr/>
        </p:nvSpPr>
        <p:spPr bwMode="auto">
          <a:xfrm>
            <a:off x="2267744" y="4018579"/>
            <a:ext cx="2144712" cy="170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de-DE" sz="1400" dirty="0">
                <a:solidFill>
                  <a:srgbClr val="FC6800"/>
                </a:solidFill>
              </a:rPr>
              <a:t>1984</a:t>
            </a:r>
          </a:p>
          <a:p>
            <a:pPr eaLnBrk="1" hangingPunct="1"/>
            <a:r>
              <a:rPr lang="en-US" sz="1400" dirty="0">
                <a:solidFill>
                  <a:srgbClr val="000000"/>
                </a:solidFill>
              </a:rPr>
              <a:t>Operations hived off into a limited liability company;</a:t>
            </a:r>
          </a:p>
          <a:p>
            <a:pPr eaLnBrk="1" hangingPunct="1"/>
            <a:r>
              <a:rPr lang="en-US" sz="1400" dirty="0">
                <a:solidFill>
                  <a:srgbClr val="000000"/>
                </a:solidFill>
              </a:rPr>
              <a:t>GfK Association to retain status as a non-profit </a:t>
            </a:r>
            <a:r>
              <a:rPr lang="en-US" sz="1400" dirty="0"/>
              <a:t>organization</a:t>
            </a:r>
          </a:p>
          <a:p>
            <a:pPr eaLnBrk="1" hangingPunct="1"/>
            <a:r>
              <a:rPr lang="en-US" sz="1400" dirty="0">
                <a:solidFill>
                  <a:srgbClr val="FC6800"/>
                </a:solidFill>
              </a:rPr>
              <a:t>First contract for TV audience measurement</a:t>
            </a:r>
            <a:endParaRPr lang="de-DE" sz="1400" dirty="0">
              <a:solidFill>
                <a:srgbClr val="FC6800"/>
              </a:solidFill>
            </a:endParaRPr>
          </a:p>
        </p:txBody>
      </p:sp>
      <p:sp>
        <p:nvSpPr>
          <p:cNvPr id="91141" name="Text Box 8"/>
          <p:cNvSpPr txBox="1">
            <a:spLocks noChangeArrowheads="1"/>
          </p:cNvSpPr>
          <p:nvPr/>
        </p:nvSpPr>
        <p:spPr bwMode="auto">
          <a:xfrm>
            <a:off x="3563860" y="1905617"/>
            <a:ext cx="1600200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de-DE" sz="1400" dirty="0">
                <a:solidFill>
                  <a:srgbClr val="FC6800"/>
                </a:solidFill>
              </a:rPr>
              <a:t>1990</a:t>
            </a:r>
            <a:r>
              <a:rPr lang="de-DE" sz="1400" dirty="0">
                <a:solidFill>
                  <a:srgbClr val="A50021"/>
                </a:solidFill>
              </a:rPr>
              <a:t/>
            </a:r>
            <a:br>
              <a:rPr lang="de-DE" sz="1400" dirty="0">
                <a:solidFill>
                  <a:srgbClr val="A50021"/>
                </a:solidFill>
              </a:rPr>
            </a:br>
            <a:r>
              <a:rPr lang="en-US" sz="1400" dirty="0">
                <a:solidFill>
                  <a:srgbClr val="010000"/>
                </a:solidFill>
              </a:rPr>
              <a:t>Legal change to unlisted stock corporation</a:t>
            </a:r>
          </a:p>
          <a:p>
            <a:pPr eaLnBrk="1" hangingPunct="1"/>
            <a:r>
              <a:rPr lang="en-US" sz="1400" dirty="0">
                <a:solidFill>
                  <a:srgbClr val="FC6800"/>
                </a:solidFill>
              </a:rPr>
              <a:t>Focus on internationalization</a:t>
            </a:r>
            <a:endParaRPr lang="de-DE" sz="1400" dirty="0">
              <a:solidFill>
                <a:srgbClr val="FC6800"/>
              </a:solidFill>
            </a:endParaRPr>
          </a:p>
        </p:txBody>
      </p:sp>
      <p:sp>
        <p:nvSpPr>
          <p:cNvPr id="91142" name="Text Box 9"/>
          <p:cNvSpPr txBox="1">
            <a:spLocks noChangeArrowheads="1"/>
          </p:cNvSpPr>
          <p:nvPr/>
        </p:nvSpPr>
        <p:spPr bwMode="auto">
          <a:xfrm>
            <a:off x="4427984" y="4026517"/>
            <a:ext cx="2057400" cy="1508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de-DE" sz="1400" dirty="0">
                <a:solidFill>
                  <a:srgbClr val="FC6800"/>
                </a:solidFill>
              </a:rPr>
              <a:t>1999</a:t>
            </a:r>
            <a:r>
              <a:rPr lang="de-DE" sz="1400" dirty="0">
                <a:solidFill>
                  <a:srgbClr val="A50021"/>
                </a:solidFill>
              </a:rPr>
              <a:t> </a:t>
            </a:r>
          </a:p>
          <a:p>
            <a:pPr eaLnBrk="1" hangingPunct="1"/>
            <a:r>
              <a:rPr lang="en-US" sz="1400" dirty="0">
                <a:solidFill>
                  <a:srgbClr val="010000"/>
                </a:solidFill>
              </a:rPr>
              <a:t>GfK shares start </a:t>
            </a:r>
            <a:r>
              <a:rPr lang="en-US" sz="1400" dirty="0" smtClean="0">
                <a:solidFill>
                  <a:srgbClr val="010000"/>
                </a:solidFill>
              </a:rPr>
              <a:t/>
            </a:r>
            <a:br>
              <a:rPr lang="en-US" sz="1400" dirty="0" smtClean="0">
                <a:solidFill>
                  <a:srgbClr val="010000"/>
                </a:solidFill>
              </a:rPr>
            </a:br>
            <a:r>
              <a:rPr lang="en-US" sz="1400" dirty="0" smtClean="0">
                <a:solidFill>
                  <a:srgbClr val="010000"/>
                </a:solidFill>
              </a:rPr>
              <a:t>trading </a:t>
            </a:r>
            <a:r>
              <a:rPr lang="en-US" sz="1400" dirty="0">
                <a:solidFill>
                  <a:srgbClr val="010000"/>
                </a:solidFill>
              </a:rPr>
              <a:t>on the </a:t>
            </a:r>
            <a:r>
              <a:rPr lang="en-US" sz="1400" dirty="0" smtClean="0">
                <a:solidFill>
                  <a:srgbClr val="010000"/>
                </a:solidFill>
              </a:rPr>
              <a:t/>
            </a:r>
            <a:br>
              <a:rPr lang="en-US" sz="1400" dirty="0" smtClean="0">
                <a:solidFill>
                  <a:srgbClr val="010000"/>
                </a:solidFill>
              </a:rPr>
            </a:br>
            <a:r>
              <a:rPr lang="en-US" sz="1400" dirty="0" smtClean="0">
                <a:solidFill>
                  <a:srgbClr val="010000"/>
                </a:solidFill>
              </a:rPr>
              <a:t>Frankfurt </a:t>
            </a:r>
            <a:r>
              <a:rPr lang="en-US" sz="1400" dirty="0">
                <a:solidFill>
                  <a:srgbClr val="010000"/>
                </a:solidFill>
              </a:rPr>
              <a:t>stock </a:t>
            </a:r>
            <a:r>
              <a:rPr lang="en-US" sz="1400" dirty="0" smtClean="0">
                <a:solidFill>
                  <a:srgbClr val="010000"/>
                </a:solidFill>
              </a:rPr>
              <a:t/>
            </a:r>
            <a:br>
              <a:rPr lang="en-US" sz="1400" dirty="0" smtClean="0">
                <a:solidFill>
                  <a:srgbClr val="010000"/>
                </a:solidFill>
              </a:rPr>
            </a:br>
            <a:r>
              <a:rPr lang="en-US" sz="1400" dirty="0" smtClean="0">
                <a:solidFill>
                  <a:srgbClr val="010000"/>
                </a:solidFill>
              </a:rPr>
              <a:t>exchange</a:t>
            </a:r>
            <a:endParaRPr lang="en-US" sz="1400" dirty="0">
              <a:solidFill>
                <a:srgbClr val="010000"/>
              </a:solidFill>
            </a:endParaRPr>
          </a:p>
          <a:p>
            <a:pPr eaLnBrk="1" hangingPunct="1"/>
            <a:r>
              <a:rPr lang="en-US" sz="1400" dirty="0">
                <a:solidFill>
                  <a:srgbClr val="FC6800"/>
                </a:solidFill>
              </a:rPr>
              <a:t>Globally active pure market research player</a:t>
            </a:r>
            <a:endParaRPr lang="de-DE" sz="1400" dirty="0">
              <a:solidFill>
                <a:srgbClr val="FC6800"/>
              </a:solidFill>
            </a:endParaRPr>
          </a:p>
        </p:txBody>
      </p:sp>
      <p:sp>
        <p:nvSpPr>
          <p:cNvPr id="91143" name="Text Box 10"/>
          <p:cNvSpPr txBox="1">
            <a:spLocks noChangeArrowheads="1"/>
          </p:cNvSpPr>
          <p:nvPr/>
        </p:nvSpPr>
        <p:spPr bwMode="auto">
          <a:xfrm>
            <a:off x="5220090" y="1921492"/>
            <a:ext cx="1512105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de-DE" sz="1400" dirty="0" smtClean="0">
                <a:solidFill>
                  <a:srgbClr val="FC6800"/>
                </a:solidFill>
              </a:rPr>
              <a:t>2005</a:t>
            </a:r>
          </a:p>
          <a:p>
            <a:pPr eaLnBrk="1" hangingPunct="1"/>
            <a:r>
              <a:rPr lang="en-US" sz="1400" dirty="0" smtClean="0">
                <a:solidFill>
                  <a:srgbClr val="010000"/>
                </a:solidFill>
              </a:rPr>
              <a:t>Acquisition of </a:t>
            </a:r>
            <a:br>
              <a:rPr lang="en-US" sz="1400" dirty="0" smtClean="0">
                <a:solidFill>
                  <a:srgbClr val="010000"/>
                </a:solidFill>
              </a:rPr>
            </a:br>
            <a:r>
              <a:rPr lang="en-US" sz="1400" dirty="0" smtClean="0">
                <a:solidFill>
                  <a:srgbClr val="010000"/>
                </a:solidFill>
              </a:rPr>
              <a:t>NOP World</a:t>
            </a:r>
          </a:p>
          <a:p>
            <a:pPr eaLnBrk="1" hangingPunct="1"/>
            <a:r>
              <a:rPr lang="en-US" sz="1400" dirty="0" smtClean="0">
                <a:solidFill>
                  <a:srgbClr val="FC6800"/>
                </a:solidFill>
              </a:rPr>
              <a:t>Major step towards global business</a:t>
            </a:r>
            <a:endParaRPr lang="de-DE" sz="1400" dirty="0">
              <a:solidFill>
                <a:srgbClr val="FC6800"/>
              </a:solidFill>
            </a:endParaRPr>
          </a:p>
        </p:txBody>
      </p:sp>
      <p:sp>
        <p:nvSpPr>
          <p:cNvPr id="91152" name="Text Box 19"/>
          <p:cNvSpPr txBox="1">
            <a:spLocks noChangeArrowheads="1"/>
          </p:cNvSpPr>
          <p:nvPr/>
        </p:nvSpPr>
        <p:spPr bwMode="auto">
          <a:xfrm>
            <a:off x="6331024" y="4005879"/>
            <a:ext cx="2057400" cy="150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sz="1400" dirty="0">
                <a:solidFill>
                  <a:srgbClr val="FC6800"/>
                </a:solidFill>
                <a:ea typeface="Times New Roman" pitchFamily="18" charset="0"/>
                <a:cs typeface="Tahoma" pitchFamily="34" charset="0"/>
              </a:rPr>
              <a:t>2009 </a:t>
            </a:r>
            <a:r>
              <a:rPr lang="en-US" sz="1200" dirty="0">
                <a:solidFill>
                  <a:srgbClr val="FC6800"/>
                </a:solidFill>
                <a:ea typeface="Times New Roman" pitchFamily="18" charset="0"/>
                <a:cs typeface="Tahoma" pitchFamily="34" charset="0"/>
              </a:rPr>
              <a:t/>
            </a:r>
            <a:br>
              <a:rPr lang="en-US" sz="1200" dirty="0">
                <a:solidFill>
                  <a:srgbClr val="FC6800"/>
                </a:solidFill>
                <a:ea typeface="Times New Roman" pitchFamily="18" charset="0"/>
                <a:cs typeface="Tahoma" pitchFamily="34" charset="0"/>
              </a:rPr>
            </a:br>
            <a:r>
              <a:rPr lang="en-US" sz="1400" dirty="0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  <a:t>Change to </a:t>
            </a:r>
          </a:p>
          <a:p>
            <a:pPr eaLnBrk="1" hangingPunct="1"/>
            <a:r>
              <a:rPr lang="en-US" sz="1400" dirty="0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  <a:t>a European </a:t>
            </a:r>
          </a:p>
          <a:p>
            <a:pPr eaLnBrk="1" hangingPunct="1"/>
            <a:r>
              <a:rPr lang="en-US" sz="1400" dirty="0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  <a:t>joint stock company</a:t>
            </a:r>
            <a:r>
              <a:rPr lang="en-US" sz="1200" dirty="0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  <a:t> </a:t>
            </a:r>
            <a:br>
              <a:rPr lang="en-US" sz="1200" dirty="0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</a:br>
            <a:r>
              <a:rPr lang="en-US" sz="1400" dirty="0" err="1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  <a:t>Societas</a:t>
            </a:r>
            <a:r>
              <a:rPr lang="en-US" sz="1400" dirty="0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  <a:t>Europaea</a:t>
            </a:r>
            <a:r>
              <a:rPr lang="en-US" sz="1400" dirty="0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  <a:t> (SE)</a:t>
            </a:r>
            <a:r>
              <a:rPr lang="en-US" sz="1200" dirty="0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  <a:t/>
            </a:r>
            <a:br>
              <a:rPr lang="en-US" sz="1200" dirty="0">
                <a:solidFill>
                  <a:srgbClr val="000000"/>
                </a:solidFill>
                <a:ea typeface="Times New Roman" pitchFamily="18" charset="0"/>
                <a:cs typeface="Tahoma" pitchFamily="34" charset="0"/>
              </a:rPr>
            </a:br>
            <a:r>
              <a:rPr lang="en-US" sz="1400" dirty="0">
                <a:solidFill>
                  <a:srgbClr val="FC6800"/>
                </a:solidFill>
                <a:ea typeface="Times New Roman" pitchFamily="18" charset="0"/>
                <a:cs typeface="Tahoma" pitchFamily="34" charset="0"/>
              </a:rPr>
              <a:t>Represents international</a:t>
            </a:r>
            <a:br>
              <a:rPr lang="en-US" sz="1400" dirty="0">
                <a:solidFill>
                  <a:srgbClr val="FC6800"/>
                </a:solidFill>
                <a:ea typeface="Times New Roman" pitchFamily="18" charset="0"/>
                <a:cs typeface="Tahoma" pitchFamily="34" charset="0"/>
              </a:rPr>
            </a:br>
            <a:r>
              <a:rPr lang="en-US" sz="1400" dirty="0">
                <a:solidFill>
                  <a:srgbClr val="FC6800"/>
                </a:solidFill>
                <a:ea typeface="Times New Roman" pitchFamily="18" charset="0"/>
                <a:cs typeface="Tahoma" pitchFamily="34" charset="0"/>
              </a:rPr>
              <a:t>corporate culture</a:t>
            </a:r>
          </a:p>
        </p:txBody>
      </p:sp>
      <p:sp>
        <p:nvSpPr>
          <p:cNvPr id="91153" name="Text Box 20"/>
          <p:cNvSpPr txBox="1">
            <a:spLocks noChangeArrowheads="1"/>
          </p:cNvSpPr>
          <p:nvPr/>
        </p:nvSpPr>
        <p:spPr bwMode="auto">
          <a:xfrm>
            <a:off x="354013" y="4018579"/>
            <a:ext cx="1697037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de-DE" sz="1400" dirty="0">
                <a:solidFill>
                  <a:srgbClr val="FC6800"/>
                </a:solidFill>
              </a:rPr>
              <a:t>1957</a:t>
            </a:r>
          </a:p>
          <a:p>
            <a:pPr eaLnBrk="1" hangingPunct="1"/>
            <a:r>
              <a:rPr lang="en-US" sz="1400" dirty="0">
                <a:solidFill>
                  <a:srgbClr val="010000"/>
                </a:solidFill>
              </a:rPr>
              <a:t>Start of panel </a:t>
            </a:r>
            <a:r>
              <a:rPr lang="en-US" sz="1400" dirty="0" smtClean="0">
                <a:solidFill>
                  <a:srgbClr val="010000"/>
                </a:solidFill>
              </a:rPr>
              <a:t/>
            </a:r>
            <a:br>
              <a:rPr lang="en-US" sz="1400" dirty="0" smtClean="0">
                <a:solidFill>
                  <a:srgbClr val="010000"/>
                </a:solidFill>
              </a:rPr>
            </a:br>
            <a:r>
              <a:rPr lang="en-US" sz="1400" dirty="0" smtClean="0">
                <a:solidFill>
                  <a:srgbClr val="010000"/>
                </a:solidFill>
              </a:rPr>
              <a:t>research </a:t>
            </a:r>
            <a:r>
              <a:rPr lang="en-US" sz="1400" dirty="0">
                <a:solidFill>
                  <a:srgbClr val="010000"/>
                </a:solidFill>
              </a:rPr>
              <a:t>with 1.000 German households</a:t>
            </a:r>
          </a:p>
          <a:p>
            <a:pPr eaLnBrk="1" hangingPunct="1"/>
            <a:r>
              <a:rPr lang="en-US" sz="1400" dirty="0">
                <a:solidFill>
                  <a:srgbClr val="FC6800"/>
                </a:solidFill>
              </a:rPr>
              <a:t>First contract with Henkel</a:t>
            </a:r>
            <a:endParaRPr lang="de-DE" sz="1400" dirty="0">
              <a:solidFill>
                <a:srgbClr val="FC6800"/>
              </a:solidFill>
            </a:endParaRPr>
          </a:p>
        </p:txBody>
      </p:sp>
      <p:sp>
        <p:nvSpPr>
          <p:cNvPr id="91154" name="Text Box 21"/>
          <p:cNvSpPr txBox="1">
            <a:spLocks noChangeArrowheads="1"/>
          </p:cNvSpPr>
          <p:nvPr/>
        </p:nvSpPr>
        <p:spPr bwMode="auto">
          <a:xfrm>
            <a:off x="1835620" y="1844824"/>
            <a:ext cx="1656830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de-DE" sz="1400" dirty="0">
                <a:solidFill>
                  <a:srgbClr val="FC6800"/>
                </a:solidFill>
              </a:rPr>
              <a:t>1970</a:t>
            </a:r>
          </a:p>
          <a:p>
            <a:pPr eaLnBrk="1" hangingPunct="1"/>
            <a:r>
              <a:rPr lang="en-US" sz="1400" dirty="0">
                <a:solidFill>
                  <a:srgbClr val="010000"/>
                </a:solidFill>
              </a:rPr>
              <a:t>Start of retail panel research</a:t>
            </a:r>
          </a:p>
          <a:p>
            <a:pPr eaLnBrk="1" hangingPunct="1"/>
            <a:r>
              <a:rPr lang="en-US" sz="1400" dirty="0">
                <a:solidFill>
                  <a:srgbClr val="FC6800"/>
                </a:solidFill>
              </a:rPr>
              <a:t>Clients from food, photo and automotive industry</a:t>
            </a:r>
            <a:endParaRPr lang="de-DE" sz="1400" dirty="0">
              <a:solidFill>
                <a:srgbClr val="FC6800"/>
              </a:solidFill>
            </a:endParaRPr>
          </a:p>
        </p:txBody>
      </p:sp>
      <p:sp>
        <p:nvSpPr>
          <p:cNvPr id="91156" name="Text Box 35"/>
          <p:cNvSpPr txBox="1">
            <a:spLocks noChangeArrowheads="1"/>
          </p:cNvSpPr>
          <p:nvPr/>
        </p:nvSpPr>
        <p:spPr bwMode="auto">
          <a:xfrm>
            <a:off x="2339975" y="0"/>
            <a:ext cx="1468438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GB" sz="1100">
                <a:solidFill>
                  <a:srgbClr val="FFFFFF"/>
                </a:solidFill>
              </a:rPr>
              <a:t>1. Business overview</a:t>
            </a:r>
            <a:endParaRPr lang="de-DE" sz="1100">
              <a:solidFill>
                <a:srgbClr val="FFFFFF"/>
              </a:solidFill>
            </a:endParaRPr>
          </a:p>
        </p:txBody>
      </p:sp>
      <p:pic>
        <p:nvPicPr>
          <p:cNvPr id="91157" name="Picture 4" descr="~AUT000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2853354"/>
            <a:ext cx="1152525" cy="560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158" name="Picture 7" descr="USA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5" y="2006523"/>
            <a:ext cx="677862" cy="99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1160" name="Text Box 36"/>
          <p:cNvSpPr txBox="1">
            <a:spLocks noChangeArrowheads="1"/>
          </p:cNvSpPr>
          <p:nvPr/>
        </p:nvSpPr>
        <p:spPr bwMode="auto">
          <a:xfrm>
            <a:off x="7148513" y="0"/>
            <a:ext cx="1381125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GB" sz="1100">
                <a:solidFill>
                  <a:srgbClr val="FFFFFF"/>
                </a:solidFill>
              </a:rPr>
              <a:t>1.2 GfK at a glance</a:t>
            </a:r>
            <a:endParaRPr lang="de-DE" sz="1100">
              <a:solidFill>
                <a:srgbClr val="FFFFFF"/>
              </a:solidFill>
            </a:endParaRPr>
          </a:p>
        </p:txBody>
      </p:sp>
      <p:sp>
        <p:nvSpPr>
          <p:cNvPr id="26" name="Text Box 10"/>
          <p:cNvSpPr txBox="1">
            <a:spLocks noChangeArrowheads="1"/>
          </p:cNvSpPr>
          <p:nvPr/>
        </p:nvSpPr>
        <p:spPr bwMode="auto">
          <a:xfrm>
            <a:off x="6804310" y="1916834"/>
            <a:ext cx="1512105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de-DE" sz="1400" dirty="0" smtClean="0">
                <a:solidFill>
                  <a:srgbClr val="FC6800"/>
                </a:solidFill>
              </a:rPr>
              <a:t>2012</a:t>
            </a:r>
          </a:p>
          <a:p>
            <a:pPr eaLnBrk="1" hangingPunct="1"/>
            <a:r>
              <a:rPr lang="en-US" sz="1400" dirty="0" smtClean="0">
                <a:solidFill>
                  <a:srgbClr val="010000"/>
                </a:solidFill>
              </a:rPr>
              <a:t>Own the Future</a:t>
            </a:r>
          </a:p>
          <a:p>
            <a:pPr eaLnBrk="1" hangingPunct="1"/>
            <a:r>
              <a:rPr lang="en-US" sz="1400" dirty="0" smtClean="0">
                <a:solidFill>
                  <a:srgbClr val="FC6800"/>
                </a:solidFill>
              </a:rPr>
              <a:t>New strategy for global integration of GfK</a:t>
            </a:r>
            <a:endParaRPr lang="de-DE" sz="1400" dirty="0">
              <a:solidFill>
                <a:srgbClr val="FC6800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5496" y="1304686"/>
            <a:ext cx="9144000" cy="4824536"/>
            <a:chOff x="14287" y="1441304"/>
            <a:chExt cx="9144000" cy="4824536"/>
          </a:xfrm>
        </p:grpSpPr>
        <p:sp>
          <p:nvSpPr>
            <p:cNvPr id="5" name="Rectangle 4"/>
            <p:cNvSpPr/>
            <p:nvPr/>
          </p:nvSpPr>
          <p:spPr bwMode="gray">
            <a:xfrm>
              <a:off x="14287" y="1441304"/>
              <a:ext cx="9144000" cy="4824536"/>
            </a:xfrm>
            <a:prstGeom prst="rect">
              <a:avLst/>
            </a:prstGeom>
            <a:solidFill>
              <a:schemeClr val="bg1">
                <a:alpha val="7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n-GB" sz="16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" name="Rectangle 3"/>
            <p:cNvSpPr/>
            <p:nvPr/>
          </p:nvSpPr>
          <p:spPr bwMode="gray">
            <a:xfrm>
              <a:off x="158601" y="1628800"/>
              <a:ext cx="3160588" cy="50405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" name="Rectangle 2"/>
            <p:cNvSpPr/>
            <p:nvPr/>
          </p:nvSpPr>
          <p:spPr bwMode="gray">
            <a:xfrm>
              <a:off x="158303" y="2132856"/>
              <a:ext cx="3160588" cy="262708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n-GB" sz="16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" name="Rectangle 1"/>
            <p:cNvSpPr/>
            <p:nvPr/>
          </p:nvSpPr>
          <p:spPr>
            <a:xfrm>
              <a:off x="1683360" y="4026226"/>
              <a:ext cx="1715303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400" dirty="0" smtClean="0">
                  <a:solidFill>
                    <a:srgbClr val="FC6800"/>
                  </a:solidFill>
                </a:rPr>
                <a:t>1972</a:t>
              </a:r>
              <a:endParaRPr lang="de-DE" sz="1400" dirty="0">
                <a:solidFill>
                  <a:srgbClr val="FC6800"/>
                </a:solidFill>
              </a:endParaRPr>
            </a:p>
            <a:p>
              <a:r>
                <a:rPr lang="en-US" sz="1200" dirty="0" smtClean="0">
                  <a:solidFill>
                    <a:srgbClr val="000000"/>
                  </a:solidFill>
                </a:rPr>
                <a:t>Cooperation with GfK</a:t>
              </a:r>
              <a:endParaRPr lang="en-US" sz="1200" dirty="0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230311" y="2269902"/>
              <a:ext cx="2159893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600" dirty="0" smtClean="0">
                  <a:solidFill>
                    <a:srgbClr val="FC6800"/>
                  </a:solidFill>
                </a:rPr>
                <a:t>1950</a:t>
              </a:r>
            </a:p>
            <a:p>
              <a:r>
                <a:rPr lang="en-US" sz="1400" dirty="0" smtClean="0">
                  <a:solidFill>
                    <a:srgbClr val="000000"/>
                  </a:solidFill>
                </a:rPr>
                <a:t>Dr. </a:t>
              </a:r>
              <a:r>
                <a:rPr lang="en-US" sz="1400" dirty="0" err="1" smtClean="0">
                  <a:solidFill>
                    <a:srgbClr val="000000"/>
                  </a:solidFill>
                </a:rPr>
                <a:t>Fessel</a:t>
              </a:r>
              <a:r>
                <a:rPr lang="en-US" sz="1400" dirty="0" smtClean="0">
                  <a:solidFill>
                    <a:srgbClr val="000000"/>
                  </a:solidFill>
                </a:rPr>
                <a:t> and </a:t>
              </a:r>
              <a:br>
                <a:rPr lang="en-US" sz="1400" dirty="0" smtClean="0">
                  <a:solidFill>
                    <a:srgbClr val="000000"/>
                  </a:solidFill>
                </a:rPr>
              </a:br>
              <a:r>
                <a:rPr lang="en-US" sz="1400" dirty="0" smtClean="0">
                  <a:solidFill>
                    <a:srgbClr val="000000"/>
                  </a:solidFill>
                </a:rPr>
                <a:t>Dr. </a:t>
              </a:r>
              <a:r>
                <a:rPr lang="en-US" sz="1400" dirty="0" err="1" smtClean="0">
                  <a:solidFill>
                    <a:srgbClr val="000000"/>
                  </a:solidFill>
                </a:rPr>
                <a:t>Geppert</a:t>
              </a:r>
              <a:r>
                <a:rPr lang="en-US" sz="1400" dirty="0" smtClean="0">
                  <a:solidFill>
                    <a:srgbClr val="000000"/>
                  </a:solidFill>
                </a:rPr>
                <a:t> found “</a:t>
              </a:r>
              <a:r>
                <a:rPr lang="de-DE" sz="1400" dirty="0" smtClean="0">
                  <a:solidFill>
                    <a:srgbClr val="000000"/>
                  </a:solidFill>
                </a:rPr>
                <a:t>Berechnungsbüro für Wirtschaft und Industrie“</a:t>
              </a:r>
              <a:endParaRPr lang="en-US" sz="1400" dirty="0"/>
            </a:p>
          </p:txBody>
        </p:sp>
        <p:pic>
          <p:nvPicPr>
            <p:cNvPr id="113666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0311" y="1700808"/>
              <a:ext cx="577056" cy="376709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1144" name="Line 11"/>
          <p:cNvSpPr>
            <a:spLocks noChangeShapeType="1"/>
          </p:cNvSpPr>
          <p:nvPr/>
        </p:nvSpPr>
        <p:spPr bwMode="auto">
          <a:xfrm>
            <a:off x="250825" y="3716954"/>
            <a:ext cx="8670925" cy="0"/>
          </a:xfrm>
          <a:prstGeom prst="line">
            <a:avLst/>
          </a:prstGeom>
          <a:noFill/>
          <a:ln w="2857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91146" name="Line 13"/>
          <p:cNvSpPr>
            <a:spLocks noChangeShapeType="1"/>
          </p:cNvSpPr>
          <p:nvPr/>
        </p:nvSpPr>
        <p:spPr bwMode="auto">
          <a:xfrm flipV="1">
            <a:off x="250825" y="3572492"/>
            <a:ext cx="0" cy="144462"/>
          </a:xfrm>
          <a:prstGeom prst="line">
            <a:avLst/>
          </a:prstGeom>
          <a:noFill/>
          <a:ln w="952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91150" name="Line 17"/>
          <p:cNvSpPr>
            <a:spLocks noChangeShapeType="1"/>
          </p:cNvSpPr>
          <p:nvPr/>
        </p:nvSpPr>
        <p:spPr bwMode="auto">
          <a:xfrm flipV="1">
            <a:off x="1403350" y="3716954"/>
            <a:ext cx="0" cy="144463"/>
          </a:xfrm>
          <a:prstGeom prst="line">
            <a:avLst/>
          </a:prstGeom>
          <a:noFill/>
          <a:ln w="952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91145" name="Line 12"/>
          <p:cNvSpPr>
            <a:spLocks noChangeShapeType="1"/>
          </p:cNvSpPr>
          <p:nvPr/>
        </p:nvSpPr>
        <p:spPr bwMode="auto">
          <a:xfrm flipV="1">
            <a:off x="3601383" y="3716954"/>
            <a:ext cx="0" cy="144463"/>
          </a:xfrm>
          <a:prstGeom prst="line">
            <a:avLst/>
          </a:prstGeom>
          <a:noFill/>
          <a:ln w="952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91147" name="Line 14"/>
          <p:cNvSpPr>
            <a:spLocks noChangeShapeType="1"/>
          </p:cNvSpPr>
          <p:nvPr/>
        </p:nvSpPr>
        <p:spPr bwMode="auto">
          <a:xfrm flipV="1">
            <a:off x="5364110" y="3716954"/>
            <a:ext cx="0" cy="144463"/>
          </a:xfrm>
          <a:prstGeom prst="line">
            <a:avLst/>
          </a:prstGeom>
          <a:noFill/>
          <a:ln w="952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91148" name="Line 15"/>
          <p:cNvSpPr>
            <a:spLocks noChangeShapeType="1"/>
          </p:cNvSpPr>
          <p:nvPr/>
        </p:nvSpPr>
        <p:spPr bwMode="auto">
          <a:xfrm flipV="1">
            <a:off x="4477984" y="3572492"/>
            <a:ext cx="0" cy="144462"/>
          </a:xfrm>
          <a:prstGeom prst="line">
            <a:avLst/>
          </a:prstGeom>
          <a:noFill/>
          <a:ln w="952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91149" name="Line 16"/>
          <p:cNvSpPr>
            <a:spLocks noChangeShapeType="1"/>
          </p:cNvSpPr>
          <p:nvPr/>
        </p:nvSpPr>
        <p:spPr bwMode="auto">
          <a:xfrm flipV="1">
            <a:off x="5981322" y="3572492"/>
            <a:ext cx="0" cy="144462"/>
          </a:xfrm>
          <a:prstGeom prst="line">
            <a:avLst/>
          </a:prstGeom>
          <a:noFill/>
          <a:ln w="952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91151" name="Line 18"/>
          <p:cNvSpPr>
            <a:spLocks noChangeShapeType="1"/>
          </p:cNvSpPr>
          <p:nvPr/>
        </p:nvSpPr>
        <p:spPr bwMode="auto">
          <a:xfrm flipV="1">
            <a:off x="7236370" y="3716954"/>
            <a:ext cx="0" cy="144463"/>
          </a:xfrm>
          <a:prstGeom prst="line">
            <a:avLst/>
          </a:prstGeom>
          <a:noFill/>
          <a:ln w="952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91155" name="Line 22"/>
          <p:cNvSpPr>
            <a:spLocks noChangeShapeType="1"/>
          </p:cNvSpPr>
          <p:nvPr/>
        </p:nvSpPr>
        <p:spPr bwMode="auto">
          <a:xfrm flipV="1">
            <a:off x="2411413" y="3572492"/>
            <a:ext cx="0" cy="144462"/>
          </a:xfrm>
          <a:prstGeom prst="line">
            <a:avLst/>
          </a:prstGeom>
          <a:noFill/>
          <a:ln w="952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27" name="Line 15"/>
          <p:cNvSpPr>
            <a:spLocks noChangeShapeType="1"/>
          </p:cNvSpPr>
          <p:nvPr/>
        </p:nvSpPr>
        <p:spPr bwMode="auto">
          <a:xfrm flipV="1">
            <a:off x="7596420" y="3573064"/>
            <a:ext cx="0" cy="144462"/>
          </a:xfrm>
          <a:prstGeom prst="line">
            <a:avLst/>
          </a:prstGeom>
          <a:noFill/>
          <a:ln w="9525">
            <a:solidFill>
              <a:srgbClr val="FC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135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2508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23" name="think-cell Folie" r:id="rId26" imgW="270" imgH="270" progId="TCLayout.ActiveDocument.1">
                  <p:embed/>
                </p:oleObj>
              </mc:Choice>
              <mc:Fallback>
                <p:oleObj name="think-cell Foli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4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23850" y="6453188"/>
            <a:ext cx="8496300" cy="144462"/>
          </a:xfrm>
        </p:spPr>
        <p:txBody>
          <a:bodyPr/>
          <a:lstStyle/>
          <a:p>
            <a:r>
              <a:rPr lang="de-DE" dirty="0" smtClean="0"/>
              <a:t>Source: </a:t>
            </a:r>
            <a:r>
              <a:rPr lang="de-DE" dirty="0"/>
              <a:t>DIW </a:t>
            </a:r>
            <a:r>
              <a:rPr lang="de-DE" dirty="0" smtClean="0"/>
              <a:t>(as of: 18.12.2013)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23850" y="260648"/>
            <a:ext cx="7848550" cy="647402"/>
          </a:xfrm>
        </p:spPr>
        <p:txBody>
          <a:bodyPr/>
          <a:lstStyle/>
          <a:p>
            <a:r>
              <a:rPr lang="de-DE" dirty="0"/>
              <a:t>Global economy – </a:t>
            </a:r>
            <a:r>
              <a:rPr lang="de-DE" dirty="0" smtClean="0"/>
              <a:t>Confirmed recovery</a:t>
            </a:r>
            <a:endParaRPr lang="de-DE" dirty="0"/>
          </a:p>
        </p:txBody>
      </p:sp>
      <p:sp>
        <p:nvSpPr>
          <p:cNvPr id="5" name="Inhaltsplatzhalter 588914"/>
          <p:cNvSpPr txBox="1">
            <a:spLocks/>
          </p:cNvSpPr>
          <p:nvPr/>
        </p:nvSpPr>
        <p:spPr bwMode="gray">
          <a:xfrm>
            <a:off x="305188" y="1052736"/>
            <a:ext cx="4616648" cy="21544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n-US" sz="1400" dirty="0"/>
              <a:t>Change in gross domestic product vs. previous year [in %]</a:t>
            </a:r>
          </a:p>
        </p:txBody>
      </p:sp>
      <p:sp>
        <p:nvSpPr>
          <p:cNvPr id="7" name="RbLeanShape Left U-Shape 7"/>
          <p:cNvSpPr>
            <a:spLocks/>
          </p:cNvSpPr>
          <p:nvPr/>
        </p:nvSpPr>
        <p:spPr>
          <a:xfrm>
            <a:off x="323849" y="1739900"/>
            <a:ext cx="2022535" cy="1969163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90000" rIns="0" bIns="0" rtlCol="0" anchor="t"/>
          <a:lstStyle/>
          <a:p>
            <a:pPr fontAlgn="ctr"/>
            <a:endParaRPr lang="de-DE" sz="1300" b="1"/>
          </a:p>
        </p:txBody>
      </p:sp>
      <p:sp>
        <p:nvSpPr>
          <p:cNvPr id="8" name="RbLeanShape Left U-Shape 7"/>
          <p:cNvSpPr>
            <a:spLocks/>
          </p:cNvSpPr>
          <p:nvPr/>
        </p:nvSpPr>
        <p:spPr>
          <a:xfrm>
            <a:off x="2481771" y="1739900"/>
            <a:ext cx="2022535" cy="1969163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90000" rIns="0" bIns="0" rtlCol="0" anchor="t"/>
          <a:lstStyle/>
          <a:p>
            <a:pPr fontAlgn="ctr"/>
            <a:endParaRPr lang="de-DE" sz="1300" b="1"/>
          </a:p>
        </p:txBody>
      </p:sp>
      <p:sp>
        <p:nvSpPr>
          <p:cNvPr id="9" name="RbLeanShape Left U-Shape 7"/>
          <p:cNvSpPr>
            <a:spLocks/>
          </p:cNvSpPr>
          <p:nvPr/>
        </p:nvSpPr>
        <p:spPr>
          <a:xfrm>
            <a:off x="4639693" y="1739900"/>
            <a:ext cx="2022535" cy="1969163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90000" rIns="0" bIns="0" rtlCol="0" anchor="t"/>
          <a:lstStyle/>
          <a:p>
            <a:pPr fontAlgn="ctr"/>
            <a:endParaRPr lang="de-DE" sz="1300" b="1"/>
          </a:p>
        </p:txBody>
      </p:sp>
      <p:sp>
        <p:nvSpPr>
          <p:cNvPr id="10" name="RbLeanShape Left U-Shape 7"/>
          <p:cNvSpPr>
            <a:spLocks/>
          </p:cNvSpPr>
          <p:nvPr/>
        </p:nvSpPr>
        <p:spPr>
          <a:xfrm>
            <a:off x="6797615" y="1739900"/>
            <a:ext cx="2022535" cy="1969163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90000" rIns="0" bIns="0" rtlCol="0" anchor="t"/>
          <a:lstStyle/>
          <a:p>
            <a:pPr fontAlgn="ctr"/>
            <a:endParaRPr lang="de-DE" sz="1300" b="1"/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323850" y="1458913"/>
            <a:ext cx="150361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Global Economy</a:t>
            </a:r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2481771" y="1458913"/>
            <a:ext cx="95699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Euro Zone</a:t>
            </a:r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4639693" y="1458913"/>
            <a:ext cx="28373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kern="0" dirty="0" smtClean="0"/>
              <a:t>UK</a:t>
            </a:r>
            <a:endParaRPr kumimoji="0" lang="de-DE" sz="16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8" name="Rectangle 8"/>
          <p:cNvSpPr>
            <a:spLocks noChangeArrowheads="1"/>
          </p:cNvSpPr>
          <p:nvPr/>
        </p:nvSpPr>
        <p:spPr bwMode="auto">
          <a:xfrm>
            <a:off x="6797615" y="1458913"/>
            <a:ext cx="43120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kern="0" dirty="0" smtClean="0"/>
              <a:t>USA</a:t>
            </a:r>
            <a:endParaRPr kumimoji="0" lang="de-DE" sz="16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6" name="Objekt 2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3276729"/>
              </p:ext>
            </p:extLst>
          </p:nvPr>
        </p:nvGraphicFramePr>
        <p:xfrm>
          <a:off x="273050" y="1993900"/>
          <a:ext cx="2041635" cy="1346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129" name="Textplatzhalter 1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71625" y="34480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2014</a:t>
            </a:r>
            <a:endParaRPr lang="de-DE" sz="14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8" name="Textplatzhalter 1"/>
          <p:cNvSpPr>
            <a:spLocks noGrp="1"/>
          </p:cNvSpPr>
          <p:nvPr/>
        </p:nvSpPr>
        <p:spPr bwMode="auto">
          <a:xfrm>
            <a:off x="611560" y="34480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2013</a:t>
            </a:r>
            <a:endParaRPr lang="de-DE" sz="14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11" name="Objekt 143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44974898"/>
              </p:ext>
            </p:extLst>
          </p:nvPr>
        </p:nvGraphicFramePr>
        <p:xfrm>
          <a:off x="2430463" y="1993900"/>
          <a:ext cx="2041635" cy="1441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12" name="Objekt 170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15533764"/>
              </p:ext>
            </p:extLst>
          </p:nvPr>
        </p:nvGraphicFramePr>
        <p:xfrm>
          <a:off x="4589463" y="1993899"/>
          <a:ext cx="2041635" cy="143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72" name="Rectangle 8"/>
          <p:cNvSpPr>
            <a:spLocks noChangeArrowheads="1"/>
          </p:cNvSpPr>
          <p:nvPr/>
        </p:nvSpPr>
        <p:spPr bwMode="auto">
          <a:xfrm>
            <a:off x="4929188" y="3432175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lvl="0" algn="ctr">
              <a:defRPr/>
            </a:pPr>
            <a:r>
              <a:rPr lang="de-DE" sz="1400" kern="0" dirty="0" smtClean="0"/>
              <a:t>2013</a:t>
            </a:r>
            <a:endParaRPr lang="de-DE" sz="1400" kern="0" dirty="0"/>
          </a:p>
        </p:txBody>
      </p:sp>
      <p:sp>
        <p:nvSpPr>
          <p:cNvPr id="173" name="Rectangle 8"/>
          <p:cNvSpPr>
            <a:spLocks noChangeArrowheads="1"/>
          </p:cNvSpPr>
          <p:nvPr/>
        </p:nvSpPr>
        <p:spPr bwMode="auto">
          <a:xfrm>
            <a:off x="5913438" y="3430588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lvl="0" algn="ctr">
              <a:defRPr/>
            </a:pPr>
            <a:r>
              <a:rPr lang="de-DE" sz="1400" kern="0" dirty="0" smtClean="0"/>
              <a:t>2014</a:t>
            </a:r>
            <a:endParaRPr lang="de-DE" sz="1400" kern="0" dirty="0"/>
          </a:p>
        </p:txBody>
      </p:sp>
      <p:graphicFrame>
        <p:nvGraphicFramePr>
          <p:cNvPr id="13" name="Objekt 173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27653915"/>
              </p:ext>
            </p:extLst>
          </p:nvPr>
        </p:nvGraphicFramePr>
        <p:xfrm>
          <a:off x="6746875" y="1993900"/>
          <a:ext cx="2041635" cy="1346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176" name="Textplatzhalter 1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045450" y="34480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2014</a:t>
            </a:r>
            <a:endParaRPr lang="de-DE" sz="14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5" name="Textplatzhalter 1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073900" y="34480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2013</a:t>
            </a:r>
            <a:endParaRPr lang="de-DE" sz="14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7" name="RbLeanShape Left U-Shape 7"/>
          <p:cNvSpPr>
            <a:spLocks/>
          </p:cNvSpPr>
          <p:nvPr/>
        </p:nvSpPr>
        <p:spPr>
          <a:xfrm>
            <a:off x="323850" y="4260850"/>
            <a:ext cx="2022535" cy="1969163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90000" rIns="0" bIns="0" rtlCol="0" anchor="t"/>
          <a:lstStyle/>
          <a:p>
            <a:pPr fontAlgn="ctr"/>
            <a:endParaRPr lang="de-DE" sz="1300" b="1"/>
          </a:p>
        </p:txBody>
      </p:sp>
      <p:sp>
        <p:nvSpPr>
          <p:cNvPr id="178" name="RbLeanShape Left U-Shape 7"/>
          <p:cNvSpPr>
            <a:spLocks/>
          </p:cNvSpPr>
          <p:nvPr/>
        </p:nvSpPr>
        <p:spPr>
          <a:xfrm>
            <a:off x="2481263" y="4260850"/>
            <a:ext cx="2022535" cy="1969163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90000" rIns="0" bIns="0" rtlCol="0" anchor="t"/>
          <a:lstStyle/>
          <a:p>
            <a:pPr fontAlgn="ctr"/>
            <a:endParaRPr lang="de-DE" sz="1300" b="1"/>
          </a:p>
        </p:txBody>
      </p:sp>
      <p:sp>
        <p:nvSpPr>
          <p:cNvPr id="179" name="RbLeanShape Left U-Shape 7"/>
          <p:cNvSpPr>
            <a:spLocks/>
          </p:cNvSpPr>
          <p:nvPr/>
        </p:nvSpPr>
        <p:spPr>
          <a:xfrm>
            <a:off x="4640263" y="4260850"/>
            <a:ext cx="2022535" cy="1969163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90000" rIns="0" bIns="0" rtlCol="0" anchor="t"/>
          <a:lstStyle/>
          <a:p>
            <a:pPr fontAlgn="ctr"/>
            <a:endParaRPr lang="de-DE" sz="1300" b="1"/>
          </a:p>
        </p:txBody>
      </p:sp>
      <p:sp>
        <p:nvSpPr>
          <p:cNvPr id="180" name="RbLeanShape Left U-Shape 7"/>
          <p:cNvSpPr>
            <a:spLocks/>
          </p:cNvSpPr>
          <p:nvPr/>
        </p:nvSpPr>
        <p:spPr>
          <a:xfrm>
            <a:off x="6797675" y="4260850"/>
            <a:ext cx="2022535" cy="1969163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90000" rIns="0" bIns="0" rtlCol="0" anchor="t"/>
          <a:lstStyle/>
          <a:p>
            <a:pPr fontAlgn="ctr"/>
            <a:endParaRPr lang="de-DE" sz="1300" b="1"/>
          </a:p>
        </p:txBody>
      </p:sp>
      <p:sp>
        <p:nvSpPr>
          <p:cNvPr id="181" name="Rectangle 8"/>
          <p:cNvSpPr>
            <a:spLocks noChangeArrowheads="1"/>
          </p:cNvSpPr>
          <p:nvPr/>
        </p:nvSpPr>
        <p:spPr bwMode="auto">
          <a:xfrm>
            <a:off x="323850" y="3979863"/>
            <a:ext cx="62517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lvl="0">
              <a:defRPr/>
            </a:pPr>
            <a:r>
              <a:rPr lang="de-DE" sz="1600" kern="0" dirty="0" smtClean="0"/>
              <a:t>Russia</a:t>
            </a:r>
            <a:endParaRPr kumimoji="0" lang="de-DE" sz="16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82" name="Rectangle 8"/>
          <p:cNvSpPr>
            <a:spLocks noChangeArrowheads="1"/>
          </p:cNvSpPr>
          <p:nvPr/>
        </p:nvSpPr>
        <p:spPr bwMode="auto">
          <a:xfrm>
            <a:off x="2481263" y="3979863"/>
            <a:ext cx="5578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lvl="0">
              <a:defRPr/>
            </a:pPr>
            <a:r>
              <a:rPr lang="de-DE" sz="1600" kern="0" dirty="0"/>
              <a:t>Japan</a:t>
            </a:r>
            <a:endParaRPr kumimoji="0" lang="de-DE" sz="16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83" name="Rectangle 8"/>
          <p:cNvSpPr>
            <a:spLocks noChangeArrowheads="1"/>
          </p:cNvSpPr>
          <p:nvPr/>
        </p:nvSpPr>
        <p:spPr bwMode="auto">
          <a:xfrm>
            <a:off x="4640263" y="3979863"/>
            <a:ext cx="533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lvl="0">
              <a:defRPr/>
            </a:pPr>
            <a:r>
              <a:rPr lang="de-DE" sz="1600" kern="0" dirty="0"/>
              <a:t>China</a:t>
            </a:r>
          </a:p>
        </p:txBody>
      </p:sp>
      <p:sp>
        <p:nvSpPr>
          <p:cNvPr id="184" name="Rectangle 8"/>
          <p:cNvSpPr>
            <a:spLocks noChangeArrowheads="1"/>
          </p:cNvSpPr>
          <p:nvPr/>
        </p:nvSpPr>
        <p:spPr bwMode="auto">
          <a:xfrm>
            <a:off x="6797675" y="3979863"/>
            <a:ext cx="44403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lvl="0">
              <a:defRPr/>
            </a:pPr>
            <a:r>
              <a:rPr lang="de-DE" sz="1600" kern="0" dirty="0" smtClean="0"/>
              <a:t>India</a:t>
            </a:r>
            <a:endParaRPr lang="de-DE" sz="1600" kern="0" dirty="0"/>
          </a:p>
        </p:txBody>
      </p:sp>
      <p:graphicFrame>
        <p:nvGraphicFramePr>
          <p:cNvPr id="14" name="Objekt 184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4126663"/>
              </p:ext>
            </p:extLst>
          </p:nvPr>
        </p:nvGraphicFramePr>
        <p:xfrm>
          <a:off x="273050" y="4514850"/>
          <a:ext cx="2041635" cy="1346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187" name="Textplatzhalter 1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571625" y="59690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2014</a:t>
            </a:r>
            <a:endParaRPr lang="de-DE" sz="14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6" name="Textplatzhalter 1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00075" y="59690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2013</a:t>
            </a:r>
            <a:endParaRPr lang="de-DE" sz="14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19" name="Objekt 187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55133357"/>
              </p:ext>
            </p:extLst>
          </p:nvPr>
        </p:nvGraphicFramePr>
        <p:xfrm>
          <a:off x="2430463" y="4514850"/>
          <a:ext cx="2041635" cy="1346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198" name="Textplatzhalter 1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729038" y="59690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2014</a:t>
            </a:r>
            <a:endParaRPr lang="de-DE" sz="14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7" name="Textplatzhalter 1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757488" y="59690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2013</a:t>
            </a:r>
            <a:endParaRPr lang="de-DE" sz="14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20" name="Objekt 190"/>
          <p:cNvGraphicFramePr>
            <a:graphicFrameLocks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671165777"/>
              </p:ext>
            </p:extLst>
          </p:nvPr>
        </p:nvGraphicFramePr>
        <p:xfrm>
          <a:off x="4589463" y="4273550"/>
          <a:ext cx="2041635" cy="1584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200" name="Textplatzhalter 1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888038" y="59753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2014</a:t>
            </a:r>
            <a:endParaRPr lang="de-DE" sz="14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9" name="Textplatzhalter 1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916488" y="59753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2013</a:t>
            </a:r>
            <a:endParaRPr lang="de-DE" sz="14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21" name="Objekt 193"/>
          <p:cNvGraphicFramePr>
            <a:graphicFrameLocks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331321941"/>
              </p:ext>
            </p:extLst>
          </p:nvPr>
        </p:nvGraphicFramePr>
        <p:xfrm>
          <a:off x="6746875" y="4514850"/>
          <a:ext cx="2041635" cy="1346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195" name="Textplatzhalter 1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073900" y="59690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2013</a:t>
            </a:r>
            <a:endParaRPr lang="de-DE" sz="14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6" name="Textplatzhalter 1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045450" y="59690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2014</a:t>
            </a:r>
            <a:endParaRPr lang="de-DE" sz="14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0" name="Textplatzhalter 1"/>
          <p:cNvSpPr>
            <a:spLocks noGrp="1"/>
          </p:cNvSpPr>
          <p:nvPr/>
        </p:nvSpPr>
        <p:spPr bwMode="auto">
          <a:xfrm>
            <a:off x="3733552" y="3447662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2014</a:t>
            </a:r>
            <a:endParaRPr lang="de-DE" sz="14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1" name="Textplatzhalter 1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773487" y="3447662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2013</a:t>
            </a:r>
            <a:endParaRPr lang="de-DE" sz="14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24195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6" name="Objekt 1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14263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4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2" name="LeanLine Vertical 634947453867075289"/>
          <p:cNvCxnSpPr/>
          <p:nvPr/>
        </p:nvCxnSpPr>
        <p:spPr>
          <a:xfrm>
            <a:off x="502171" y="1802816"/>
            <a:ext cx="3888051" cy="0"/>
          </a:xfrm>
          <a:prstGeom prst="line">
            <a:avLst/>
          </a:prstGeom>
          <a:ln w="22225" cmpd="sng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23850" y="6453188"/>
            <a:ext cx="8496300" cy="144462"/>
          </a:xfrm>
        </p:spPr>
        <p:txBody>
          <a:bodyPr/>
          <a:lstStyle/>
          <a:p>
            <a:r>
              <a:rPr lang="de-DE" dirty="0" smtClean="0"/>
              <a:t>Source: DIW (as of: 18.12.2013) ,  * P, A, GR: Projektgruppe Gemeinschaftsdiagnose (17.10.2013)</a:t>
            </a:r>
            <a:endParaRPr lang="de-DE" dirty="0"/>
          </a:p>
        </p:txBody>
      </p:sp>
      <p:sp>
        <p:nvSpPr>
          <p:cNvPr id="140" name="Text Box 116"/>
          <p:cNvSpPr txBox="1">
            <a:spLocks noChangeArrowheads="1"/>
          </p:cNvSpPr>
          <p:nvPr/>
        </p:nvSpPr>
        <p:spPr bwMode="auto">
          <a:xfrm>
            <a:off x="323850" y="1681294"/>
            <a:ext cx="512961" cy="246221"/>
          </a:xfrm>
          <a:prstGeom prst="rect">
            <a:avLst/>
          </a:prstGeom>
          <a:solidFill>
            <a:schemeClr val="bg1"/>
          </a:solidFill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600" b="1" dirty="0" smtClean="0">
                <a:latin typeface="+mn-lt"/>
              </a:rPr>
              <a:t>2012 </a:t>
            </a:r>
            <a:endParaRPr lang="de-DE" sz="1600" b="1" dirty="0">
              <a:latin typeface="+mn-lt"/>
            </a:endParaRPr>
          </a:p>
        </p:txBody>
      </p:sp>
      <p:sp>
        <p:nvSpPr>
          <p:cNvPr id="138" name="RbLeanShape Left U-Shape 138"/>
          <p:cNvSpPr/>
          <p:nvPr/>
        </p:nvSpPr>
        <p:spPr>
          <a:xfrm>
            <a:off x="323850" y="1947386"/>
            <a:ext cx="4066372" cy="4039346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gradFill flip="none" rotWithShape="1">
            <a:gsLst>
              <a:gs pos="0">
                <a:schemeClr val="bg2"/>
              </a:gs>
              <a:gs pos="53000">
                <a:schemeClr val="bg1"/>
              </a:gs>
            </a:gsLst>
            <a:lin ang="2700000" scaled="1"/>
            <a:tileRect/>
          </a:gradFill>
          <a:ln w="22225"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90000" rIns="0" bIns="0" rtlCol="0" anchor="t"/>
          <a:lstStyle/>
          <a:p>
            <a:pPr fontAlgn="ctr"/>
            <a:endParaRPr lang="de-DE" sz="1300" b="1"/>
          </a:p>
        </p:txBody>
      </p:sp>
      <p:sp>
        <p:nvSpPr>
          <p:cNvPr id="38" name="Freeform 2"/>
          <p:cNvSpPr>
            <a:spLocks/>
          </p:cNvSpPr>
          <p:nvPr/>
        </p:nvSpPr>
        <p:spPr bwMode="auto">
          <a:xfrm>
            <a:off x="349727" y="4267613"/>
            <a:ext cx="463630" cy="689247"/>
          </a:xfrm>
          <a:custGeom>
            <a:avLst/>
            <a:gdLst>
              <a:gd name="T0" fmla="*/ 2147483647 w 307"/>
              <a:gd name="T1" fmla="*/ 0 h 436"/>
              <a:gd name="T2" fmla="*/ 2147483647 w 307"/>
              <a:gd name="T3" fmla="*/ 2147483647 h 436"/>
              <a:gd name="T4" fmla="*/ 2147483647 w 307"/>
              <a:gd name="T5" fmla="*/ 2147483647 h 436"/>
              <a:gd name="T6" fmla="*/ 2147483647 w 307"/>
              <a:gd name="T7" fmla="*/ 2147483647 h 436"/>
              <a:gd name="T8" fmla="*/ 2147483647 w 307"/>
              <a:gd name="T9" fmla="*/ 2147483647 h 436"/>
              <a:gd name="T10" fmla="*/ 2147483647 w 307"/>
              <a:gd name="T11" fmla="*/ 2147483647 h 436"/>
              <a:gd name="T12" fmla="*/ 2147483647 w 307"/>
              <a:gd name="T13" fmla="*/ 2147483647 h 436"/>
              <a:gd name="T14" fmla="*/ 2147483647 w 307"/>
              <a:gd name="T15" fmla="*/ 2147483647 h 436"/>
              <a:gd name="T16" fmla="*/ 2147483647 w 307"/>
              <a:gd name="T17" fmla="*/ 2147483647 h 436"/>
              <a:gd name="T18" fmla="*/ 2147483647 w 307"/>
              <a:gd name="T19" fmla="*/ 2147483647 h 436"/>
              <a:gd name="T20" fmla="*/ 2147483647 w 307"/>
              <a:gd name="T21" fmla="*/ 2147483647 h 436"/>
              <a:gd name="T22" fmla="*/ 2147483647 w 307"/>
              <a:gd name="T23" fmla="*/ 2147483647 h 436"/>
              <a:gd name="T24" fmla="*/ 2147483647 w 307"/>
              <a:gd name="T25" fmla="*/ 2147483647 h 436"/>
              <a:gd name="T26" fmla="*/ 2147483647 w 307"/>
              <a:gd name="T27" fmla="*/ 2147483647 h 436"/>
              <a:gd name="T28" fmla="*/ 2147483647 w 307"/>
              <a:gd name="T29" fmla="*/ 2147483647 h 436"/>
              <a:gd name="T30" fmla="*/ 2147483647 w 307"/>
              <a:gd name="T31" fmla="*/ 2147483647 h 436"/>
              <a:gd name="T32" fmla="*/ 2147483647 w 307"/>
              <a:gd name="T33" fmla="*/ 2147483647 h 436"/>
              <a:gd name="T34" fmla="*/ 2147483647 w 307"/>
              <a:gd name="T35" fmla="*/ 2147483647 h 436"/>
              <a:gd name="T36" fmla="*/ 2147483647 w 307"/>
              <a:gd name="T37" fmla="*/ 2147483647 h 436"/>
              <a:gd name="T38" fmla="*/ 2147483647 w 307"/>
              <a:gd name="T39" fmla="*/ 2147483647 h 436"/>
              <a:gd name="T40" fmla="*/ 2147483647 w 307"/>
              <a:gd name="T41" fmla="*/ 2147483647 h 436"/>
              <a:gd name="T42" fmla="*/ 0 w 307"/>
              <a:gd name="T43" fmla="*/ 2147483647 h 436"/>
              <a:gd name="T44" fmla="*/ 2147483647 w 307"/>
              <a:gd name="T45" fmla="*/ 2147483647 h 436"/>
              <a:gd name="T46" fmla="*/ 2147483647 w 307"/>
              <a:gd name="T47" fmla="*/ 2147483647 h 436"/>
              <a:gd name="T48" fmla="*/ 2147483647 w 307"/>
              <a:gd name="T49" fmla="*/ 2147483647 h 436"/>
              <a:gd name="T50" fmla="*/ 2147483647 w 307"/>
              <a:gd name="T51" fmla="*/ 2147483647 h 436"/>
              <a:gd name="T52" fmla="*/ 2147483647 w 307"/>
              <a:gd name="T53" fmla="*/ 2147483647 h 436"/>
              <a:gd name="T54" fmla="*/ 2147483647 w 307"/>
              <a:gd name="T55" fmla="*/ 2147483647 h 436"/>
              <a:gd name="T56" fmla="*/ 2147483647 w 307"/>
              <a:gd name="T57" fmla="*/ 2147483647 h 436"/>
              <a:gd name="T58" fmla="*/ 2147483647 w 307"/>
              <a:gd name="T59" fmla="*/ 2147483647 h 436"/>
              <a:gd name="T60" fmla="*/ 2147483647 w 307"/>
              <a:gd name="T61" fmla="*/ 2147483647 h 436"/>
              <a:gd name="T62" fmla="*/ 2147483647 w 307"/>
              <a:gd name="T63" fmla="*/ 2147483647 h 436"/>
              <a:gd name="T64" fmla="*/ 2147483647 w 307"/>
              <a:gd name="T65" fmla="*/ 2147483647 h 436"/>
              <a:gd name="T66" fmla="*/ 2147483647 w 307"/>
              <a:gd name="T67" fmla="*/ 2147483647 h 436"/>
              <a:gd name="T68" fmla="*/ 2147483647 w 307"/>
              <a:gd name="T69" fmla="*/ 2147483647 h 4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07"/>
              <a:gd name="T106" fmla="*/ 0 h 436"/>
              <a:gd name="T107" fmla="*/ 307 w 307"/>
              <a:gd name="T108" fmla="*/ 436 h 4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07" h="436">
                <a:moveTo>
                  <a:pt x="155" y="4"/>
                </a:moveTo>
                <a:lnTo>
                  <a:pt x="177" y="0"/>
                </a:lnTo>
                <a:lnTo>
                  <a:pt x="192" y="17"/>
                </a:lnTo>
                <a:lnTo>
                  <a:pt x="194" y="37"/>
                </a:lnTo>
                <a:lnTo>
                  <a:pt x="200" y="41"/>
                </a:lnTo>
                <a:lnTo>
                  <a:pt x="211" y="38"/>
                </a:lnTo>
                <a:lnTo>
                  <a:pt x="246" y="52"/>
                </a:lnTo>
                <a:lnTo>
                  <a:pt x="256" y="45"/>
                </a:lnTo>
                <a:lnTo>
                  <a:pt x="271" y="44"/>
                </a:lnTo>
                <a:lnTo>
                  <a:pt x="280" y="56"/>
                </a:lnTo>
                <a:lnTo>
                  <a:pt x="288" y="76"/>
                </a:lnTo>
                <a:lnTo>
                  <a:pt x="299" y="89"/>
                </a:lnTo>
                <a:lnTo>
                  <a:pt x="307" y="96"/>
                </a:lnTo>
                <a:lnTo>
                  <a:pt x="304" y="103"/>
                </a:lnTo>
                <a:lnTo>
                  <a:pt x="278" y="110"/>
                </a:lnTo>
                <a:lnTo>
                  <a:pt x="248" y="126"/>
                </a:lnTo>
                <a:lnTo>
                  <a:pt x="249" y="153"/>
                </a:lnTo>
                <a:lnTo>
                  <a:pt x="232" y="167"/>
                </a:lnTo>
                <a:lnTo>
                  <a:pt x="218" y="179"/>
                </a:lnTo>
                <a:lnTo>
                  <a:pt x="216" y="205"/>
                </a:lnTo>
                <a:lnTo>
                  <a:pt x="216" y="222"/>
                </a:lnTo>
                <a:lnTo>
                  <a:pt x="205" y="234"/>
                </a:lnTo>
                <a:lnTo>
                  <a:pt x="196" y="222"/>
                </a:lnTo>
                <a:lnTo>
                  <a:pt x="180" y="227"/>
                </a:lnTo>
                <a:lnTo>
                  <a:pt x="178" y="235"/>
                </a:lnTo>
                <a:lnTo>
                  <a:pt x="175" y="257"/>
                </a:lnTo>
                <a:lnTo>
                  <a:pt x="181" y="265"/>
                </a:lnTo>
                <a:lnTo>
                  <a:pt x="178" y="287"/>
                </a:lnTo>
                <a:lnTo>
                  <a:pt x="168" y="297"/>
                </a:lnTo>
                <a:lnTo>
                  <a:pt x="155" y="314"/>
                </a:lnTo>
                <a:lnTo>
                  <a:pt x="149" y="328"/>
                </a:lnTo>
                <a:lnTo>
                  <a:pt x="152" y="354"/>
                </a:lnTo>
                <a:lnTo>
                  <a:pt x="163" y="369"/>
                </a:lnTo>
                <a:lnTo>
                  <a:pt x="156" y="378"/>
                </a:lnTo>
                <a:lnTo>
                  <a:pt x="127" y="387"/>
                </a:lnTo>
                <a:lnTo>
                  <a:pt x="116" y="398"/>
                </a:lnTo>
                <a:lnTo>
                  <a:pt x="115" y="410"/>
                </a:lnTo>
                <a:lnTo>
                  <a:pt x="115" y="432"/>
                </a:lnTo>
                <a:lnTo>
                  <a:pt x="82" y="432"/>
                </a:lnTo>
                <a:lnTo>
                  <a:pt x="59" y="436"/>
                </a:lnTo>
                <a:lnTo>
                  <a:pt x="33" y="406"/>
                </a:lnTo>
                <a:lnTo>
                  <a:pt x="19" y="406"/>
                </a:lnTo>
                <a:lnTo>
                  <a:pt x="7" y="406"/>
                </a:lnTo>
                <a:lnTo>
                  <a:pt x="0" y="395"/>
                </a:lnTo>
                <a:lnTo>
                  <a:pt x="7" y="384"/>
                </a:lnTo>
                <a:lnTo>
                  <a:pt x="22" y="362"/>
                </a:lnTo>
                <a:lnTo>
                  <a:pt x="30" y="340"/>
                </a:lnTo>
                <a:lnTo>
                  <a:pt x="48" y="314"/>
                </a:lnTo>
                <a:lnTo>
                  <a:pt x="52" y="299"/>
                </a:lnTo>
                <a:lnTo>
                  <a:pt x="44" y="288"/>
                </a:lnTo>
                <a:lnTo>
                  <a:pt x="33" y="278"/>
                </a:lnTo>
                <a:lnTo>
                  <a:pt x="30" y="272"/>
                </a:lnTo>
                <a:lnTo>
                  <a:pt x="44" y="267"/>
                </a:lnTo>
                <a:lnTo>
                  <a:pt x="52" y="252"/>
                </a:lnTo>
                <a:lnTo>
                  <a:pt x="37" y="248"/>
                </a:lnTo>
                <a:lnTo>
                  <a:pt x="22" y="256"/>
                </a:lnTo>
                <a:lnTo>
                  <a:pt x="22" y="237"/>
                </a:lnTo>
                <a:lnTo>
                  <a:pt x="30" y="226"/>
                </a:lnTo>
                <a:lnTo>
                  <a:pt x="37" y="215"/>
                </a:lnTo>
                <a:lnTo>
                  <a:pt x="41" y="200"/>
                </a:lnTo>
                <a:lnTo>
                  <a:pt x="44" y="189"/>
                </a:lnTo>
                <a:lnTo>
                  <a:pt x="52" y="186"/>
                </a:lnTo>
                <a:lnTo>
                  <a:pt x="63" y="193"/>
                </a:lnTo>
                <a:lnTo>
                  <a:pt x="82" y="167"/>
                </a:lnTo>
                <a:lnTo>
                  <a:pt x="93" y="149"/>
                </a:lnTo>
                <a:lnTo>
                  <a:pt x="122" y="115"/>
                </a:lnTo>
                <a:lnTo>
                  <a:pt x="122" y="101"/>
                </a:lnTo>
                <a:lnTo>
                  <a:pt x="137" y="78"/>
                </a:lnTo>
                <a:lnTo>
                  <a:pt x="141" y="52"/>
                </a:lnTo>
                <a:lnTo>
                  <a:pt x="148" y="38"/>
                </a:lnTo>
                <a:lnTo>
                  <a:pt x="155" y="4"/>
                </a:lnTo>
                <a:close/>
              </a:path>
            </a:pathLst>
          </a:custGeom>
          <a:solidFill>
            <a:schemeClr val="accent5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39" name="Group 3"/>
          <p:cNvGrpSpPr>
            <a:grpSpLocks/>
          </p:cNvGrpSpPr>
          <p:nvPr/>
        </p:nvGrpSpPr>
        <p:grpSpPr bwMode="auto">
          <a:xfrm>
            <a:off x="523399" y="4051037"/>
            <a:ext cx="1271586" cy="1135045"/>
            <a:chOff x="615" y="2958"/>
            <a:chExt cx="842" cy="718"/>
          </a:xfrm>
          <a:solidFill>
            <a:schemeClr val="accent5"/>
          </a:solidFill>
        </p:grpSpPr>
        <p:sp>
          <p:nvSpPr>
            <p:cNvPr id="99" name="Freeform 4"/>
            <p:cNvSpPr>
              <a:spLocks/>
            </p:cNvSpPr>
            <p:nvPr/>
          </p:nvSpPr>
          <p:spPr bwMode="auto">
            <a:xfrm>
              <a:off x="615" y="2958"/>
              <a:ext cx="811" cy="718"/>
            </a:xfrm>
            <a:custGeom>
              <a:avLst/>
              <a:gdLst>
                <a:gd name="T0" fmla="*/ 37 w 811"/>
                <a:gd name="T1" fmla="*/ 130 h 718"/>
                <a:gd name="T2" fmla="*/ 63 w 811"/>
                <a:gd name="T3" fmla="*/ 78 h 718"/>
                <a:gd name="T4" fmla="*/ 56 w 811"/>
                <a:gd name="T5" fmla="*/ 59 h 718"/>
                <a:gd name="T6" fmla="*/ 44 w 811"/>
                <a:gd name="T7" fmla="*/ 41 h 718"/>
                <a:gd name="T8" fmla="*/ 89 w 811"/>
                <a:gd name="T9" fmla="*/ 19 h 718"/>
                <a:gd name="T10" fmla="*/ 122 w 811"/>
                <a:gd name="T11" fmla="*/ 11 h 718"/>
                <a:gd name="T12" fmla="*/ 157 w 811"/>
                <a:gd name="T13" fmla="*/ 4 h 718"/>
                <a:gd name="T14" fmla="*/ 223 w 811"/>
                <a:gd name="T15" fmla="*/ 56 h 718"/>
                <a:gd name="T16" fmla="*/ 270 w 811"/>
                <a:gd name="T17" fmla="*/ 59 h 718"/>
                <a:gd name="T18" fmla="*/ 399 w 811"/>
                <a:gd name="T19" fmla="*/ 119 h 718"/>
                <a:gd name="T20" fmla="*/ 454 w 811"/>
                <a:gd name="T21" fmla="*/ 133 h 718"/>
                <a:gd name="T22" fmla="*/ 492 w 811"/>
                <a:gd name="T23" fmla="*/ 163 h 718"/>
                <a:gd name="T24" fmla="*/ 529 w 811"/>
                <a:gd name="T25" fmla="*/ 167 h 718"/>
                <a:gd name="T26" fmla="*/ 529 w 811"/>
                <a:gd name="T27" fmla="*/ 185 h 718"/>
                <a:gd name="T28" fmla="*/ 588 w 811"/>
                <a:gd name="T29" fmla="*/ 241 h 718"/>
                <a:gd name="T30" fmla="*/ 636 w 811"/>
                <a:gd name="T31" fmla="*/ 263 h 718"/>
                <a:gd name="T32" fmla="*/ 711 w 811"/>
                <a:gd name="T33" fmla="*/ 285 h 718"/>
                <a:gd name="T34" fmla="*/ 726 w 811"/>
                <a:gd name="T35" fmla="*/ 311 h 718"/>
                <a:gd name="T36" fmla="*/ 755 w 811"/>
                <a:gd name="T37" fmla="*/ 322 h 718"/>
                <a:gd name="T38" fmla="*/ 785 w 811"/>
                <a:gd name="T39" fmla="*/ 322 h 718"/>
                <a:gd name="T40" fmla="*/ 804 w 811"/>
                <a:gd name="T41" fmla="*/ 322 h 718"/>
                <a:gd name="T42" fmla="*/ 811 w 811"/>
                <a:gd name="T43" fmla="*/ 356 h 718"/>
                <a:gd name="T44" fmla="*/ 741 w 811"/>
                <a:gd name="T45" fmla="*/ 411 h 718"/>
                <a:gd name="T46" fmla="*/ 640 w 811"/>
                <a:gd name="T47" fmla="*/ 429 h 718"/>
                <a:gd name="T48" fmla="*/ 614 w 811"/>
                <a:gd name="T49" fmla="*/ 455 h 718"/>
                <a:gd name="T50" fmla="*/ 584 w 811"/>
                <a:gd name="T51" fmla="*/ 466 h 718"/>
                <a:gd name="T52" fmla="*/ 554 w 811"/>
                <a:gd name="T53" fmla="*/ 499 h 718"/>
                <a:gd name="T54" fmla="*/ 521 w 811"/>
                <a:gd name="T55" fmla="*/ 522 h 718"/>
                <a:gd name="T56" fmla="*/ 532 w 811"/>
                <a:gd name="T57" fmla="*/ 562 h 718"/>
                <a:gd name="T58" fmla="*/ 536 w 811"/>
                <a:gd name="T59" fmla="*/ 592 h 718"/>
                <a:gd name="T60" fmla="*/ 517 w 811"/>
                <a:gd name="T61" fmla="*/ 603 h 718"/>
                <a:gd name="T62" fmla="*/ 466 w 811"/>
                <a:gd name="T63" fmla="*/ 648 h 718"/>
                <a:gd name="T64" fmla="*/ 447 w 811"/>
                <a:gd name="T65" fmla="*/ 666 h 718"/>
                <a:gd name="T66" fmla="*/ 414 w 811"/>
                <a:gd name="T67" fmla="*/ 677 h 718"/>
                <a:gd name="T68" fmla="*/ 380 w 811"/>
                <a:gd name="T69" fmla="*/ 685 h 718"/>
                <a:gd name="T70" fmla="*/ 362 w 811"/>
                <a:gd name="T71" fmla="*/ 707 h 718"/>
                <a:gd name="T72" fmla="*/ 332 w 811"/>
                <a:gd name="T73" fmla="*/ 714 h 718"/>
                <a:gd name="T74" fmla="*/ 273 w 811"/>
                <a:gd name="T75" fmla="*/ 707 h 718"/>
                <a:gd name="T76" fmla="*/ 182 w 811"/>
                <a:gd name="T77" fmla="*/ 677 h 718"/>
                <a:gd name="T78" fmla="*/ 137 w 811"/>
                <a:gd name="T79" fmla="*/ 696 h 718"/>
                <a:gd name="T80" fmla="*/ 96 w 811"/>
                <a:gd name="T81" fmla="*/ 711 h 718"/>
                <a:gd name="T82" fmla="*/ 44 w 811"/>
                <a:gd name="T83" fmla="*/ 674 h 718"/>
                <a:gd name="T84" fmla="*/ 26 w 811"/>
                <a:gd name="T85" fmla="*/ 588 h 718"/>
                <a:gd name="T86" fmla="*/ 0 w 811"/>
                <a:gd name="T87" fmla="*/ 559 h 718"/>
                <a:gd name="T88" fmla="*/ 11 w 811"/>
                <a:gd name="T89" fmla="*/ 525 h 718"/>
                <a:gd name="T90" fmla="*/ 48 w 811"/>
                <a:gd name="T91" fmla="*/ 507 h 718"/>
                <a:gd name="T92" fmla="*/ 33 w 811"/>
                <a:gd name="T93" fmla="*/ 466 h 718"/>
                <a:gd name="T94" fmla="*/ 67 w 811"/>
                <a:gd name="T95" fmla="*/ 422 h 718"/>
                <a:gd name="T96" fmla="*/ 59 w 811"/>
                <a:gd name="T97" fmla="*/ 389 h 718"/>
                <a:gd name="T98" fmla="*/ 70 w 811"/>
                <a:gd name="T99" fmla="*/ 360 h 718"/>
                <a:gd name="T100" fmla="*/ 89 w 811"/>
                <a:gd name="T101" fmla="*/ 371 h 718"/>
                <a:gd name="T102" fmla="*/ 104 w 811"/>
                <a:gd name="T103" fmla="*/ 315 h 718"/>
                <a:gd name="T104" fmla="*/ 133 w 811"/>
                <a:gd name="T105" fmla="*/ 274 h 718"/>
                <a:gd name="T106" fmla="*/ 164 w 811"/>
                <a:gd name="T107" fmla="*/ 245 h 718"/>
                <a:gd name="T108" fmla="*/ 194 w 811"/>
                <a:gd name="T109" fmla="*/ 233 h 718"/>
                <a:gd name="T110" fmla="*/ 160 w 811"/>
                <a:gd name="T111" fmla="*/ 185 h 718"/>
                <a:gd name="T112" fmla="*/ 130 w 811"/>
                <a:gd name="T113" fmla="*/ 189 h 718"/>
                <a:gd name="T114" fmla="*/ 93 w 811"/>
                <a:gd name="T115" fmla="*/ 174 h 718"/>
                <a:gd name="T116" fmla="*/ 78 w 811"/>
                <a:gd name="T117" fmla="*/ 170 h 718"/>
                <a:gd name="T118" fmla="*/ 67 w 811"/>
                <a:gd name="T119" fmla="*/ 141 h 718"/>
                <a:gd name="T120" fmla="*/ 41 w 811"/>
                <a:gd name="T121" fmla="*/ 141 h 71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11"/>
                <a:gd name="T184" fmla="*/ 0 h 718"/>
                <a:gd name="T185" fmla="*/ 811 w 811"/>
                <a:gd name="T186" fmla="*/ 718 h 71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11" h="718">
                  <a:moveTo>
                    <a:pt x="41" y="141"/>
                  </a:moveTo>
                  <a:lnTo>
                    <a:pt x="37" y="130"/>
                  </a:lnTo>
                  <a:lnTo>
                    <a:pt x="41" y="115"/>
                  </a:lnTo>
                  <a:lnTo>
                    <a:pt x="63" y="78"/>
                  </a:lnTo>
                  <a:lnTo>
                    <a:pt x="52" y="70"/>
                  </a:lnTo>
                  <a:lnTo>
                    <a:pt x="56" y="59"/>
                  </a:lnTo>
                  <a:lnTo>
                    <a:pt x="44" y="56"/>
                  </a:lnTo>
                  <a:lnTo>
                    <a:pt x="44" y="41"/>
                  </a:lnTo>
                  <a:lnTo>
                    <a:pt x="52" y="30"/>
                  </a:lnTo>
                  <a:lnTo>
                    <a:pt x="89" y="19"/>
                  </a:lnTo>
                  <a:lnTo>
                    <a:pt x="119" y="22"/>
                  </a:lnTo>
                  <a:lnTo>
                    <a:pt x="122" y="11"/>
                  </a:lnTo>
                  <a:lnTo>
                    <a:pt x="145" y="0"/>
                  </a:lnTo>
                  <a:lnTo>
                    <a:pt x="157" y="4"/>
                  </a:lnTo>
                  <a:lnTo>
                    <a:pt x="182" y="37"/>
                  </a:lnTo>
                  <a:lnTo>
                    <a:pt x="223" y="56"/>
                  </a:lnTo>
                  <a:lnTo>
                    <a:pt x="260" y="56"/>
                  </a:lnTo>
                  <a:lnTo>
                    <a:pt x="270" y="59"/>
                  </a:lnTo>
                  <a:lnTo>
                    <a:pt x="369" y="115"/>
                  </a:lnTo>
                  <a:lnTo>
                    <a:pt x="399" y="119"/>
                  </a:lnTo>
                  <a:lnTo>
                    <a:pt x="421" y="141"/>
                  </a:lnTo>
                  <a:lnTo>
                    <a:pt x="454" y="133"/>
                  </a:lnTo>
                  <a:lnTo>
                    <a:pt x="473" y="145"/>
                  </a:lnTo>
                  <a:lnTo>
                    <a:pt x="492" y="163"/>
                  </a:lnTo>
                  <a:lnTo>
                    <a:pt x="514" y="163"/>
                  </a:lnTo>
                  <a:lnTo>
                    <a:pt x="529" y="167"/>
                  </a:lnTo>
                  <a:lnTo>
                    <a:pt x="536" y="174"/>
                  </a:lnTo>
                  <a:lnTo>
                    <a:pt x="529" y="185"/>
                  </a:lnTo>
                  <a:lnTo>
                    <a:pt x="529" y="200"/>
                  </a:lnTo>
                  <a:lnTo>
                    <a:pt x="588" y="241"/>
                  </a:lnTo>
                  <a:lnTo>
                    <a:pt x="621" y="267"/>
                  </a:lnTo>
                  <a:lnTo>
                    <a:pt x="636" y="263"/>
                  </a:lnTo>
                  <a:lnTo>
                    <a:pt x="654" y="259"/>
                  </a:lnTo>
                  <a:lnTo>
                    <a:pt x="711" y="285"/>
                  </a:lnTo>
                  <a:lnTo>
                    <a:pt x="718" y="304"/>
                  </a:lnTo>
                  <a:lnTo>
                    <a:pt x="726" y="311"/>
                  </a:lnTo>
                  <a:lnTo>
                    <a:pt x="744" y="315"/>
                  </a:lnTo>
                  <a:lnTo>
                    <a:pt x="755" y="322"/>
                  </a:lnTo>
                  <a:lnTo>
                    <a:pt x="770" y="322"/>
                  </a:lnTo>
                  <a:lnTo>
                    <a:pt x="785" y="322"/>
                  </a:lnTo>
                  <a:lnTo>
                    <a:pt x="800" y="326"/>
                  </a:lnTo>
                  <a:lnTo>
                    <a:pt x="804" y="322"/>
                  </a:lnTo>
                  <a:lnTo>
                    <a:pt x="811" y="337"/>
                  </a:lnTo>
                  <a:lnTo>
                    <a:pt x="811" y="356"/>
                  </a:lnTo>
                  <a:lnTo>
                    <a:pt x="800" y="367"/>
                  </a:lnTo>
                  <a:lnTo>
                    <a:pt x="741" y="411"/>
                  </a:lnTo>
                  <a:lnTo>
                    <a:pt x="715" y="411"/>
                  </a:lnTo>
                  <a:lnTo>
                    <a:pt x="640" y="429"/>
                  </a:lnTo>
                  <a:lnTo>
                    <a:pt x="614" y="433"/>
                  </a:lnTo>
                  <a:lnTo>
                    <a:pt x="614" y="455"/>
                  </a:lnTo>
                  <a:lnTo>
                    <a:pt x="599" y="455"/>
                  </a:lnTo>
                  <a:lnTo>
                    <a:pt x="584" y="466"/>
                  </a:lnTo>
                  <a:lnTo>
                    <a:pt x="569" y="485"/>
                  </a:lnTo>
                  <a:lnTo>
                    <a:pt x="554" y="499"/>
                  </a:lnTo>
                  <a:lnTo>
                    <a:pt x="536" y="503"/>
                  </a:lnTo>
                  <a:lnTo>
                    <a:pt x="521" y="522"/>
                  </a:lnTo>
                  <a:lnTo>
                    <a:pt x="521" y="548"/>
                  </a:lnTo>
                  <a:lnTo>
                    <a:pt x="532" y="562"/>
                  </a:lnTo>
                  <a:lnTo>
                    <a:pt x="536" y="573"/>
                  </a:lnTo>
                  <a:lnTo>
                    <a:pt x="536" y="592"/>
                  </a:lnTo>
                  <a:lnTo>
                    <a:pt x="532" y="599"/>
                  </a:lnTo>
                  <a:lnTo>
                    <a:pt x="517" y="603"/>
                  </a:lnTo>
                  <a:lnTo>
                    <a:pt x="495" y="622"/>
                  </a:lnTo>
                  <a:lnTo>
                    <a:pt x="466" y="648"/>
                  </a:lnTo>
                  <a:lnTo>
                    <a:pt x="454" y="659"/>
                  </a:lnTo>
                  <a:lnTo>
                    <a:pt x="447" y="666"/>
                  </a:lnTo>
                  <a:lnTo>
                    <a:pt x="447" y="677"/>
                  </a:lnTo>
                  <a:lnTo>
                    <a:pt x="414" y="677"/>
                  </a:lnTo>
                  <a:lnTo>
                    <a:pt x="395" y="681"/>
                  </a:lnTo>
                  <a:lnTo>
                    <a:pt x="380" y="685"/>
                  </a:lnTo>
                  <a:lnTo>
                    <a:pt x="373" y="692"/>
                  </a:lnTo>
                  <a:lnTo>
                    <a:pt x="362" y="707"/>
                  </a:lnTo>
                  <a:lnTo>
                    <a:pt x="343" y="714"/>
                  </a:lnTo>
                  <a:lnTo>
                    <a:pt x="332" y="714"/>
                  </a:lnTo>
                  <a:lnTo>
                    <a:pt x="310" y="711"/>
                  </a:lnTo>
                  <a:lnTo>
                    <a:pt x="273" y="707"/>
                  </a:lnTo>
                  <a:lnTo>
                    <a:pt x="208" y="681"/>
                  </a:lnTo>
                  <a:lnTo>
                    <a:pt x="182" y="677"/>
                  </a:lnTo>
                  <a:lnTo>
                    <a:pt x="157" y="685"/>
                  </a:lnTo>
                  <a:lnTo>
                    <a:pt x="137" y="696"/>
                  </a:lnTo>
                  <a:lnTo>
                    <a:pt x="115" y="699"/>
                  </a:lnTo>
                  <a:lnTo>
                    <a:pt x="96" y="711"/>
                  </a:lnTo>
                  <a:lnTo>
                    <a:pt x="85" y="718"/>
                  </a:lnTo>
                  <a:lnTo>
                    <a:pt x="44" y="674"/>
                  </a:lnTo>
                  <a:lnTo>
                    <a:pt x="44" y="611"/>
                  </a:lnTo>
                  <a:lnTo>
                    <a:pt x="26" y="588"/>
                  </a:lnTo>
                  <a:lnTo>
                    <a:pt x="4" y="570"/>
                  </a:lnTo>
                  <a:lnTo>
                    <a:pt x="0" y="559"/>
                  </a:lnTo>
                  <a:lnTo>
                    <a:pt x="0" y="536"/>
                  </a:lnTo>
                  <a:lnTo>
                    <a:pt x="11" y="525"/>
                  </a:lnTo>
                  <a:lnTo>
                    <a:pt x="41" y="514"/>
                  </a:lnTo>
                  <a:lnTo>
                    <a:pt x="48" y="507"/>
                  </a:lnTo>
                  <a:lnTo>
                    <a:pt x="37" y="492"/>
                  </a:lnTo>
                  <a:lnTo>
                    <a:pt x="33" y="466"/>
                  </a:lnTo>
                  <a:lnTo>
                    <a:pt x="44" y="444"/>
                  </a:lnTo>
                  <a:lnTo>
                    <a:pt x="67" y="422"/>
                  </a:lnTo>
                  <a:lnTo>
                    <a:pt x="67" y="404"/>
                  </a:lnTo>
                  <a:lnTo>
                    <a:pt x="59" y="389"/>
                  </a:lnTo>
                  <a:lnTo>
                    <a:pt x="67" y="363"/>
                  </a:lnTo>
                  <a:lnTo>
                    <a:pt x="70" y="360"/>
                  </a:lnTo>
                  <a:lnTo>
                    <a:pt x="81" y="360"/>
                  </a:lnTo>
                  <a:lnTo>
                    <a:pt x="89" y="371"/>
                  </a:lnTo>
                  <a:lnTo>
                    <a:pt x="100" y="356"/>
                  </a:lnTo>
                  <a:lnTo>
                    <a:pt x="104" y="315"/>
                  </a:lnTo>
                  <a:lnTo>
                    <a:pt x="133" y="289"/>
                  </a:lnTo>
                  <a:lnTo>
                    <a:pt x="133" y="274"/>
                  </a:lnTo>
                  <a:lnTo>
                    <a:pt x="133" y="263"/>
                  </a:lnTo>
                  <a:lnTo>
                    <a:pt x="164" y="245"/>
                  </a:lnTo>
                  <a:lnTo>
                    <a:pt x="186" y="241"/>
                  </a:lnTo>
                  <a:lnTo>
                    <a:pt x="194" y="233"/>
                  </a:lnTo>
                  <a:lnTo>
                    <a:pt x="175" y="215"/>
                  </a:lnTo>
                  <a:lnTo>
                    <a:pt x="160" y="185"/>
                  </a:lnTo>
                  <a:lnTo>
                    <a:pt x="153" y="178"/>
                  </a:lnTo>
                  <a:lnTo>
                    <a:pt x="130" y="189"/>
                  </a:lnTo>
                  <a:lnTo>
                    <a:pt x="115" y="182"/>
                  </a:lnTo>
                  <a:lnTo>
                    <a:pt x="93" y="174"/>
                  </a:lnTo>
                  <a:lnTo>
                    <a:pt x="85" y="178"/>
                  </a:lnTo>
                  <a:lnTo>
                    <a:pt x="78" y="170"/>
                  </a:lnTo>
                  <a:lnTo>
                    <a:pt x="78" y="156"/>
                  </a:lnTo>
                  <a:lnTo>
                    <a:pt x="67" y="141"/>
                  </a:lnTo>
                  <a:lnTo>
                    <a:pt x="59" y="137"/>
                  </a:lnTo>
                  <a:lnTo>
                    <a:pt x="41" y="141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100" name="Freeform 5"/>
            <p:cNvSpPr>
              <a:spLocks/>
            </p:cNvSpPr>
            <p:nvPr/>
          </p:nvSpPr>
          <p:spPr bwMode="auto">
            <a:xfrm>
              <a:off x="1232" y="3554"/>
              <a:ext cx="31" cy="22"/>
            </a:xfrm>
            <a:custGeom>
              <a:avLst/>
              <a:gdLst>
                <a:gd name="T0" fmla="*/ 31 w 31"/>
                <a:gd name="T1" fmla="*/ 0 h 22"/>
                <a:gd name="T2" fmla="*/ 16 w 31"/>
                <a:gd name="T3" fmla="*/ 0 h 22"/>
                <a:gd name="T4" fmla="*/ 0 w 31"/>
                <a:gd name="T5" fmla="*/ 15 h 22"/>
                <a:gd name="T6" fmla="*/ 8 w 31"/>
                <a:gd name="T7" fmla="*/ 22 h 22"/>
                <a:gd name="T8" fmla="*/ 23 w 31"/>
                <a:gd name="T9" fmla="*/ 22 h 22"/>
                <a:gd name="T10" fmla="*/ 31 w 31"/>
                <a:gd name="T11" fmla="*/ 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"/>
                <a:gd name="T19" fmla="*/ 0 h 22"/>
                <a:gd name="T20" fmla="*/ 31 w 31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" h="22">
                  <a:moveTo>
                    <a:pt x="31" y="0"/>
                  </a:moveTo>
                  <a:lnTo>
                    <a:pt x="16" y="0"/>
                  </a:lnTo>
                  <a:lnTo>
                    <a:pt x="0" y="15"/>
                  </a:lnTo>
                  <a:lnTo>
                    <a:pt x="8" y="22"/>
                  </a:lnTo>
                  <a:lnTo>
                    <a:pt x="23" y="22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101" name="Freeform 6"/>
            <p:cNvSpPr>
              <a:spLocks/>
            </p:cNvSpPr>
            <p:nvPr/>
          </p:nvSpPr>
          <p:spPr bwMode="auto">
            <a:xfrm>
              <a:off x="1323" y="3498"/>
              <a:ext cx="71" cy="56"/>
            </a:xfrm>
            <a:custGeom>
              <a:avLst/>
              <a:gdLst>
                <a:gd name="T0" fmla="*/ 52 w 71"/>
                <a:gd name="T1" fmla="*/ 0 h 56"/>
                <a:gd name="T2" fmla="*/ 45 w 71"/>
                <a:gd name="T3" fmla="*/ 7 h 56"/>
                <a:gd name="T4" fmla="*/ 15 w 71"/>
                <a:gd name="T5" fmla="*/ 11 h 56"/>
                <a:gd name="T6" fmla="*/ 0 w 71"/>
                <a:gd name="T7" fmla="*/ 30 h 56"/>
                <a:gd name="T8" fmla="*/ 22 w 71"/>
                <a:gd name="T9" fmla="*/ 45 h 56"/>
                <a:gd name="T10" fmla="*/ 34 w 71"/>
                <a:gd name="T11" fmla="*/ 56 h 56"/>
                <a:gd name="T12" fmla="*/ 56 w 71"/>
                <a:gd name="T13" fmla="*/ 52 h 56"/>
                <a:gd name="T14" fmla="*/ 71 w 71"/>
                <a:gd name="T15" fmla="*/ 45 h 56"/>
                <a:gd name="T16" fmla="*/ 67 w 71"/>
                <a:gd name="T17" fmla="*/ 30 h 56"/>
                <a:gd name="T18" fmla="*/ 56 w 71"/>
                <a:gd name="T19" fmla="*/ 19 h 56"/>
                <a:gd name="T20" fmla="*/ 52 w 71"/>
                <a:gd name="T21" fmla="*/ 0 h 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1"/>
                <a:gd name="T34" fmla="*/ 0 h 56"/>
                <a:gd name="T35" fmla="*/ 71 w 71"/>
                <a:gd name="T36" fmla="*/ 56 h 5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1" h="56">
                  <a:moveTo>
                    <a:pt x="52" y="0"/>
                  </a:moveTo>
                  <a:lnTo>
                    <a:pt x="45" y="7"/>
                  </a:lnTo>
                  <a:lnTo>
                    <a:pt x="15" y="11"/>
                  </a:lnTo>
                  <a:lnTo>
                    <a:pt x="0" y="30"/>
                  </a:lnTo>
                  <a:lnTo>
                    <a:pt x="22" y="45"/>
                  </a:lnTo>
                  <a:lnTo>
                    <a:pt x="34" y="56"/>
                  </a:lnTo>
                  <a:lnTo>
                    <a:pt x="56" y="52"/>
                  </a:lnTo>
                  <a:lnTo>
                    <a:pt x="71" y="45"/>
                  </a:lnTo>
                  <a:lnTo>
                    <a:pt x="67" y="30"/>
                  </a:lnTo>
                  <a:lnTo>
                    <a:pt x="56" y="19"/>
                  </a:lnTo>
                  <a:lnTo>
                    <a:pt x="52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102" name="Freeform 7"/>
            <p:cNvSpPr>
              <a:spLocks/>
            </p:cNvSpPr>
            <p:nvPr/>
          </p:nvSpPr>
          <p:spPr bwMode="auto">
            <a:xfrm>
              <a:off x="1434" y="3502"/>
              <a:ext cx="23" cy="29"/>
            </a:xfrm>
            <a:custGeom>
              <a:avLst/>
              <a:gdLst>
                <a:gd name="T0" fmla="*/ 15 w 23"/>
                <a:gd name="T1" fmla="*/ 0 h 29"/>
                <a:gd name="T2" fmla="*/ 0 w 23"/>
                <a:gd name="T3" fmla="*/ 7 h 29"/>
                <a:gd name="T4" fmla="*/ 12 w 23"/>
                <a:gd name="T5" fmla="*/ 18 h 29"/>
                <a:gd name="T6" fmla="*/ 23 w 23"/>
                <a:gd name="T7" fmla="*/ 29 h 29"/>
                <a:gd name="T8" fmla="*/ 15 w 23"/>
                <a:gd name="T9" fmla="*/ 0 h 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"/>
                <a:gd name="T16" fmla="*/ 0 h 29"/>
                <a:gd name="T17" fmla="*/ 23 w 23"/>
                <a:gd name="T18" fmla="*/ 29 h 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" h="29">
                  <a:moveTo>
                    <a:pt x="15" y="0"/>
                  </a:moveTo>
                  <a:lnTo>
                    <a:pt x="0" y="7"/>
                  </a:lnTo>
                  <a:lnTo>
                    <a:pt x="12" y="18"/>
                  </a:lnTo>
                  <a:lnTo>
                    <a:pt x="23" y="29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</p:grpSp>
      <p:grpSp>
        <p:nvGrpSpPr>
          <p:cNvPr id="40" name="Group 8"/>
          <p:cNvGrpSpPr>
            <a:grpSpLocks/>
          </p:cNvGrpSpPr>
          <p:nvPr/>
        </p:nvGrpSpPr>
        <p:grpSpPr bwMode="auto">
          <a:xfrm>
            <a:off x="2163472" y="4085817"/>
            <a:ext cx="1113016" cy="1468603"/>
            <a:chOff x="1701" y="2980"/>
            <a:chExt cx="737" cy="929"/>
          </a:xfrm>
          <a:solidFill>
            <a:schemeClr val="accent5"/>
          </a:solidFill>
        </p:grpSpPr>
        <p:sp>
          <p:nvSpPr>
            <p:cNvPr id="96" name="Freeform 9"/>
            <p:cNvSpPr>
              <a:spLocks/>
            </p:cNvSpPr>
            <p:nvPr/>
          </p:nvSpPr>
          <p:spPr bwMode="auto">
            <a:xfrm>
              <a:off x="1727" y="3472"/>
              <a:ext cx="119" cy="193"/>
            </a:xfrm>
            <a:custGeom>
              <a:avLst/>
              <a:gdLst>
                <a:gd name="T0" fmla="*/ 71 w 119"/>
                <a:gd name="T1" fmla="*/ 0 h 193"/>
                <a:gd name="T2" fmla="*/ 52 w 119"/>
                <a:gd name="T3" fmla="*/ 11 h 193"/>
                <a:gd name="T4" fmla="*/ 37 w 119"/>
                <a:gd name="T5" fmla="*/ 22 h 193"/>
                <a:gd name="T6" fmla="*/ 22 w 119"/>
                <a:gd name="T7" fmla="*/ 26 h 193"/>
                <a:gd name="T8" fmla="*/ 0 w 119"/>
                <a:gd name="T9" fmla="*/ 22 h 193"/>
                <a:gd name="T10" fmla="*/ 4 w 119"/>
                <a:gd name="T11" fmla="*/ 45 h 193"/>
                <a:gd name="T12" fmla="*/ 15 w 119"/>
                <a:gd name="T13" fmla="*/ 59 h 193"/>
                <a:gd name="T14" fmla="*/ 11 w 119"/>
                <a:gd name="T15" fmla="*/ 97 h 193"/>
                <a:gd name="T16" fmla="*/ 11 w 119"/>
                <a:gd name="T17" fmla="*/ 115 h 193"/>
                <a:gd name="T18" fmla="*/ 15 w 119"/>
                <a:gd name="T19" fmla="*/ 130 h 193"/>
                <a:gd name="T20" fmla="*/ 4 w 119"/>
                <a:gd name="T21" fmla="*/ 160 h 193"/>
                <a:gd name="T22" fmla="*/ 7 w 119"/>
                <a:gd name="T23" fmla="*/ 182 h 193"/>
                <a:gd name="T24" fmla="*/ 22 w 119"/>
                <a:gd name="T25" fmla="*/ 193 h 193"/>
                <a:gd name="T26" fmla="*/ 44 w 119"/>
                <a:gd name="T27" fmla="*/ 178 h 193"/>
                <a:gd name="T28" fmla="*/ 52 w 119"/>
                <a:gd name="T29" fmla="*/ 174 h 193"/>
                <a:gd name="T30" fmla="*/ 75 w 119"/>
                <a:gd name="T31" fmla="*/ 178 h 193"/>
                <a:gd name="T32" fmla="*/ 90 w 119"/>
                <a:gd name="T33" fmla="*/ 163 h 193"/>
                <a:gd name="T34" fmla="*/ 90 w 119"/>
                <a:gd name="T35" fmla="*/ 148 h 193"/>
                <a:gd name="T36" fmla="*/ 108 w 119"/>
                <a:gd name="T37" fmla="*/ 119 h 193"/>
                <a:gd name="T38" fmla="*/ 115 w 119"/>
                <a:gd name="T39" fmla="*/ 100 h 193"/>
                <a:gd name="T40" fmla="*/ 108 w 119"/>
                <a:gd name="T41" fmla="*/ 82 h 193"/>
                <a:gd name="T42" fmla="*/ 119 w 119"/>
                <a:gd name="T43" fmla="*/ 59 h 193"/>
                <a:gd name="T44" fmla="*/ 112 w 119"/>
                <a:gd name="T45" fmla="*/ 26 h 193"/>
                <a:gd name="T46" fmla="*/ 108 w 119"/>
                <a:gd name="T47" fmla="*/ 7 h 193"/>
                <a:gd name="T48" fmla="*/ 71 w 119"/>
                <a:gd name="T49" fmla="*/ 0 h 19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19"/>
                <a:gd name="T76" fmla="*/ 0 h 193"/>
                <a:gd name="T77" fmla="*/ 119 w 119"/>
                <a:gd name="T78" fmla="*/ 193 h 19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19" h="193">
                  <a:moveTo>
                    <a:pt x="71" y="0"/>
                  </a:moveTo>
                  <a:lnTo>
                    <a:pt x="52" y="11"/>
                  </a:lnTo>
                  <a:lnTo>
                    <a:pt x="37" y="22"/>
                  </a:lnTo>
                  <a:lnTo>
                    <a:pt x="22" y="26"/>
                  </a:lnTo>
                  <a:lnTo>
                    <a:pt x="0" y="22"/>
                  </a:lnTo>
                  <a:lnTo>
                    <a:pt x="4" y="45"/>
                  </a:lnTo>
                  <a:lnTo>
                    <a:pt x="15" y="59"/>
                  </a:lnTo>
                  <a:lnTo>
                    <a:pt x="11" y="97"/>
                  </a:lnTo>
                  <a:lnTo>
                    <a:pt x="11" y="115"/>
                  </a:lnTo>
                  <a:lnTo>
                    <a:pt x="15" y="130"/>
                  </a:lnTo>
                  <a:lnTo>
                    <a:pt x="4" y="160"/>
                  </a:lnTo>
                  <a:lnTo>
                    <a:pt x="7" y="182"/>
                  </a:lnTo>
                  <a:lnTo>
                    <a:pt x="22" y="193"/>
                  </a:lnTo>
                  <a:lnTo>
                    <a:pt x="44" y="178"/>
                  </a:lnTo>
                  <a:lnTo>
                    <a:pt x="52" y="174"/>
                  </a:lnTo>
                  <a:lnTo>
                    <a:pt x="75" y="178"/>
                  </a:lnTo>
                  <a:lnTo>
                    <a:pt x="90" y="163"/>
                  </a:lnTo>
                  <a:lnTo>
                    <a:pt x="90" y="148"/>
                  </a:lnTo>
                  <a:lnTo>
                    <a:pt x="108" y="119"/>
                  </a:lnTo>
                  <a:lnTo>
                    <a:pt x="115" y="100"/>
                  </a:lnTo>
                  <a:lnTo>
                    <a:pt x="108" y="82"/>
                  </a:lnTo>
                  <a:lnTo>
                    <a:pt x="119" y="59"/>
                  </a:lnTo>
                  <a:lnTo>
                    <a:pt x="112" y="26"/>
                  </a:lnTo>
                  <a:lnTo>
                    <a:pt x="108" y="7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97" name="Freeform 10"/>
            <p:cNvSpPr>
              <a:spLocks/>
            </p:cNvSpPr>
            <p:nvPr/>
          </p:nvSpPr>
          <p:spPr bwMode="auto">
            <a:xfrm>
              <a:off x="2002" y="3773"/>
              <a:ext cx="216" cy="136"/>
            </a:xfrm>
            <a:custGeom>
              <a:avLst/>
              <a:gdLst>
                <a:gd name="T0" fmla="*/ 205 w 216"/>
                <a:gd name="T1" fmla="*/ 0 h 136"/>
                <a:gd name="T2" fmla="*/ 216 w 216"/>
                <a:gd name="T3" fmla="*/ 11 h 136"/>
                <a:gd name="T4" fmla="*/ 209 w 216"/>
                <a:gd name="T5" fmla="*/ 22 h 136"/>
                <a:gd name="T6" fmla="*/ 201 w 216"/>
                <a:gd name="T7" fmla="*/ 40 h 136"/>
                <a:gd name="T8" fmla="*/ 190 w 216"/>
                <a:gd name="T9" fmla="*/ 51 h 136"/>
                <a:gd name="T10" fmla="*/ 194 w 216"/>
                <a:gd name="T11" fmla="*/ 85 h 136"/>
                <a:gd name="T12" fmla="*/ 201 w 216"/>
                <a:gd name="T13" fmla="*/ 110 h 136"/>
                <a:gd name="T14" fmla="*/ 182 w 216"/>
                <a:gd name="T15" fmla="*/ 121 h 136"/>
                <a:gd name="T16" fmla="*/ 179 w 216"/>
                <a:gd name="T17" fmla="*/ 132 h 136"/>
                <a:gd name="T18" fmla="*/ 164 w 216"/>
                <a:gd name="T19" fmla="*/ 136 h 136"/>
                <a:gd name="T20" fmla="*/ 142 w 216"/>
                <a:gd name="T21" fmla="*/ 114 h 136"/>
                <a:gd name="T22" fmla="*/ 127 w 216"/>
                <a:gd name="T23" fmla="*/ 114 h 136"/>
                <a:gd name="T24" fmla="*/ 115 w 216"/>
                <a:gd name="T25" fmla="*/ 96 h 136"/>
                <a:gd name="T26" fmla="*/ 93 w 216"/>
                <a:gd name="T27" fmla="*/ 85 h 136"/>
                <a:gd name="T28" fmla="*/ 78 w 216"/>
                <a:gd name="T29" fmla="*/ 81 h 136"/>
                <a:gd name="T30" fmla="*/ 63 w 216"/>
                <a:gd name="T31" fmla="*/ 74 h 136"/>
                <a:gd name="T32" fmla="*/ 48 w 216"/>
                <a:gd name="T33" fmla="*/ 62 h 136"/>
                <a:gd name="T34" fmla="*/ 22 w 216"/>
                <a:gd name="T35" fmla="*/ 44 h 136"/>
                <a:gd name="T36" fmla="*/ 11 w 216"/>
                <a:gd name="T37" fmla="*/ 40 h 136"/>
                <a:gd name="T38" fmla="*/ 0 w 216"/>
                <a:gd name="T39" fmla="*/ 29 h 136"/>
                <a:gd name="T40" fmla="*/ 0 w 216"/>
                <a:gd name="T41" fmla="*/ 15 h 136"/>
                <a:gd name="T42" fmla="*/ 4 w 216"/>
                <a:gd name="T43" fmla="*/ 4 h 136"/>
                <a:gd name="T44" fmla="*/ 26 w 216"/>
                <a:gd name="T45" fmla="*/ 7 h 136"/>
                <a:gd name="T46" fmla="*/ 60 w 216"/>
                <a:gd name="T47" fmla="*/ 7 h 136"/>
                <a:gd name="T48" fmla="*/ 67 w 216"/>
                <a:gd name="T49" fmla="*/ 18 h 136"/>
                <a:gd name="T50" fmla="*/ 104 w 216"/>
                <a:gd name="T51" fmla="*/ 18 h 136"/>
                <a:gd name="T52" fmla="*/ 130 w 216"/>
                <a:gd name="T53" fmla="*/ 18 h 136"/>
                <a:gd name="T54" fmla="*/ 164 w 216"/>
                <a:gd name="T55" fmla="*/ 11 h 136"/>
                <a:gd name="T56" fmla="*/ 205 w 216"/>
                <a:gd name="T57" fmla="*/ 0 h 1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16"/>
                <a:gd name="T88" fmla="*/ 0 h 136"/>
                <a:gd name="T89" fmla="*/ 216 w 216"/>
                <a:gd name="T90" fmla="*/ 136 h 1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16" h="136">
                  <a:moveTo>
                    <a:pt x="205" y="0"/>
                  </a:moveTo>
                  <a:lnTo>
                    <a:pt x="216" y="11"/>
                  </a:lnTo>
                  <a:lnTo>
                    <a:pt x="209" y="22"/>
                  </a:lnTo>
                  <a:lnTo>
                    <a:pt x="201" y="40"/>
                  </a:lnTo>
                  <a:lnTo>
                    <a:pt x="190" y="51"/>
                  </a:lnTo>
                  <a:lnTo>
                    <a:pt x="194" y="85"/>
                  </a:lnTo>
                  <a:lnTo>
                    <a:pt x="201" y="110"/>
                  </a:lnTo>
                  <a:lnTo>
                    <a:pt x="182" y="121"/>
                  </a:lnTo>
                  <a:lnTo>
                    <a:pt x="179" y="132"/>
                  </a:lnTo>
                  <a:lnTo>
                    <a:pt x="164" y="136"/>
                  </a:lnTo>
                  <a:lnTo>
                    <a:pt x="142" y="114"/>
                  </a:lnTo>
                  <a:lnTo>
                    <a:pt x="127" y="114"/>
                  </a:lnTo>
                  <a:lnTo>
                    <a:pt x="115" y="96"/>
                  </a:lnTo>
                  <a:lnTo>
                    <a:pt x="93" y="85"/>
                  </a:lnTo>
                  <a:lnTo>
                    <a:pt x="78" y="81"/>
                  </a:lnTo>
                  <a:lnTo>
                    <a:pt x="63" y="74"/>
                  </a:lnTo>
                  <a:lnTo>
                    <a:pt x="48" y="62"/>
                  </a:lnTo>
                  <a:lnTo>
                    <a:pt x="22" y="44"/>
                  </a:lnTo>
                  <a:lnTo>
                    <a:pt x="11" y="40"/>
                  </a:lnTo>
                  <a:lnTo>
                    <a:pt x="0" y="29"/>
                  </a:lnTo>
                  <a:lnTo>
                    <a:pt x="0" y="15"/>
                  </a:lnTo>
                  <a:lnTo>
                    <a:pt x="4" y="4"/>
                  </a:lnTo>
                  <a:lnTo>
                    <a:pt x="26" y="7"/>
                  </a:lnTo>
                  <a:lnTo>
                    <a:pt x="60" y="7"/>
                  </a:lnTo>
                  <a:lnTo>
                    <a:pt x="67" y="18"/>
                  </a:lnTo>
                  <a:lnTo>
                    <a:pt x="104" y="18"/>
                  </a:lnTo>
                  <a:lnTo>
                    <a:pt x="130" y="18"/>
                  </a:lnTo>
                  <a:lnTo>
                    <a:pt x="164" y="11"/>
                  </a:lnTo>
                  <a:lnTo>
                    <a:pt x="20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98" name="Freeform 11"/>
            <p:cNvSpPr>
              <a:spLocks/>
            </p:cNvSpPr>
            <p:nvPr/>
          </p:nvSpPr>
          <p:spPr bwMode="auto">
            <a:xfrm>
              <a:off x="1701" y="2980"/>
              <a:ext cx="737" cy="830"/>
            </a:xfrm>
            <a:custGeom>
              <a:avLst/>
              <a:gdLst>
                <a:gd name="T0" fmla="*/ 564 w 737"/>
                <a:gd name="T1" fmla="*/ 819 h 830"/>
                <a:gd name="T2" fmla="*/ 609 w 737"/>
                <a:gd name="T3" fmla="*/ 741 h 830"/>
                <a:gd name="T4" fmla="*/ 628 w 737"/>
                <a:gd name="T5" fmla="*/ 715 h 830"/>
                <a:gd name="T6" fmla="*/ 613 w 737"/>
                <a:gd name="T7" fmla="*/ 678 h 830"/>
                <a:gd name="T8" fmla="*/ 594 w 737"/>
                <a:gd name="T9" fmla="*/ 674 h 830"/>
                <a:gd name="T10" fmla="*/ 609 w 737"/>
                <a:gd name="T11" fmla="*/ 645 h 830"/>
                <a:gd name="T12" fmla="*/ 632 w 737"/>
                <a:gd name="T13" fmla="*/ 604 h 830"/>
                <a:gd name="T14" fmla="*/ 702 w 737"/>
                <a:gd name="T15" fmla="*/ 652 h 830"/>
                <a:gd name="T16" fmla="*/ 731 w 737"/>
                <a:gd name="T17" fmla="*/ 652 h 830"/>
                <a:gd name="T18" fmla="*/ 709 w 737"/>
                <a:gd name="T19" fmla="*/ 596 h 830"/>
                <a:gd name="T20" fmla="*/ 687 w 737"/>
                <a:gd name="T21" fmla="*/ 593 h 830"/>
                <a:gd name="T22" fmla="*/ 609 w 737"/>
                <a:gd name="T23" fmla="*/ 530 h 830"/>
                <a:gd name="T24" fmla="*/ 560 w 737"/>
                <a:gd name="T25" fmla="*/ 496 h 830"/>
                <a:gd name="T26" fmla="*/ 564 w 737"/>
                <a:gd name="T27" fmla="*/ 474 h 830"/>
                <a:gd name="T28" fmla="*/ 490 w 737"/>
                <a:gd name="T29" fmla="*/ 440 h 830"/>
                <a:gd name="T30" fmla="*/ 457 w 737"/>
                <a:gd name="T31" fmla="*/ 411 h 830"/>
                <a:gd name="T32" fmla="*/ 379 w 737"/>
                <a:gd name="T33" fmla="*/ 293 h 830"/>
                <a:gd name="T34" fmla="*/ 364 w 737"/>
                <a:gd name="T35" fmla="*/ 200 h 830"/>
                <a:gd name="T36" fmla="*/ 342 w 737"/>
                <a:gd name="T37" fmla="*/ 163 h 830"/>
                <a:gd name="T38" fmla="*/ 405 w 737"/>
                <a:gd name="T39" fmla="*/ 134 h 830"/>
                <a:gd name="T40" fmla="*/ 434 w 737"/>
                <a:gd name="T41" fmla="*/ 70 h 830"/>
                <a:gd name="T42" fmla="*/ 368 w 737"/>
                <a:gd name="T43" fmla="*/ 41 h 830"/>
                <a:gd name="T44" fmla="*/ 357 w 737"/>
                <a:gd name="T45" fmla="*/ 15 h 830"/>
                <a:gd name="T46" fmla="*/ 264 w 737"/>
                <a:gd name="T47" fmla="*/ 4 h 830"/>
                <a:gd name="T48" fmla="*/ 220 w 737"/>
                <a:gd name="T49" fmla="*/ 52 h 830"/>
                <a:gd name="T50" fmla="*/ 182 w 737"/>
                <a:gd name="T51" fmla="*/ 48 h 830"/>
                <a:gd name="T52" fmla="*/ 134 w 737"/>
                <a:gd name="T53" fmla="*/ 63 h 830"/>
                <a:gd name="T54" fmla="*/ 116 w 737"/>
                <a:gd name="T55" fmla="*/ 30 h 830"/>
                <a:gd name="T56" fmla="*/ 90 w 737"/>
                <a:gd name="T57" fmla="*/ 59 h 830"/>
                <a:gd name="T58" fmla="*/ 22 w 737"/>
                <a:gd name="T59" fmla="*/ 85 h 830"/>
                <a:gd name="T60" fmla="*/ 7 w 737"/>
                <a:gd name="T61" fmla="*/ 137 h 830"/>
                <a:gd name="T62" fmla="*/ 0 w 737"/>
                <a:gd name="T63" fmla="*/ 189 h 830"/>
                <a:gd name="T64" fmla="*/ 30 w 737"/>
                <a:gd name="T65" fmla="*/ 208 h 830"/>
                <a:gd name="T66" fmla="*/ 52 w 737"/>
                <a:gd name="T67" fmla="*/ 249 h 830"/>
                <a:gd name="T68" fmla="*/ 123 w 737"/>
                <a:gd name="T69" fmla="*/ 211 h 830"/>
                <a:gd name="T70" fmla="*/ 190 w 737"/>
                <a:gd name="T71" fmla="*/ 271 h 830"/>
                <a:gd name="T72" fmla="*/ 220 w 737"/>
                <a:gd name="T73" fmla="*/ 352 h 830"/>
                <a:gd name="T74" fmla="*/ 271 w 737"/>
                <a:gd name="T75" fmla="*/ 397 h 830"/>
                <a:gd name="T76" fmla="*/ 338 w 737"/>
                <a:gd name="T77" fmla="*/ 478 h 830"/>
                <a:gd name="T78" fmla="*/ 442 w 737"/>
                <a:gd name="T79" fmla="*/ 555 h 830"/>
                <a:gd name="T80" fmla="*/ 475 w 737"/>
                <a:gd name="T81" fmla="*/ 578 h 830"/>
                <a:gd name="T82" fmla="*/ 501 w 737"/>
                <a:gd name="T83" fmla="*/ 630 h 830"/>
                <a:gd name="T84" fmla="*/ 542 w 737"/>
                <a:gd name="T85" fmla="*/ 645 h 830"/>
                <a:gd name="T86" fmla="*/ 557 w 737"/>
                <a:gd name="T87" fmla="*/ 711 h 830"/>
                <a:gd name="T88" fmla="*/ 545 w 737"/>
                <a:gd name="T89" fmla="*/ 760 h 830"/>
                <a:gd name="T90" fmla="*/ 534 w 737"/>
                <a:gd name="T91" fmla="*/ 819 h 8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37"/>
                <a:gd name="T139" fmla="*/ 0 h 830"/>
                <a:gd name="T140" fmla="*/ 737 w 737"/>
                <a:gd name="T141" fmla="*/ 830 h 83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37" h="830">
                  <a:moveTo>
                    <a:pt x="534" y="819"/>
                  </a:moveTo>
                  <a:lnTo>
                    <a:pt x="545" y="830"/>
                  </a:lnTo>
                  <a:lnTo>
                    <a:pt x="564" y="819"/>
                  </a:lnTo>
                  <a:lnTo>
                    <a:pt x="586" y="789"/>
                  </a:lnTo>
                  <a:lnTo>
                    <a:pt x="597" y="745"/>
                  </a:lnTo>
                  <a:lnTo>
                    <a:pt x="609" y="741"/>
                  </a:lnTo>
                  <a:lnTo>
                    <a:pt x="617" y="748"/>
                  </a:lnTo>
                  <a:lnTo>
                    <a:pt x="632" y="734"/>
                  </a:lnTo>
                  <a:lnTo>
                    <a:pt x="628" y="715"/>
                  </a:lnTo>
                  <a:lnTo>
                    <a:pt x="635" y="700"/>
                  </a:lnTo>
                  <a:lnTo>
                    <a:pt x="632" y="693"/>
                  </a:lnTo>
                  <a:lnTo>
                    <a:pt x="613" y="678"/>
                  </a:lnTo>
                  <a:lnTo>
                    <a:pt x="606" y="678"/>
                  </a:lnTo>
                  <a:lnTo>
                    <a:pt x="609" y="670"/>
                  </a:lnTo>
                  <a:lnTo>
                    <a:pt x="594" y="674"/>
                  </a:lnTo>
                  <a:lnTo>
                    <a:pt x="586" y="667"/>
                  </a:lnTo>
                  <a:lnTo>
                    <a:pt x="586" y="659"/>
                  </a:lnTo>
                  <a:lnTo>
                    <a:pt x="609" y="645"/>
                  </a:lnTo>
                  <a:lnTo>
                    <a:pt x="620" y="630"/>
                  </a:lnTo>
                  <a:lnTo>
                    <a:pt x="620" y="607"/>
                  </a:lnTo>
                  <a:lnTo>
                    <a:pt x="632" y="604"/>
                  </a:lnTo>
                  <a:lnTo>
                    <a:pt x="669" y="622"/>
                  </a:lnTo>
                  <a:lnTo>
                    <a:pt x="683" y="626"/>
                  </a:lnTo>
                  <a:lnTo>
                    <a:pt x="702" y="652"/>
                  </a:lnTo>
                  <a:lnTo>
                    <a:pt x="709" y="667"/>
                  </a:lnTo>
                  <a:lnTo>
                    <a:pt x="720" y="667"/>
                  </a:lnTo>
                  <a:lnTo>
                    <a:pt x="731" y="652"/>
                  </a:lnTo>
                  <a:lnTo>
                    <a:pt x="737" y="637"/>
                  </a:lnTo>
                  <a:lnTo>
                    <a:pt x="724" y="611"/>
                  </a:lnTo>
                  <a:lnTo>
                    <a:pt x="709" y="596"/>
                  </a:lnTo>
                  <a:lnTo>
                    <a:pt x="695" y="596"/>
                  </a:lnTo>
                  <a:lnTo>
                    <a:pt x="695" y="593"/>
                  </a:lnTo>
                  <a:lnTo>
                    <a:pt x="687" y="593"/>
                  </a:lnTo>
                  <a:lnTo>
                    <a:pt x="650" y="555"/>
                  </a:lnTo>
                  <a:lnTo>
                    <a:pt x="632" y="559"/>
                  </a:lnTo>
                  <a:lnTo>
                    <a:pt x="609" y="530"/>
                  </a:lnTo>
                  <a:lnTo>
                    <a:pt x="594" y="526"/>
                  </a:lnTo>
                  <a:lnTo>
                    <a:pt x="571" y="504"/>
                  </a:lnTo>
                  <a:lnTo>
                    <a:pt x="560" y="496"/>
                  </a:lnTo>
                  <a:lnTo>
                    <a:pt x="568" y="489"/>
                  </a:lnTo>
                  <a:lnTo>
                    <a:pt x="579" y="485"/>
                  </a:lnTo>
                  <a:lnTo>
                    <a:pt x="564" y="474"/>
                  </a:lnTo>
                  <a:lnTo>
                    <a:pt x="545" y="481"/>
                  </a:lnTo>
                  <a:lnTo>
                    <a:pt x="531" y="474"/>
                  </a:lnTo>
                  <a:lnTo>
                    <a:pt x="490" y="440"/>
                  </a:lnTo>
                  <a:lnTo>
                    <a:pt x="486" y="426"/>
                  </a:lnTo>
                  <a:lnTo>
                    <a:pt x="471" y="422"/>
                  </a:lnTo>
                  <a:lnTo>
                    <a:pt x="457" y="411"/>
                  </a:lnTo>
                  <a:lnTo>
                    <a:pt x="419" y="330"/>
                  </a:lnTo>
                  <a:lnTo>
                    <a:pt x="408" y="319"/>
                  </a:lnTo>
                  <a:lnTo>
                    <a:pt x="379" y="293"/>
                  </a:lnTo>
                  <a:lnTo>
                    <a:pt x="345" y="241"/>
                  </a:lnTo>
                  <a:lnTo>
                    <a:pt x="345" y="211"/>
                  </a:lnTo>
                  <a:lnTo>
                    <a:pt x="364" y="200"/>
                  </a:lnTo>
                  <a:lnTo>
                    <a:pt x="364" y="185"/>
                  </a:lnTo>
                  <a:lnTo>
                    <a:pt x="349" y="171"/>
                  </a:lnTo>
                  <a:lnTo>
                    <a:pt x="342" y="163"/>
                  </a:lnTo>
                  <a:lnTo>
                    <a:pt x="345" y="152"/>
                  </a:lnTo>
                  <a:lnTo>
                    <a:pt x="360" y="145"/>
                  </a:lnTo>
                  <a:lnTo>
                    <a:pt x="405" y="134"/>
                  </a:lnTo>
                  <a:lnTo>
                    <a:pt x="423" y="122"/>
                  </a:lnTo>
                  <a:lnTo>
                    <a:pt x="438" y="108"/>
                  </a:lnTo>
                  <a:lnTo>
                    <a:pt x="434" y="70"/>
                  </a:lnTo>
                  <a:lnTo>
                    <a:pt x="438" y="56"/>
                  </a:lnTo>
                  <a:lnTo>
                    <a:pt x="416" y="52"/>
                  </a:lnTo>
                  <a:lnTo>
                    <a:pt x="368" y="41"/>
                  </a:lnTo>
                  <a:lnTo>
                    <a:pt x="360" y="30"/>
                  </a:lnTo>
                  <a:lnTo>
                    <a:pt x="357" y="26"/>
                  </a:lnTo>
                  <a:lnTo>
                    <a:pt x="357" y="15"/>
                  </a:lnTo>
                  <a:lnTo>
                    <a:pt x="353" y="4"/>
                  </a:lnTo>
                  <a:lnTo>
                    <a:pt x="327" y="0"/>
                  </a:lnTo>
                  <a:lnTo>
                    <a:pt x="264" y="4"/>
                  </a:lnTo>
                  <a:lnTo>
                    <a:pt x="257" y="19"/>
                  </a:lnTo>
                  <a:lnTo>
                    <a:pt x="234" y="22"/>
                  </a:lnTo>
                  <a:lnTo>
                    <a:pt x="220" y="52"/>
                  </a:lnTo>
                  <a:lnTo>
                    <a:pt x="220" y="63"/>
                  </a:lnTo>
                  <a:lnTo>
                    <a:pt x="205" y="52"/>
                  </a:lnTo>
                  <a:lnTo>
                    <a:pt x="182" y="48"/>
                  </a:lnTo>
                  <a:lnTo>
                    <a:pt x="168" y="56"/>
                  </a:lnTo>
                  <a:lnTo>
                    <a:pt x="157" y="78"/>
                  </a:lnTo>
                  <a:lnTo>
                    <a:pt x="134" y="63"/>
                  </a:lnTo>
                  <a:lnTo>
                    <a:pt x="138" y="41"/>
                  </a:lnTo>
                  <a:lnTo>
                    <a:pt x="131" y="26"/>
                  </a:lnTo>
                  <a:lnTo>
                    <a:pt x="116" y="30"/>
                  </a:lnTo>
                  <a:lnTo>
                    <a:pt x="112" y="48"/>
                  </a:lnTo>
                  <a:lnTo>
                    <a:pt x="101" y="59"/>
                  </a:lnTo>
                  <a:lnTo>
                    <a:pt x="90" y="59"/>
                  </a:lnTo>
                  <a:lnTo>
                    <a:pt x="37" y="52"/>
                  </a:lnTo>
                  <a:lnTo>
                    <a:pt x="19" y="67"/>
                  </a:lnTo>
                  <a:lnTo>
                    <a:pt x="22" y="85"/>
                  </a:lnTo>
                  <a:lnTo>
                    <a:pt x="26" y="100"/>
                  </a:lnTo>
                  <a:lnTo>
                    <a:pt x="0" y="122"/>
                  </a:lnTo>
                  <a:lnTo>
                    <a:pt x="7" y="137"/>
                  </a:lnTo>
                  <a:lnTo>
                    <a:pt x="15" y="145"/>
                  </a:lnTo>
                  <a:lnTo>
                    <a:pt x="0" y="163"/>
                  </a:lnTo>
                  <a:lnTo>
                    <a:pt x="0" y="189"/>
                  </a:lnTo>
                  <a:lnTo>
                    <a:pt x="7" y="200"/>
                  </a:lnTo>
                  <a:lnTo>
                    <a:pt x="22" y="200"/>
                  </a:lnTo>
                  <a:lnTo>
                    <a:pt x="30" y="208"/>
                  </a:lnTo>
                  <a:lnTo>
                    <a:pt x="37" y="226"/>
                  </a:lnTo>
                  <a:lnTo>
                    <a:pt x="37" y="245"/>
                  </a:lnTo>
                  <a:lnTo>
                    <a:pt x="52" y="249"/>
                  </a:lnTo>
                  <a:lnTo>
                    <a:pt x="63" y="245"/>
                  </a:lnTo>
                  <a:lnTo>
                    <a:pt x="105" y="204"/>
                  </a:lnTo>
                  <a:lnTo>
                    <a:pt x="123" y="211"/>
                  </a:lnTo>
                  <a:lnTo>
                    <a:pt x="160" y="230"/>
                  </a:lnTo>
                  <a:lnTo>
                    <a:pt x="186" y="249"/>
                  </a:lnTo>
                  <a:lnTo>
                    <a:pt x="190" y="271"/>
                  </a:lnTo>
                  <a:lnTo>
                    <a:pt x="205" y="286"/>
                  </a:lnTo>
                  <a:lnTo>
                    <a:pt x="212" y="312"/>
                  </a:lnTo>
                  <a:lnTo>
                    <a:pt x="220" y="352"/>
                  </a:lnTo>
                  <a:lnTo>
                    <a:pt x="231" y="371"/>
                  </a:lnTo>
                  <a:lnTo>
                    <a:pt x="245" y="387"/>
                  </a:lnTo>
                  <a:lnTo>
                    <a:pt x="271" y="397"/>
                  </a:lnTo>
                  <a:lnTo>
                    <a:pt x="294" y="433"/>
                  </a:lnTo>
                  <a:lnTo>
                    <a:pt x="316" y="463"/>
                  </a:lnTo>
                  <a:lnTo>
                    <a:pt x="338" y="478"/>
                  </a:lnTo>
                  <a:lnTo>
                    <a:pt x="379" y="526"/>
                  </a:lnTo>
                  <a:lnTo>
                    <a:pt x="408" y="526"/>
                  </a:lnTo>
                  <a:lnTo>
                    <a:pt x="442" y="555"/>
                  </a:lnTo>
                  <a:lnTo>
                    <a:pt x="442" y="585"/>
                  </a:lnTo>
                  <a:lnTo>
                    <a:pt x="453" y="593"/>
                  </a:lnTo>
                  <a:lnTo>
                    <a:pt x="475" y="578"/>
                  </a:lnTo>
                  <a:lnTo>
                    <a:pt x="479" y="593"/>
                  </a:lnTo>
                  <a:lnTo>
                    <a:pt x="479" y="611"/>
                  </a:lnTo>
                  <a:lnTo>
                    <a:pt x="501" y="630"/>
                  </a:lnTo>
                  <a:lnTo>
                    <a:pt x="508" y="641"/>
                  </a:lnTo>
                  <a:lnTo>
                    <a:pt x="538" y="633"/>
                  </a:lnTo>
                  <a:lnTo>
                    <a:pt x="542" y="645"/>
                  </a:lnTo>
                  <a:lnTo>
                    <a:pt x="538" y="670"/>
                  </a:lnTo>
                  <a:lnTo>
                    <a:pt x="553" y="693"/>
                  </a:lnTo>
                  <a:lnTo>
                    <a:pt x="557" y="711"/>
                  </a:lnTo>
                  <a:lnTo>
                    <a:pt x="564" y="730"/>
                  </a:lnTo>
                  <a:lnTo>
                    <a:pt x="560" y="745"/>
                  </a:lnTo>
                  <a:lnTo>
                    <a:pt x="545" y="760"/>
                  </a:lnTo>
                  <a:lnTo>
                    <a:pt x="542" y="778"/>
                  </a:lnTo>
                  <a:lnTo>
                    <a:pt x="531" y="800"/>
                  </a:lnTo>
                  <a:lnTo>
                    <a:pt x="534" y="819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</p:grpSp>
      <p:sp>
        <p:nvSpPr>
          <p:cNvPr id="41" name="Freeform 12"/>
          <p:cNvSpPr>
            <a:spLocks/>
          </p:cNvSpPr>
          <p:nvPr/>
        </p:nvSpPr>
        <p:spPr bwMode="auto">
          <a:xfrm>
            <a:off x="2109105" y="3900858"/>
            <a:ext cx="450039" cy="306684"/>
          </a:xfrm>
          <a:custGeom>
            <a:avLst/>
            <a:gdLst>
              <a:gd name="T0" fmla="*/ 2147483647 w 298"/>
              <a:gd name="T1" fmla="*/ 2147483647 h 194"/>
              <a:gd name="T2" fmla="*/ 2147483647 w 298"/>
              <a:gd name="T3" fmla="*/ 2147483647 h 194"/>
              <a:gd name="T4" fmla="*/ 2147483647 w 298"/>
              <a:gd name="T5" fmla="*/ 2147483647 h 194"/>
              <a:gd name="T6" fmla="*/ 2147483647 w 298"/>
              <a:gd name="T7" fmla="*/ 2147483647 h 194"/>
              <a:gd name="T8" fmla="*/ 2147483647 w 298"/>
              <a:gd name="T9" fmla="*/ 0 h 194"/>
              <a:gd name="T10" fmla="*/ 2147483647 w 298"/>
              <a:gd name="T11" fmla="*/ 2147483647 h 194"/>
              <a:gd name="T12" fmla="*/ 2147483647 w 298"/>
              <a:gd name="T13" fmla="*/ 2147483647 h 194"/>
              <a:gd name="T14" fmla="*/ 2147483647 w 298"/>
              <a:gd name="T15" fmla="*/ 2147483647 h 194"/>
              <a:gd name="T16" fmla="*/ 2147483647 w 298"/>
              <a:gd name="T17" fmla="*/ 2147483647 h 194"/>
              <a:gd name="T18" fmla="*/ 2147483647 w 298"/>
              <a:gd name="T19" fmla="*/ 2147483647 h 194"/>
              <a:gd name="T20" fmla="*/ 2147483647 w 298"/>
              <a:gd name="T21" fmla="*/ 2147483647 h 194"/>
              <a:gd name="T22" fmla="*/ 2147483647 w 298"/>
              <a:gd name="T23" fmla="*/ 2147483647 h 194"/>
              <a:gd name="T24" fmla="*/ 2147483647 w 298"/>
              <a:gd name="T25" fmla="*/ 2147483647 h 194"/>
              <a:gd name="T26" fmla="*/ 2147483647 w 298"/>
              <a:gd name="T27" fmla="*/ 2147483647 h 194"/>
              <a:gd name="T28" fmla="*/ 2147483647 w 298"/>
              <a:gd name="T29" fmla="*/ 2147483647 h 194"/>
              <a:gd name="T30" fmla="*/ 2147483647 w 298"/>
              <a:gd name="T31" fmla="*/ 2147483647 h 194"/>
              <a:gd name="T32" fmla="*/ 0 w 298"/>
              <a:gd name="T33" fmla="*/ 2147483647 h 194"/>
              <a:gd name="T34" fmla="*/ 2147483647 w 298"/>
              <a:gd name="T35" fmla="*/ 2147483647 h 194"/>
              <a:gd name="T36" fmla="*/ 2147483647 w 298"/>
              <a:gd name="T37" fmla="*/ 2147483647 h 194"/>
              <a:gd name="T38" fmla="*/ 2147483647 w 298"/>
              <a:gd name="T39" fmla="*/ 2147483647 h 194"/>
              <a:gd name="T40" fmla="*/ 2147483647 w 298"/>
              <a:gd name="T41" fmla="*/ 2147483647 h 194"/>
              <a:gd name="T42" fmla="*/ 2147483647 w 298"/>
              <a:gd name="T43" fmla="*/ 2147483647 h 194"/>
              <a:gd name="T44" fmla="*/ 2147483647 w 298"/>
              <a:gd name="T45" fmla="*/ 2147483647 h 194"/>
              <a:gd name="T46" fmla="*/ 2147483647 w 298"/>
              <a:gd name="T47" fmla="*/ 2147483647 h 194"/>
              <a:gd name="T48" fmla="*/ 2147483647 w 298"/>
              <a:gd name="T49" fmla="*/ 2147483647 h 194"/>
              <a:gd name="T50" fmla="*/ 2147483647 w 298"/>
              <a:gd name="T51" fmla="*/ 2147483647 h 194"/>
              <a:gd name="T52" fmla="*/ 2147483647 w 298"/>
              <a:gd name="T53" fmla="*/ 2147483647 h 194"/>
              <a:gd name="T54" fmla="*/ 2147483647 w 298"/>
              <a:gd name="T55" fmla="*/ 2147483647 h 194"/>
              <a:gd name="T56" fmla="*/ 2147483647 w 298"/>
              <a:gd name="T57" fmla="*/ 2147483647 h 194"/>
              <a:gd name="T58" fmla="*/ 2147483647 w 298"/>
              <a:gd name="T59" fmla="*/ 2147483647 h 194"/>
              <a:gd name="T60" fmla="*/ 2147483647 w 298"/>
              <a:gd name="T61" fmla="*/ 2147483647 h 194"/>
              <a:gd name="T62" fmla="*/ 2147483647 w 298"/>
              <a:gd name="T63" fmla="*/ 2147483647 h 194"/>
              <a:gd name="T64" fmla="*/ 2147483647 w 298"/>
              <a:gd name="T65" fmla="*/ 2147483647 h 194"/>
              <a:gd name="T66" fmla="*/ 2147483647 w 298"/>
              <a:gd name="T67" fmla="*/ 2147483647 h 194"/>
              <a:gd name="T68" fmla="*/ 2147483647 w 298"/>
              <a:gd name="T69" fmla="*/ 2147483647 h 194"/>
              <a:gd name="T70" fmla="*/ 2147483647 w 298"/>
              <a:gd name="T71" fmla="*/ 2147483647 h 194"/>
              <a:gd name="T72" fmla="*/ 2147483647 w 298"/>
              <a:gd name="T73" fmla="*/ 2147483647 h 194"/>
              <a:gd name="T74" fmla="*/ 2147483647 w 298"/>
              <a:gd name="T75" fmla="*/ 2147483647 h 194"/>
              <a:gd name="T76" fmla="*/ 2147483647 w 298"/>
              <a:gd name="T77" fmla="*/ 2147483647 h 194"/>
              <a:gd name="T78" fmla="*/ 2147483647 w 298"/>
              <a:gd name="T79" fmla="*/ 2147483647 h 194"/>
              <a:gd name="T80" fmla="*/ 2147483647 w 298"/>
              <a:gd name="T81" fmla="*/ 2147483647 h 194"/>
              <a:gd name="T82" fmla="*/ 2147483647 w 298"/>
              <a:gd name="T83" fmla="*/ 2147483647 h 194"/>
              <a:gd name="T84" fmla="*/ 2147483647 w 298"/>
              <a:gd name="T85" fmla="*/ 2147483647 h 194"/>
              <a:gd name="T86" fmla="*/ 2147483647 w 298"/>
              <a:gd name="T87" fmla="*/ 2147483647 h 194"/>
              <a:gd name="T88" fmla="*/ 2147483647 w 298"/>
              <a:gd name="T89" fmla="*/ 2147483647 h 194"/>
              <a:gd name="T90" fmla="*/ 2147483647 w 298"/>
              <a:gd name="T91" fmla="*/ 2147483647 h 194"/>
              <a:gd name="T92" fmla="*/ 2147483647 w 298"/>
              <a:gd name="T93" fmla="*/ 2147483647 h 194"/>
              <a:gd name="T94" fmla="*/ 2147483647 w 298"/>
              <a:gd name="T95" fmla="*/ 2147483647 h 194"/>
              <a:gd name="T96" fmla="*/ 2147483647 w 298"/>
              <a:gd name="T97" fmla="*/ 2147483647 h 194"/>
              <a:gd name="T98" fmla="*/ 2147483647 w 298"/>
              <a:gd name="T99" fmla="*/ 2147483647 h 194"/>
              <a:gd name="T100" fmla="*/ 2147483647 w 298"/>
              <a:gd name="T101" fmla="*/ 2147483647 h 194"/>
              <a:gd name="T102" fmla="*/ 2147483647 w 298"/>
              <a:gd name="T103" fmla="*/ 2147483647 h 194"/>
              <a:gd name="T104" fmla="*/ 2147483647 w 298"/>
              <a:gd name="T105" fmla="*/ 2147483647 h 194"/>
              <a:gd name="T106" fmla="*/ 2147483647 w 298"/>
              <a:gd name="T107" fmla="*/ 2147483647 h 194"/>
              <a:gd name="T108" fmla="*/ 2147483647 w 298"/>
              <a:gd name="T109" fmla="*/ 2147483647 h 194"/>
              <a:gd name="T110" fmla="*/ 2147483647 w 298"/>
              <a:gd name="T111" fmla="*/ 2147483647 h 194"/>
              <a:gd name="T112" fmla="*/ 2147483647 w 298"/>
              <a:gd name="T113" fmla="*/ 2147483647 h 194"/>
              <a:gd name="T114" fmla="*/ 2147483647 w 298"/>
              <a:gd name="T115" fmla="*/ 2147483647 h 194"/>
              <a:gd name="T116" fmla="*/ 2147483647 w 298"/>
              <a:gd name="T117" fmla="*/ 2147483647 h 194"/>
              <a:gd name="T118" fmla="*/ 2147483647 w 298"/>
              <a:gd name="T119" fmla="*/ 2147483647 h 19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98"/>
              <a:gd name="T181" fmla="*/ 0 h 194"/>
              <a:gd name="T182" fmla="*/ 298 w 298"/>
              <a:gd name="T183" fmla="*/ 194 h 19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98" h="194">
                <a:moveTo>
                  <a:pt x="157" y="37"/>
                </a:moveTo>
                <a:lnTo>
                  <a:pt x="142" y="24"/>
                </a:lnTo>
                <a:lnTo>
                  <a:pt x="144" y="19"/>
                </a:lnTo>
                <a:lnTo>
                  <a:pt x="135" y="11"/>
                </a:lnTo>
                <a:lnTo>
                  <a:pt x="127" y="0"/>
                </a:lnTo>
                <a:lnTo>
                  <a:pt x="117" y="11"/>
                </a:lnTo>
                <a:lnTo>
                  <a:pt x="111" y="7"/>
                </a:lnTo>
                <a:lnTo>
                  <a:pt x="100" y="17"/>
                </a:lnTo>
                <a:lnTo>
                  <a:pt x="100" y="22"/>
                </a:lnTo>
                <a:lnTo>
                  <a:pt x="87" y="28"/>
                </a:lnTo>
                <a:lnTo>
                  <a:pt x="54" y="54"/>
                </a:lnTo>
                <a:lnTo>
                  <a:pt x="45" y="65"/>
                </a:lnTo>
                <a:lnTo>
                  <a:pt x="45" y="78"/>
                </a:lnTo>
                <a:lnTo>
                  <a:pt x="33" y="82"/>
                </a:lnTo>
                <a:lnTo>
                  <a:pt x="9" y="108"/>
                </a:lnTo>
                <a:lnTo>
                  <a:pt x="9" y="117"/>
                </a:lnTo>
                <a:lnTo>
                  <a:pt x="0" y="128"/>
                </a:lnTo>
                <a:lnTo>
                  <a:pt x="4" y="141"/>
                </a:lnTo>
                <a:lnTo>
                  <a:pt x="15" y="134"/>
                </a:lnTo>
                <a:lnTo>
                  <a:pt x="26" y="122"/>
                </a:lnTo>
                <a:lnTo>
                  <a:pt x="43" y="119"/>
                </a:lnTo>
                <a:lnTo>
                  <a:pt x="54" y="122"/>
                </a:lnTo>
                <a:lnTo>
                  <a:pt x="58" y="141"/>
                </a:lnTo>
                <a:lnTo>
                  <a:pt x="56" y="154"/>
                </a:lnTo>
                <a:lnTo>
                  <a:pt x="63" y="163"/>
                </a:lnTo>
                <a:lnTo>
                  <a:pt x="72" y="169"/>
                </a:lnTo>
                <a:lnTo>
                  <a:pt x="91" y="171"/>
                </a:lnTo>
                <a:lnTo>
                  <a:pt x="133" y="176"/>
                </a:lnTo>
                <a:lnTo>
                  <a:pt x="142" y="171"/>
                </a:lnTo>
                <a:lnTo>
                  <a:pt x="148" y="163"/>
                </a:lnTo>
                <a:lnTo>
                  <a:pt x="152" y="146"/>
                </a:lnTo>
                <a:lnTo>
                  <a:pt x="167" y="145"/>
                </a:lnTo>
                <a:lnTo>
                  <a:pt x="172" y="156"/>
                </a:lnTo>
                <a:lnTo>
                  <a:pt x="172" y="181"/>
                </a:lnTo>
                <a:lnTo>
                  <a:pt x="191" y="194"/>
                </a:lnTo>
                <a:lnTo>
                  <a:pt x="205" y="172"/>
                </a:lnTo>
                <a:lnTo>
                  <a:pt x="220" y="165"/>
                </a:lnTo>
                <a:lnTo>
                  <a:pt x="237" y="167"/>
                </a:lnTo>
                <a:lnTo>
                  <a:pt x="250" y="174"/>
                </a:lnTo>
                <a:lnTo>
                  <a:pt x="255" y="180"/>
                </a:lnTo>
                <a:lnTo>
                  <a:pt x="259" y="161"/>
                </a:lnTo>
                <a:lnTo>
                  <a:pt x="269" y="139"/>
                </a:lnTo>
                <a:lnTo>
                  <a:pt x="291" y="135"/>
                </a:lnTo>
                <a:lnTo>
                  <a:pt x="298" y="121"/>
                </a:lnTo>
                <a:lnTo>
                  <a:pt x="291" y="109"/>
                </a:lnTo>
                <a:lnTo>
                  <a:pt x="281" y="104"/>
                </a:lnTo>
                <a:lnTo>
                  <a:pt x="253" y="99"/>
                </a:lnTo>
                <a:lnTo>
                  <a:pt x="252" y="85"/>
                </a:lnTo>
                <a:lnTo>
                  <a:pt x="252" y="70"/>
                </a:lnTo>
                <a:lnTo>
                  <a:pt x="252" y="59"/>
                </a:lnTo>
                <a:lnTo>
                  <a:pt x="235" y="50"/>
                </a:lnTo>
                <a:lnTo>
                  <a:pt x="226" y="54"/>
                </a:lnTo>
                <a:lnTo>
                  <a:pt x="211" y="43"/>
                </a:lnTo>
                <a:lnTo>
                  <a:pt x="209" y="35"/>
                </a:lnTo>
                <a:lnTo>
                  <a:pt x="203" y="26"/>
                </a:lnTo>
                <a:lnTo>
                  <a:pt x="203" y="22"/>
                </a:lnTo>
                <a:lnTo>
                  <a:pt x="187" y="17"/>
                </a:lnTo>
                <a:lnTo>
                  <a:pt x="181" y="24"/>
                </a:lnTo>
                <a:lnTo>
                  <a:pt x="170" y="32"/>
                </a:lnTo>
                <a:lnTo>
                  <a:pt x="157" y="37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43" name="Freeform 14"/>
          <p:cNvSpPr>
            <a:spLocks/>
          </p:cNvSpPr>
          <p:nvPr/>
        </p:nvSpPr>
        <p:spPr bwMode="auto">
          <a:xfrm>
            <a:off x="3072611" y="3907182"/>
            <a:ext cx="634283" cy="401534"/>
          </a:xfrm>
          <a:custGeom>
            <a:avLst/>
            <a:gdLst>
              <a:gd name="T0" fmla="*/ 2147483647 w 420"/>
              <a:gd name="T1" fmla="*/ 2147483647 h 254"/>
              <a:gd name="T2" fmla="*/ 2147483647 w 420"/>
              <a:gd name="T3" fmla="*/ 2147483647 h 254"/>
              <a:gd name="T4" fmla="*/ 2147483647 w 420"/>
              <a:gd name="T5" fmla="*/ 2147483647 h 254"/>
              <a:gd name="T6" fmla="*/ 2147483647 w 420"/>
              <a:gd name="T7" fmla="*/ 2147483647 h 254"/>
              <a:gd name="T8" fmla="*/ 2147483647 w 420"/>
              <a:gd name="T9" fmla="*/ 2147483647 h 254"/>
              <a:gd name="T10" fmla="*/ 2147483647 w 420"/>
              <a:gd name="T11" fmla="*/ 2147483647 h 254"/>
              <a:gd name="T12" fmla="*/ 2147483647 w 420"/>
              <a:gd name="T13" fmla="*/ 2147483647 h 254"/>
              <a:gd name="T14" fmla="*/ 2147483647 w 420"/>
              <a:gd name="T15" fmla="*/ 2147483647 h 254"/>
              <a:gd name="T16" fmla="*/ 2147483647 w 420"/>
              <a:gd name="T17" fmla="*/ 2147483647 h 254"/>
              <a:gd name="T18" fmla="*/ 2147483647 w 420"/>
              <a:gd name="T19" fmla="*/ 2147483647 h 254"/>
              <a:gd name="T20" fmla="*/ 2147483647 w 420"/>
              <a:gd name="T21" fmla="*/ 2147483647 h 254"/>
              <a:gd name="T22" fmla="*/ 2147483647 w 420"/>
              <a:gd name="T23" fmla="*/ 2147483647 h 254"/>
              <a:gd name="T24" fmla="*/ 2147483647 w 420"/>
              <a:gd name="T25" fmla="*/ 2147483647 h 254"/>
              <a:gd name="T26" fmla="*/ 2147483647 w 420"/>
              <a:gd name="T27" fmla="*/ 2147483647 h 254"/>
              <a:gd name="T28" fmla="*/ 2147483647 w 420"/>
              <a:gd name="T29" fmla="*/ 2147483647 h 254"/>
              <a:gd name="T30" fmla="*/ 2147483647 w 420"/>
              <a:gd name="T31" fmla="*/ 2147483647 h 254"/>
              <a:gd name="T32" fmla="*/ 2147483647 w 420"/>
              <a:gd name="T33" fmla="*/ 2147483647 h 254"/>
              <a:gd name="T34" fmla="*/ 2147483647 w 420"/>
              <a:gd name="T35" fmla="*/ 2147483647 h 254"/>
              <a:gd name="T36" fmla="*/ 2147483647 w 420"/>
              <a:gd name="T37" fmla="*/ 2147483647 h 254"/>
              <a:gd name="T38" fmla="*/ 2147483647 w 420"/>
              <a:gd name="T39" fmla="*/ 2147483647 h 254"/>
              <a:gd name="T40" fmla="*/ 2147483647 w 420"/>
              <a:gd name="T41" fmla="*/ 2147483647 h 254"/>
              <a:gd name="T42" fmla="*/ 2147483647 w 420"/>
              <a:gd name="T43" fmla="*/ 2147483647 h 254"/>
              <a:gd name="T44" fmla="*/ 2147483647 w 420"/>
              <a:gd name="T45" fmla="*/ 2147483647 h 254"/>
              <a:gd name="T46" fmla="*/ 2147483647 w 420"/>
              <a:gd name="T47" fmla="*/ 2147483647 h 254"/>
              <a:gd name="T48" fmla="*/ 2147483647 w 420"/>
              <a:gd name="T49" fmla="*/ 2147483647 h 254"/>
              <a:gd name="T50" fmla="*/ 2147483647 w 420"/>
              <a:gd name="T51" fmla="*/ 2147483647 h 254"/>
              <a:gd name="T52" fmla="*/ 2147483647 w 420"/>
              <a:gd name="T53" fmla="*/ 2147483647 h 254"/>
              <a:gd name="T54" fmla="*/ 2147483647 w 420"/>
              <a:gd name="T55" fmla="*/ 2147483647 h 254"/>
              <a:gd name="T56" fmla="*/ 2147483647 w 420"/>
              <a:gd name="T57" fmla="*/ 2147483647 h 254"/>
              <a:gd name="T58" fmla="*/ 2147483647 w 420"/>
              <a:gd name="T59" fmla="*/ 2147483647 h 254"/>
              <a:gd name="T60" fmla="*/ 2147483647 w 420"/>
              <a:gd name="T61" fmla="*/ 2147483647 h 254"/>
              <a:gd name="T62" fmla="*/ 2147483647 w 420"/>
              <a:gd name="T63" fmla="*/ 2147483647 h 254"/>
              <a:gd name="T64" fmla="*/ 2147483647 w 420"/>
              <a:gd name="T65" fmla="*/ 0 h 254"/>
              <a:gd name="T66" fmla="*/ 2147483647 w 420"/>
              <a:gd name="T67" fmla="*/ 2147483647 h 254"/>
              <a:gd name="T68" fmla="*/ 2147483647 w 420"/>
              <a:gd name="T69" fmla="*/ 2147483647 h 254"/>
              <a:gd name="T70" fmla="*/ 2147483647 w 420"/>
              <a:gd name="T71" fmla="*/ 2147483647 h 254"/>
              <a:gd name="T72" fmla="*/ 2147483647 w 420"/>
              <a:gd name="T73" fmla="*/ 2147483647 h 254"/>
              <a:gd name="T74" fmla="*/ 2147483647 w 420"/>
              <a:gd name="T75" fmla="*/ 2147483647 h 254"/>
              <a:gd name="T76" fmla="*/ 2147483647 w 420"/>
              <a:gd name="T77" fmla="*/ 2147483647 h 254"/>
              <a:gd name="T78" fmla="*/ 2147483647 w 420"/>
              <a:gd name="T79" fmla="*/ 2147483647 h 254"/>
              <a:gd name="T80" fmla="*/ 2147483647 w 420"/>
              <a:gd name="T81" fmla="*/ 2147483647 h 254"/>
              <a:gd name="T82" fmla="*/ 2147483647 w 420"/>
              <a:gd name="T83" fmla="*/ 2147483647 h 254"/>
              <a:gd name="T84" fmla="*/ 2147483647 w 420"/>
              <a:gd name="T85" fmla="*/ 2147483647 h 254"/>
              <a:gd name="T86" fmla="*/ 2147483647 w 420"/>
              <a:gd name="T87" fmla="*/ 2147483647 h 254"/>
              <a:gd name="T88" fmla="*/ 2147483647 w 420"/>
              <a:gd name="T89" fmla="*/ 2147483647 h 254"/>
              <a:gd name="T90" fmla="*/ 2147483647 w 420"/>
              <a:gd name="T91" fmla="*/ 2147483647 h 254"/>
              <a:gd name="T92" fmla="*/ 2147483647 w 420"/>
              <a:gd name="T93" fmla="*/ 2147483647 h 254"/>
              <a:gd name="T94" fmla="*/ 2147483647 w 420"/>
              <a:gd name="T95" fmla="*/ 2147483647 h 254"/>
              <a:gd name="T96" fmla="*/ 2147483647 w 420"/>
              <a:gd name="T97" fmla="*/ 2147483647 h 254"/>
              <a:gd name="T98" fmla="*/ 2147483647 w 420"/>
              <a:gd name="T99" fmla="*/ 2147483647 h 254"/>
              <a:gd name="T100" fmla="*/ 2147483647 w 420"/>
              <a:gd name="T101" fmla="*/ 2147483647 h 254"/>
              <a:gd name="T102" fmla="*/ 2147483647 w 420"/>
              <a:gd name="T103" fmla="*/ 2147483647 h 254"/>
              <a:gd name="T104" fmla="*/ 2147483647 w 420"/>
              <a:gd name="T105" fmla="*/ 2147483647 h 254"/>
              <a:gd name="T106" fmla="*/ 2147483647 w 420"/>
              <a:gd name="T107" fmla="*/ 2147483647 h 254"/>
              <a:gd name="T108" fmla="*/ 2147483647 w 420"/>
              <a:gd name="T109" fmla="*/ 2147483647 h 254"/>
              <a:gd name="T110" fmla="*/ 2147483647 w 420"/>
              <a:gd name="T111" fmla="*/ 2147483647 h 254"/>
              <a:gd name="T112" fmla="*/ 2147483647 w 420"/>
              <a:gd name="T113" fmla="*/ 2147483647 h 254"/>
              <a:gd name="T114" fmla="*/ 2147483647 w 420"/>
              <a:gd name="T115" fmla="*/ 2147483647 h 254"/>
              <a:gd name="T116" fmla="*/ 2147483647 w 420"/>
              <a:gd name="T117" fmla="*/ 2147483647 h 254"/>
              <a:gd name="T118" fmla="*/ 2147483647 w 420"/>
              <a:gd name="T119" fmla="*/ 2147483647 h 254"/>
              <a:gd name="T120" fmla="*/ 0 w 420"/>
              <a:gd name="T121" fmla="*/ 2147483647 h 254"/>
              <a:gd name="T122" fmla="*/ 2147483647 w 420"/>
              <a:gd name="T123" fmla="*/ 2147483647 h 25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420"/>
              <a:gd name="T187" fmla="*/ 0 h 254"/>
              <a:gd name="T188" fmla="*/ 420 w 420"/>
              <a:gd name="T189" fmla="*/ 254 h 254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420" h="254">
                <a:moveTo>
                  <a:pt x="2" y="161"/>
                </a:moveTo>
                <a:lnTo>
                  <a:pt x="15" y="172"/>
                </a:lnTo>
                <a:lnTo>
                  <a:pt x="13" y="178"/>
                </a:lnTo>
                <a:lnTo>
                  <a:pt x="17" y="189"/>
                </a:lnTo>
                <a:lnTo>
                  <a:pt x="28" y="189"/>
                </a:lnTo>
                <a:lnTo>
                  <a:pt x="70" y="230"/>
                </a:lnTo>
                <a:lnTo>
                  <a:pt x="83" y="232"/>
                </a:lnTo>
                <a:lnTo>
                  <a:pt x="117" y="254"/>
                </a:lnTo>
                <a:lnTo>
                  <a:pt x="133" y="241"/>
                </a:lnTo>
                <a:lnTo>
                  <a:pt x="157" y="243"/>
                </a:lnTo>
                <a:lnTo>
                  <a:pt x="165" y="248"/>
                </a:lnTo>
                <a:lnTo>
                  <a:pt x="183" y="241"/>
                </a:lnTo>
                <a:lnTo>
                  <a:pt x="220" y="226"/>
                </a:lnTo>
                <a:lnTo>
                  <a:pt x="263" y="219"/>
                </a:lnTo>
                <a:lnTo>
                  <a:pt x="281" y="222"/>
                </a:lnTo>
                <a:lnTo>
                  <a:pt x="287" y="232"/>
                </a:lnTo>
                <a:lnTo>
                  <a:pt x="302" y="215"/>
                </a:lnTo>
                <a:lnTo>
                  <a:pt x="322" y="208"/>
                </a:lnTo>
                <a:lnTo>
                  <a:pt x="341" y="205"/>
                </a:lnTo>
                <a:lnTo>
                  <a:pt x="374" y="172"/>
                </a:lnTo>
                <a:lnTo>
                  <a:pt x="383" y="152"/>
                </a:lnTo>
                <a:lnTo>
                  <a:pt x="387" y="113"/>
                </a:lnTo>
                <a:lnTo>
                  <a:pt x="391" y="81"/>
                </a:lnTo>
                <a:lnTo>
                  <a:pt x="404" y="80"/>
                </a:lnTo>
                <a:lnTo>
                  <a:pt x="414" y="68"/>
                </a:lnTo>
                <a:lnTo>
                  <a:pt x="420" y="59"/>
                </a:lnTo>
                <a:lnTo>
                  <a:pt x="407" y="50"/>
                </a:lnTo>
                <a:lnTo>
                  <a:pt x="400" y="54"/>
                </a:lnTo>
                <a:lnTo>
                  <a:pt x="381" y="50"/>
                </a:lnTo>
                <a:lnTo>
                  <a:pt x="370" y="35"/>
                </a:lnTo>
                <a:lnTo>
                  <a:pt x="359" y="15"/>
                </a:lnTo>
                <a:lnTo>
                  <a:pt x="346" y="15"/>
                </a:lnTo>
                <a:lnTo>
                  <a:pt x="326" y="0"/>
                </a:lnTo>
                <a:lnTo>
                  <a:pt x="315" y="2"/>
                </a:lnTo>
                <a:lnTo>
                  <a:pt x="274" y="7"/>
                </a:lnTo>
                <a:lnTo>
                  <a:pt x="266" y="19"/>
                </a:lnTo>
                <a:lnTo>
                  <a:pt x="255" y="33"/>
                </a:lnTo>
                <a:lnTo>
                  <a:pt x="240" y="41"/>
                </a:lnTo>
                <a:lnTo>
                  <a:pt x="226" y="44"/>
                </a:lnTo>
                <a:lnTo>
                  <a:pt x="216" y="41"/>
                </a:lnTo>
                <a:lnTo>
                  <a:pt x="207" y="35"/>
                </a:lnTo>
                <a:lnTo>
                  <a:pt x="200" y="33"/>
                </a:lnTo>
                <a:lnTo>
                  <a:pt x="187" y="39"/>
                </a:lnTo>
                <a:lnTo>
                  <a:pt x="170" y="48"/>
                </a:lnTo>
                <a:lnTo>
                  <a:pt x="135" y="63"/>
                </a:lnTo>
                <a:lnTo>
                  <a:pt x="120" y="65"/>
                </a:lnTo>
                <a:lnTo>
                  <a:pt x="83" y="63"/>
                </a:lnTo>
                <a:lnTo>
                  <a:pt x="78" y="61"/>
                </a:lnTo>
                <a:lnTo>
                  <a:pt x="68" y="46"/>
                </a:lnTo>
                <a:lnTo>
                  <a:pt x="56" y="39"/>
                </a:lnTo>
                <a:lnTo>
                  <a:pt x="52" y="44"/>
                </a:lnTo>
                <a:lnTo>
                  <a:pt x="50" y="59"/>
                </a:lnTo>
                <a:lnTo>
                  <a:pt x="43" y="74"/>
                </a:lnTo>
                <a:lnTo>
                  <a:pt x="30" y="74"/>
                </a:lnTo>
                <a:lnTo>
                  <a:pt x="26" y="78"/>
                </a:lnTo>
                <a:lnTo>
                  <a:pt x="33" y="93"/>
                </a:lnTo>
                <a:lnTo>
                  <a:pt x="31" y="108"/>
                </a:lnTo>
                <a:lnTo>
                  <a:pt x="22" y="122"/>
                </a:lnTo>
                <a:lnTo>
                  <a:pt x="15" y="128"/>
                </a:lnTo>
                <a:lnTo>
                  <a:pt x="4" y="133"/>
                </a:lnTo>
                <a:lnTo>
                  <a:pt x="0" y="145"/>
                </a:lnTo>
                <a:lnTo>
                  <a:pt x="2" y="161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44" name="Freeform 15"/>
          <p:cNvSpPr>
            <a:spLocks/>
          </p:cNvSpPr>
          <p:nvPr/>
        </p:nvSpPr>
        <p:spPr bwMode="auto">
          <a:xfrm>
            <a:off x="2797755" y="4160116"/>
            <a:ext cx="300530" cy="181797"/>
          </a:xfrm>
          <a:custGeom>
            <a:avLst/>
            <a:gdLst>
              <a:gd name="T0" fmla="*/ 2147483647 w 199"/>
              <a:gd name="T1" fmla="*/ 2147483647 h 115"/>
              <a:gd name="T2" fmla="*/ 2147483647 w 199"/>
              <a:gd name="T3" fmla="*/ 2147483647 h 115"/>
              <a:gd name="T4" fmla="*/ 2147483647 w 199"/>
              <a:gd name="T5" fmla="*/ 2147483647 h 115"/>
              <a:gd name="T6" fmla="*/ 2147483647 w 199"/>
              <a:gd name="T7" fmla="*/ 2147483647 h 115"/>
              <a:gd name="T8" fmla="*/ 2147483647 w 199"/>
              <a:gd name="T9" fmla="*/ 2147483647 h 115"/>
              <a:gd name="T10" fmla="*/ 0 w 199"/>
              <a:gd name="T11" fmla="*/ 2147483647 h 115"/>
              <a:gd name="T12" fmla="*/ 2147483647 w 199"/>
              <a:gd name="T13" fmla="*/ 2147483647 h 115"/>
              <a:gd name="T14" fmla="*/ 2147483647 w 199"/>
              <a:gd name="T15" fmla="*/ 2147483647 h 115"/>
              <a:gd name="T16" fmla="*/ 2147483647 w 199"/>
              <a:gd name="T17" fmla="*/ 2147483647 h 115"/>
              <a:gd name="T18" fmla="*/ 2147483647 w 199"/>
              <a:gd name="T19" fmla="*/ 2147483647 h 115"/>
              <a:gd name="T20" fmla="*/ 2147483647 w 199"/>
              <a:gd name="T21" fmla="*/ 2147483647 h 115"/>
              <a:gd name="T22" fmla="*/ 2147483647 w 199"/>
              <a:gd name="T23" fmla="*/ 2147483647 h 115"/>
              <a:gd name="T24" fmla="*/ 2147483647 w 199"/>
              <a:gd name="T25" fmla="*/ 2147483647 h 115"/>
              <a:gd name="T26" fmla="*/ 2147483647 w 199"/>
              <a:gd name="T27" fmla="*/ 2147483647 h 115"/>
              <a:gd name="T28" fmla="*/ 2147483647 w 199"/>
              <a:gd name="T29" fmla="*/ 2147483647 h 115"/>
              <a:gd name="T30" fmla="*/ 2147483647 w 199"/>
              <a:gd name="T31" fmla="*/ 2147483647 h 115"/>
              <a:gd name="T32" fmla="*/ 2147483647 w 199"/>
              <a:gd name="T33" fmla="*/ 0 h 115"/>
              <a:gd name="T34" fmla="*/ 2147483647 w 199"/>
              <a:gd name="T35" fmla="*/ 2147483647 h 115"/>
              <a:gd name="T36" fmla="*/ 2147483647 w 199"/>
              <a:gd name="T37" fmla="*/ 2147483647 h 115"/>
              <a:gd name="T38" fmla="*/ 2147483647 w 199"/>
              <a:gd name="T39" fmla="*/ 2147483647 h 115"/>
              <a:gd name="T40" fmla="*/ 2147483647 w 199"/>
              <a:gd name="T41" fmla="*/ 2147483647 h 115"/>
              <a:gd name="T42" fmla="*/ 2147483647 w 199"/>
              <a:gd name="T43" fmla="*/ 2147483647 h 115"/>
              <a:gd name="T44" fmla="*/ 2147483647 w 199"/>
              <a:gd name="T45" fmla="*/ 2147483647 h 115"/>
              <a:gd name="T46" fmla="*/ 2147483647 w 199"/>
              <a:gd name="T47" fmla="*/ 2147483647 h 115"/>
              <a:gd name="T48" fmla="*/ 2147483647 w 199"/>
              <a:gd name="T49" fmla="*/ 2147483647 h 115"/>
              <a:gd name="T50" fmla="*/ 2147483647 w 199"/>
              <a:gd name="T51" fmla="*/ 2147483647 h 115"/>
              <a:gd name="T52" fmla="*/ 2147483647 w 199"/>
              <a:gd name="T53" fmla="*/ 2147483647 h 115"/>
              <a:gd name="T54" fmla="*/ 2147483647 w 199"/>
              <a:gd name="T55" fmla="*/ 2147483647 h 115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99"/>
              <a:gd name="T85" fmla="*/ 0 h 115"/>
              <a:gd name="T86" fmla="*/ 199 w 199"/>
              <a:gd name="T87" fmla="*/ 115 h 115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99" h="115">
                <a:moveTo>
                  <a:pt x="17" y="63"/>
                </a:moveTo>
                <a:lnTo>
                  <a:pt x="37" y="83"/>
                </a:lnTo>
                <a:lnTo>
                  <a:pt x="31" y="93"/>
                </a:lnTo>
                <a:lnTo>
                  <a:pt x="22" y="100"/>
                </a:lnTo>
                <a:lnTo>
                  <a:pt x="11" y="102"/>
                </a:lnTo>
                <a:lnTo>
                  <a:pt x="0" y="104"/>
                </a:lnTo>
                <a:lnTo>
                  <a:pt x="20" y="113"/>
                </a:lnTo>
                <a:lnTo>
                  <a:pt x="28" y="115"/>
                </a:lnTo>
                <a:lnTo>
                  <a:pt x="53" y="100"/>
                </a:lnTo>
                <a:lnTo>
                  <a:pt x="108" y="114"/>
                </a:lnTo>
                <a:lnTo>
                  <a:pt x="144" y="74"/>
                </a:lnTo>
                <a:lnTo>
                  <a:pt x="151" y="57"/>
                </a:lnTo>
                <a:lnTo>
                  <a:pt x="158" y="52"/>
                </a:lnTo>
                <a:lnTo>
                  <a:pt x="178" y="54"/>
                </a:lnTo>
                <a:lnTo>
                  <a:pt x="199" y="30"/>
                </a:lnTo>
                <a:lnTo>
                  <a:pt x="197" y="15"/>
                </a:lnTo>
                <a:lnTo>
                  <a:pt x="183" y="0"/>
                </a:lnTo>
                <a:lnTo>
                  <a:pt x="173" y="2"/>
                </a:lnTo>
                <a:lnTo>
                  <a:pt x="163" y="5"/>
                </a:lnTo>
                <a:lnTo>
                  <a:pt x="145" y="1"/>
                </a:lnTo>
                <a:lnTo>
                  <a:pt x="127" y="2"/>
                </a:lnTo>
                <a:lnTo>
                  <a:pt x="109" y="7"/>
                </a:lnTo>
                <a:lnTo>
                  <a:pt x="84" y="5"/>
                </a:lnTo>
                <a:lnTo>
                  <a:pt x="73" y="20"/>
                </a:lnTo>
                <a:lnTo>
                  <a:pt x="31" y="7"/>
                </a:lnTo>
                <a:lnTo>
                  <a:pt x="15" y="7"/>
                </a:lnTo>
                <a:lnTo>
                  <a:pt x="15" y="32"/>
                </a:lnTo>
                <a:lnTo>
                  <a:pt x="17" y="63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45" name="Freeform 17"/>
          <p:cNvSpPr>
            <a:spLocks/>
          </p:cNvSpPr>
          <p:nvPr/>
        </p:nvSpPr>
        <p:spPr bwMode="auto">
          <a:xfrm>
            <a:off x="3344447" y="4767160"/>
            <a:ext cx="223509" cy="392049"/>
          </a:xfrm>
          <a:custGeom>
            <a:avLst/>
            <a:gdLst>
              <a:gd name="T0" fmla="*/ 2147483647 w 148"/>
              <a:gd name="T1" fmla="*/ 2147483647 h 248"/>
              <a:gd name="T2" fmla="*/ 2147483647 w 148"/>
              <a:gd name="T3" fmla="*/ 2147483647 h 248"/>
              <a:gd name="T4" fmla="*/ 2147483647 w 148"/>
              <a:gd name="T5" fmla="*/ 2147483647 h 248"/>
              <a:gd name="T6" fmla="*/ 2147483647 w 148"/>
              <a:gd name="T7" fmla="*/ 2147483647 h 248"/>
              <a:gd name="T8" fmla="*/ 2147483647 w 148"/>
              <a:gd name="T9" fmla="*/ 2147483647 h 248"/>
              <a:gd name="T10" fmla="*/ 2147483647 w 148"/>
              <a:gd name="T11" fmla="*/ 2147483647 h 248"/>
              <a:gd name="T12" fmla="*/ 2147483647 w 148"/>
              <a:gd name="T13" fmla="*/ 2147483647 h 248"/>
              <a:gd name="T14" fmla="*/ 2147483647 w 148"/>
              <a:gd name="T15" fmla="*/ 2147483647 h 248"/>
              <a:gd name="T16" fmla="*/ 2147483647 w 148"/>
              <a:gd name="T17" fmla="*/ 2147483647 h 248"/>
              <a:gd name="T18" fmla="*/ 0 w 148"/>
              <a:gd name="T19" fmla="*/ 2147483647 h 248"/>
              <a:gd name="T20" fmla="*/ 2147483647 w 148"/>
              <a:gd name="T21" fmla="*/ 2147483647 h 248"/>
              <a:gd name="T22" fmla="*/ 2147483647 w 148"/>
              <a:gd name="T23" fmla="*/ 2147483647 h 248"/>
              <a:gd name="T24" fmla="*/ 2147483647 w 148"/>
              <a:gd name="T25" fmla="*/ 2147483647 h 248"/>
              <a:gd name="T26" fmla="*/ 2147483647 w 148"/>
              <a:gd name="T27" fmla="*/ 2147483647 h 248"/>
              <a:gd name="T28" fmla="*/ 2147483647 w 148"/>
              <a:gd name="T29" fmla="*/ 2147483647 h 248"/>
              <a:gd name="T30" fmla="*/ 2147483647 w 148"/>
              <a:gd name="T31" fmla="*/ 2147483647 h 248"/>
              <a:gd name="T32" fmla="*/ 2147483647 w 148"/>
              <a:gd name="T33" fmla="*/ 2147483647 h 248"/>
              <a:gd name="T34" fmla="*/ 2147483647 w 148"/>
              <a:gd name="T35" fmla="*/ 2147483647 h 248"/>
              <a:gd name="T36" fmla="*/ 2147483647 w 148"/>
              <a:gd name="T37" fmla="*/ 2147483647 h 248"/>
              <a:gd name="T38" fmla="*/ 2147483647 w 148"/>
              <a:gd name="T39" fmla="*/ 2147483647 h 248"/>
              <a:gd name="T40" fmla="*/ 2147483647 w 148"/>
              <a:gd name="T41" fmla="*/ 2147483647 h 248"/>
              <a:gd name="T42" fmla="*/ 2147483647 w 148"/>
              <a:gd name="T43" fmla="*/ 2147483647 h 248"/>
              <a:gd name="T44" fmla="*/ 2147483647 w 148"/>
              <a:gd name="T45" fmla="*/ 2147483647 h 248"/>
              <a:gd name="T46" fmla="*/ 2147483647 w 148"/>
              <a:gd name="T47" fmla="*/ 2147483647 h 248"/>
              <a:gd name="T48" fmla="*/ 2147483647 w 148"/>
              <a:gd name="T49" fmla="*/ 2147483647 h 248"/>
              <a:gd name="T50" fmla="*/ 2147483647 w 148"/>
              <a:gd name="T51" fmla="*/ 2147483647 h 248"/>
              <a:gd name="T52" fmla="*/ 2147483647 w 148"/>
              <a:gd name="T53" fmla="*/ 2147483647 h 248"/>
              <a:gd name="T54" fmla="*/ 2147483647 w 148"/>
              <a:gd name="T55" fmla="*/ 2147483647 h 248"/>
              <a:gd name="T56" fmla="*/ 2147483647 w 148"/>
              <a:gd name="T57" fmla="*/ 2147483647 h 248"/>
              <a:gd name="T58" fmla="*/ 2147483647 w 148"/>
              <a:gd name="T59" fmla="*/ 2147483647 h 248"/>
              <a:gd name="T60" fmla="*/ 2147483647 w 148"/>
              <a:gd name="T61" fmla="*/ 2147483647 h 248"/>
              <a:gd name="T62" fmla="*/ 2147483647 w 148"/>
              <a:gd name="T63" fmla="*/ 2147483647 h 248"/>
              <a:gd name="T64" fmla="*/ 2147483647 w 148"/>
              <a:gd name="T65" fmla="*/ 2147483647 h 248"/>
              <a:gd name="T66" fmla="*/ 2147483647 w 148"/>
              <a:gd name="T67" fmla="*/ 2147483647 h 248"/>
              <a:gd name="T68" fmla="*/ 2147483647 w 148"/>
              <a:gd name="T69" fmla="*/ 2147483647 h 248"/>
              <a:gd name="T70" fmla="*/ 2147483647 w 148"/>
              <a:gd name="T71" fmla="*/ 2147483647 h 248"/>
              <a:gd name="T72" fmla="*/ 2147483647 w 148"/>
              <a:gd name="T73" fmla="*/ 2147483647 h 248"/>
              <a:gd name="T74" fmla="*/ 2147483647 w 148"/>
              <a:gd name="T75" fmla="*/ 2147483647 h 248"/>
              <a:gd name="T76" fmla="*/ 2147483647 w 148"/>
              <a:gd name="T77" fmla="*/ 2147483647 h 248"/>
              <a:gd name="T78" fmla="*/ 2147483647 w 148"/>
              <a:gd name="T79" fmla="*/ 2147483647 h 248"/>
              <a:gd name="T80" fmla="*/ 2147483647 w 148"/>
              <a:gd name="T81" fmla="*/ 2147483647 h 248"/>
              <a:gd name="T82" fmla="*/ 2147483647 w 148"/>
              <a:gd name="T83" fmla="*/ 2147483647 h 248"/>
              <a:gd name="T84" fmla="*/ 2147483647 w 148"/>
              <a:gd name="T85" fmla="*/ 2147483647 h 248"/>
              <a:gd name="T86" fmla="*/ 2147483647 w 148"/>
              <a:gd name="T87" fmla="*/ 0 h 248"/>
              <a:gd name="T88" fmla="*/ 2147483647 w 148"/>
              <a:gd name="T89" fmla="*/ 2147483647 h 248"/>
              <a:gd name="T90" fmla="*/ 2147483647 w 148"/>
              <a:gd name="T91" fmla="*/ 2147483647 h 248"/>
              <a:gd name="T92" fmla="*/ 2147483647 w 148"/>
              <a:gd name="T93" fmla="*/ 2147483647 h 248"/>
              <a:gd name="T94" fmla="*/ 2147483647 w 148"/>
              <a:gd name="T95" fmla="*/ 0 h 248"/>
              <a:gd name="T96" fmla="*/ 2147483647 w 148"/>
              <a:gd name="T97" fmla="*/ 2147483647 h 248"/>
              <a:gd name="T98" fmla="*/ 2147483647 w 148"/>
              <a:gd name="T99" fmla="*/ 2147483647 h 248"/>
              <a:gd name="T100" fmla="*/ 2147483647 w 148"/>
              <a:gd name="T101" fmla="*/ 2147483647 h 248"/>
              <a:gd name="T102" fmla="*/ 2147483647 w 148"/>
              <a:gd name="T103" fmla="*/ 2147483647 h 248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48"/>
              <a:gd name="T157" fmla="*/ 0 h 248"/>
              <a:gd name="T158" fmla="*/ 148 w 148"/>
              <a:gd name="T159" fmla="*/ 248 h 248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48" h="248">
                <a:moveTo>
                  <a:pt x="11" y="56"/>
                </a:moveTo>
                <a:lnTo>
                  <a:pt x="20" y="63"/>
                </a:lnTo>
                <a:lnTo>
                  <a:pt x="20" y="74"/>
                </a:lnTo>
                <a:lnTo>
                  <a:pt x="19" y="81"/>
                </a:lnTo>
                <a:lnTo>
                  <a:pt x="13" y="91"/>
                </a:lnTo>
                <a:lnTo>
                  <a:pt x="13" y="115"/>
                </a:lnTo>
                <a:lnTo>
                  <a:pt x="17" y="124"/>
                </a:lnTo>
                <a:lnTo>
                  <a:pt x="4" y="144"/>
                </a:lnTo>
                <a:lnTo>
                  <a:pt x="7" y="148"/>
                </a:lnTo>
                <a:lnTo>
                  <a:pt x="0" y="159"/>
                </a:lnTo>
                <a:lnTo>
                  <a:pt x="6" y="170"/>
                </a:lnTo>
                <a:lnTo>
                  <a:pt x="7" y="178"/>
                </a:lnTo>
                <a:lnTo>
                  <a:pt x="11" y="168"/>
                </a:lnTo>
                <a:lnTo>
                  <a:pt x="22" y="181"/>
                </a:lnTo>
                <a:lnTo>
                  <a:pt x="20" y="194"/>
                </a:lnTo>
                <a:lnTo>
                  <a:pt x="15" y="200"/>
                </a:lnTo>
                <a:lnTo>
                  <a:pt x="22" y="211"/>
                </a:lnTo>
                <a:lnTo>
                  <a:pt x="31" y="215"/>
                </a:lnTo>
                <a:lnTo>
                  <a:pt x="46" y="224"/>
                </a:lnTo>
                <a:lnTo>
                  <a:pt x="59" y="235"/>
                </a:lnTo>
                <a:lnTo>
                  <a:pt x="61" y="242"/>
                </a:lnTo>
                <a:lnTo>
                  <a:pt x="76" y="248"/>
                </a:lnTo>
                <a:lnTo>
                  <a:pt x="89" y="242"/>
                </a:lnTo>
                <a:lnTo>
                  <a:pt x="105" y="233"/>
                </a:lnTo>
                <a:lnTo>
                  <a:pt x="113" y="217"/>
                </a:lnTo>
                <a:lnTo>
                  <a:pt x="120" y="207"/>
                </a:lnTo>
                <a:lnTo>
                  <a:pt x="133" y="183"/>
                </a:lnTo>
                <a:lnTo>
                  <a:pt x="137" y="165"/>
                </a:lnTo>
                <a:lnTo>
                  <a:pt x="139" y="148"/>
                </a:lnTo>
                <a:lnTo>
                  <a:pt x="148" y="137"/>
                </a:lnTo>
                <a:lnTo>
                  <a:pt x="133" y="133"/>
                </a:lnTo>
                <a:lnTo>
                  <a:pt x="128" y="126"/>
                </a:lnTo>
                <a:lnTo>
                  <a:pt x="120" y="128"/>
                </a:lnTo>
                <a:lnTo>
                  <a:pt x="107" y="122"/>
                </a:lnTo>
                <a:lnTo>
                  <a:pt x="104" y="105"/>
                </a:lnTo>
                <a:lnTo>
                  <a:pt x="100" y="93"/>
                </a:lnTo>
                <a:lnTo>
                  <a:pt x="107" y="80"/>
                </a:lnTo>
                <a:lnTo>
                  <a:pt x="107" y="41"/>
                </a:lnTo>
                <a:lnTo>
                  <a:pt x="107" y="28"/>
                </a:lnTo>
                <a:lnTo>
                  <a:pt x="100" y="20"/>
                </a:lnTo>
                <a:lnTo>
                  <a:pt x="87" y="19"/>
                </a:lnTo>
                <a:lnTo>
                  <a:pt x="78" y="15"/>
                </a:lnTo>
                <a:lnTo>
                  <a:pt x="70" y="2"/>
                </a:lnTo>
                <a:lnTo>
                  <a:pt x="61" y="0"/>
                </a:lnTo>
                <a:lnTo>
                  <a:pt x="57" y="6"/>
                </a:lnTo>
                <a:lnTo>
                  <a:pt x="56" y="2"/>
                </a:lnTo>
                <a:lnTo>
                  <a:pt x="41" y="4"/>
                </a:lnTo>
                <a:lnTo>
                  <a:pt x="33" y="0"/>
                </a:lnTo>
                <a:lnTo>
                  <a:pt x="22" y="7"/>
                </a:lnTo>
                <a:lnTo>
                  <a:pt x="20" y="30"/>
                </a:lnTo>
                <a:lnTo>
                  <a:pt x="17" y="44"/>
                </a:lnTo>
                <a:lnTo>
                  <a:pt x="11" y="56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46" name="Freeform 19"/>
          <p:cNvSpPr>
            <a:spLocks/>
          </p:cNvSpPr>
          <p:nvPr/>
        </p:nvSpPr>
        <p:spPr bwMode="auto">
          <a:xfrm>
            <a:off x="1958086" y="3338078"/>
            <a:ext cx="317141" cy="292455"/>
          </a:xfrm>
          <a:custGeom>
            <a:avLst/>
            <a:gdLst>
              <a:gd name="T0" fmla="*/ 0 w 210"/>
              <a:gd name="T1" fmla="*/ 2147483647 h 185"/>
              <a:gd name="T2" fmla="*/ 2147483647 w 210"/>
              <a:gd name="T3" fmla="*/ 2147483647 h 185"/>
              <a:gd name="T4" fmla="*/ 2147483647 w 210"/>
              <a:gd name="T5" fmla="*/ 2147483647 h 185"/>
              <a:gd name="T6" fmla="*/ 2147483647 w 210"/>
              <a:gd name="T7" fmla="*/ 0 h 185"/>
              <a:gd name="T8" fmla="*/ 2147483647 w 210"/>
              <a:gd name="T9" fmla="*/ 2147483647 h 185"/>
              <a:gd name="T10" fmla="*/ 2147483647 w 210"/>
              <a:gd name="T11" fmla="*/ 2147483647 h 185"/>
              <a:gd name="T12" fmla="*/ 2147483647 w 210"/>
              <a:gd name="T13" fmla="*/ 2147483647 h 185"/>
              <a:gd name="T14" fmla="*/ 2147483647 w 210"/>
              <a:gd name="T15" fmla="*/ 2147483647 h 185"/>
              <a:gd name="T16" fmla="*/ 2147483647 w 210"/>
              <a:gd name="T17" fmla="*/ 2147483647 h 185"/>
              <a:gd name="T18" fmla="*/ 2147483647 w 210"/>
              <a:gd name="T19" fmla="*/ 2147483647 h 185"/>
              <a:gd name="T20" fmla="*/ 2147483647 w 210"/>
              <a:gd name="T21" fmla="*/ 2147483647 h 185"/>
              <a:gd name="T22" fmla="*/ 2147483647 w 210"/>
              <a:gd name="T23" fmla="*/ 2147483647 h 185"/>
              <a:gd name="T24" fmla="*/ 2147483647 w 210"/>
              <a:gd name="T25" fmla="*/ 2147483647 h 185"/>
              <a:gd name="T26" fmla="*/ 2147483647 w 210"/>
              <a:gd name="T27" fmla="*/ 2147483647 h 185"/>
              <a:gd name="T28" fmla="*/ 2147483647 w 210"/>
              <a:gd name="T29" fmla="*/ 2147483647 h 185"/>
              <a:gd name="T30" fmla="*/ 2147483647 w 210"/>
              <a:gd name="T31" fmla="*/ 2147483647 h 185"/>
              <a:gd name="T32" fmla="*/ 2147483647 w 210"/>
              <a:gd name="T33" fmla="*/ 2147483647 h 185"/>
              <a:gd name="T34" fmla="*/ 2147483647 w 210"/>
              <a:gd name="T35" fmla="*/ 2147483647 h 185"/>
              <a:gd name="T36" fmla="*/ 2147483647 w 210"/>
              <a:gd name="T37" fmla="*/ 2147483647 h 185"/>
              <a:gd name="T38" fmla="*/ 2147483647 w 210"/>
              <a:gd name="T39" fmla="*/ 2147483647 h 185"/>
              <a:gd name="T40" fmla="*/ 2147483647 w 210"/>
              <a:gd name="T41" fmla="*/ 2147483647 h 185"/>
              <a:gd name="T42" fmla="*/ 2147483647 w 210"/>
              <a:gd name="T43" fmla="*/ 2147483647 h 185"/>
              <a:gd name="T44" fmla="*/ 2147483647 w 210"/>
              <a:gd name="T45" fmla="*/ 2147483647 h 185"/>
              <a:gd name="T46" fmla="*/ 2147483647 w 210"/>
              <a:gd name="T47" fmla="*/ 2147483647 h 185"/>
              <a:gd name="T48" fmla="*/ 2147483647 w 210"/>
              <a:gd name="T49" fmla="*/ 2147483647 h 185"/>
              <a:gd name="T50" fmla="*/ 2147483647 w 210"/>
              <a:gd name="T51" fmla="*/ 2147483647 h 185"/>
              <a:gd name="T52" fmla="*/ 2147483647 w 210"/>
              <a:gd name="T53" fmla="*/ 2147483647 h 185"/>
              <a:gd name="T54" fmla="*/ 2147483647 w 210"/>
              <a:gd name="T55" fmla="*/ 2147483647 h 185"/>
              <a:gd name="T56" fmla="*/ 2147483647 w 210"/>
              <a:gd name="T57" fmla="*/ 2147483647 h 185"/>
              <a:gd name="T58" fmla="*/ 2147483647 w 210"/>
              <a:gd name="T59" fmla="*/ 2147483647 h 185"/>
              <a:gd name="T60" fmla="*/ 2147483647 w 210"/>
              <a:gd name="T61" fmla="*/ 2147483647 h 185"/>
              <a:gd name="T62" fmla="*/ 2147483647 w 210"/>
              <a:gd name="T63" fmla="*/ 2147483647 h 185"/>
              <a:gd name="T64" fmla="*/ 2147483647 w 210"/>
              <a:gd name="T65" fmla="*/ 2147483647 h 185"/>
              <a:gd name="T66" fmla="*/ 2147483647 w 210"/>
              <a:gd name="T67" fmla="*/ 2147483647 h 185"/>
              <a:gd name="T68" fmla="*/ 2147483647 w 210"/>
              <a:gd name="T69" fmla="*/ 2147483647 h 185"/>
              <a:gd name="T70" fmla="*/ 2147483647 w 210"/>
              <a:gd name="T71" fmla="*/ 2147483647 h 185"/>
              <a:gd name="T72" fmla="*/ 2147483647 w 210"/>
              <a:gd name="T73" fmla="*/ 2147483647 h 185"/>
              <a:gd name="T74" fmla="*/ 2147483647 w 210"/>
              <a:gd name="T75" fmla="*/ 2147483647 h 185"/>
              <a:gd name="T76" fmla="*/ 2147483647 w 210"/>
              <a:gd name="T77" fmla="*/ 2147483647 h 185"/>
              <a:gd name="T78" fmla="*/ 0 w 210"/>
              <a:gd name="T79" fmla="*/ 2147483647 h 18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10"/>
              <a:gd name="T121" fmla="*/ 0 h 185"/>
              <a:gd name="T122" fmla="*/ 210 w 210"/>
              <a:gd name="T123" fmla="*/ 185 h 185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10" h="185">
                <a:moveTo>
                  <a:pt x="0" y="33"/>
                </a:moveTo>
                <a:lnTo>
                  <a:pt x="5" y="26"/>
                </a:lnTo>
                <a:lnTo>
                  <a:pt x="3" y="17"/>
                </a:lnTo>
                <a:lnTo>
                  <a:pt x="35" y="0"/>
                </a:lnTo>
                <a:lnTo>
                  <a:pt x="38" y="6"/>
                </a:lnTo>
                <a:lnTo>
                  <a:pt x="61" y="2"/>
                </a:lnTo>
                <a:lnTo>
                  <a:pt x="79" y="3"/>
                </a:lnTo>
                <a:lnTo>
                  <a:pt x="72" y="12"/>
                </a:lnTo>
                <a:lnTo>
                  <a:pt x="76" y="24"/>
                </a:lnTo>
                <a:lnTo>
                  <a:pt x="91" y="29"/>
                </a:lnTo>
                <a:lnTo>
                  <a:pt x="106" y="28"/>
                </a:lnTo>
                <a:lnTo>
                  <a:pt x="118" y="19"/>
                </a:lnTo>
                <a:lnTo>
                  <a:pt x="138" y="17"/>
                </a:lnTo>
                <a:lnTo>
                  <a:pt x="144" y="25"/>
                </a:lnTo>
                <a:lnTo>
                  <a:pt x="156" y="32"/>
                </a:lnTo>
                <a:lnTo>
                  <a:pt x="173" y="33"/>
                </a:lnTo>
                <a:lnTo>
                  <a:pt x="170" y="47"/>
                </a:lnTo>
                <a:lnTo>
                  <a:pt x="171" y="75"/>
                </a:lnTo>
                <a:lnTo>
                  <a:pt x="174" y="92"/>
                </a:lnTo>
                <a:lnTo>
                  <a:pt x="193" y="90"/>
                </a:lnTo>
                <a:lnTo>
                  <a:pt x="199" y="102"/>
                </a:lnTo>
                <a:lnTo>
                  <a:pt x="200" y="112"/>
                </a:lnTo>
                <a:lnTo>
                  <a:pt x="210" y="126"/>
                </a:lnTo>
                <a:lnTo>
                  <a:pt x="198" y="136"/>
                </a:lnTo>
                <a:lnTo>
                  <a:pt x="187" y="144"/>
                </a:lnTo>
                <a:lnTo>
                  <a:pt x="175" y="144"/>
                </a:lnTo>
                <a:lnTo>
                  <a:pt x="161" y="148"/>
                </a:lnTo>
                <a:lnTo>
                  <a:pt x="161" y="163"/>
                </a:lnTo>
                <a:lnTo>
                  <a:pt x="155" y="173"/>
                </a:lnTo>
                <a:lnTo>
                  <a:pt x="140" y="185"/>
                </a:lnTo>
                <a:lnTo>
                  <a:pt x="115" y="166"/>
                </a:lnTo>
                <a:lnTo>
                  <a:pt x="108" y="149"/>
                </a:lnTo>
                <a:lnTo>
                  <a:pt x="85" y="144"/>
                </a:lnTo>
                <a:lnTo>
                  <a:pt x="77" y="122"/>
                </a:lnTo>
                <a:lnTo>
                  <a:pt x="61" y="109"/>
                </a:lnTo>
                <a:lnTo>
                  <a:pt x="55" y="93"/>
                </a:lnTo>
                <a:lnTo>
                  <a:pt x="42" y="77"/>
                </a:lnTo>
                <a:lnTo>
                  <a:pt x="33" y="61"/>
                </a:lnTo>
                <a:lnTo>
                  <a:pt x="16" y="49"/>
                </a:lnTo>
                <a:lnTo>
                  <a:pt x="0" y="33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47" name="Freeform 20"/>
          <p:cNvSpPr>
            <a:spLocks/>
          </p:cNvSpPr>
          <p:nvPr/>
        </p:nvSpPr>
        <p:spPr bwMode="auto">
          <a:xfrm>
            <a:off x="2174044" y="3565720"/>
            <a:ext cx="86080" cy="112240"/>
          </a:xfrm>
          <a:custGeom>
            <a:avLst/>
            <a:gdLst>
              <a:gd name="T0" fmla="*/ 2147483647 w 57"/>
              <a:gd name="T1" fmla="*/ 2147483647 h 71"/>
              <a:gd name="T2" fmla="*/ 2147483647 w 57"/>
              <a:gd name="T3" fmla="*/ 2147483647 h 71"/>
              <a:gd name="T4" fmla="*/ 2147483647 w 57"/>
              <a:gd name="T5" fmla="*/ 2147483647 h 71"/>
              <a:gd name="T6" fmla="*/ 2147483647 w 57"/>
              <a:gd name="T7" fmla="*/ 2147483647 h 71"/>
              <a:gd name="T8" fmla="*/ 2147483647 w 57"/>
              <a:gd name="T9" fmla="*/ 2147483647 h 71"/>
              <a:gd name="T10" fmla="*/ 2147483647 w 57"/>
              <a:gd name="T11" fmla="*/ 2147483647 h 71"/>
              <a:gd name="T12" fmla="*/ 2147483647 w 57"/>
              <a:gd name="T13" fmla="*/ 0 h 71"/>
              <a:gd name="T14" fmla="*/ 2147483647 w 57"/>
              <a:gd name="T15" fmla="*/ 0 h 71"/>
              <a:gd name="T16" fmla="*/ 2147483647 w 57"/>
              <a:gd name="T17" fmla="*/ 2147483647 h 71"/>
              <a:gd name="T18" fmla="*/ 2147483647 w 57"/>
              <a:gd name="T19" fmla="*/ 2147483647 h 71"/>
              <a:gd name="T20" fmla="*/ 2147483647 w 57"/>
              <a:gd name="T21" fmla="*/ 2147483647 h 71"/>
              <a:gd name="T22" fmla="*/ 0 w 57"/>
              <a:gd name="T23" fmla="*/ 2147483647 h 71"/>
              <a:gd name="T24" fmla="*/ 2147483647 w 57"/>
              <a:gd name="T25" fmla="*/ 2147483647 h 71"/>
              <a:gd name="T26" fmla="*/ 2147483647 w 57"/>
              <a:gd name="T27" fmla="*/ 2147483647 h 71"/>
              <a:gd name="T28" fmla="*/ 2147483647 w 57"/>
              <a:gd name="T29" fmla="*/ 2147483647 h 71"/>
              <a:gd name="T30" fmla="*/ 2147483647 w 57"/>
              <a:gd name="T31" fmla="*/ 2147483647 h 71"/>
              <a:gd name="T32" fmla="*/ 2147483647 w 57"/>
              <a:gd name="T33" fmla="*/ 2147483647 h 7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57"/>
              <a:gd name="T52" fmla="*/ 0 h 71"/>
              <a:gd name="T53" fmla="*/ 57 w 57"/>
              <a:gd name="T54" fmla="*/ 71 h 7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57" h="71">
                <a:moveTo>
                  <a:pt x="41" y="71"/>
                </a:moveTo>
                <a:lnTo>
                  <a:pt x="44" y="48"/>
                </a:lnTo>
                <a:lnTo>
                  <a:pt x="57" y="39"/>
                </a:lnTo>
                <a:lnTo>
                  <a:pt x="57" y="28"/>
                </a:lnTo>
                <a:lnTo>
                  <a:pt x="50" y="20"/>
                </a:lnTo>
                <a:lnTo>
                  <a:pt x="43" y="9"/>
                </a:lnTo>
                <a:lnTo>
                  <a:pt x="39" y="0"/>
                </a:lnTo>
                <a:lnTo>
                  <a:pt x="26" y="0"/>
                </a:lnTo>
                <a:lnTo>
                  <a:pt x="17" y="4"/>
                </a:lnTo>
                <a:lnTo>
                  <a:pt x="17" y="19"/>
                </a:lnTo>
                <a:lnTo>
                  <a:pt x="9" y="32"/>
                </a:lnTo>
                <a:lnTo>
                  <a:pt x="0" y="36"/>
                </a:lnTo>
                <a:lnTo>
                  <a:pt x="4" y="47"/>
                </a:lnTo>
                <a:lnTo>
                  <a:pt x="16" y="50"/>
                </a:lnTo>
                <a:lnTo>
                  <a:pt x="28" y="53"/>
                </a:lnTo>
                <a:lnTo>
                  <a:pt x="35" y="60"/>
                </a:lnTo>
                <a:lnTo>
                  <a:pt x="41" y="71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48" name="Freeform 21"/>
          <p:cNvSpPr>
            <a:spLocks/>
          </p:cNvSpPr>
          <p:nvPr/>
        </p:nvSpPr>
        <p:spPr bwMode="auto">
          <a:xfrm>
            <a:off x="2068331" y="3124665"/>
            <a:ext cx="324692" cy="358851"/>
          </a:xfrm>
          <a:custGeom>
            <a:avLst/>
            <a:gdLst>
              <a:gd name="T0" fmla="*/ 2147483647 w 215"/>
              <a:gd name="T1" fmla="*/ 2147483647 h 227"/>
              <a:gd name="T2" fmla="*/ 2147483647 w 215"/>
              <a:gd name="T3" fmla="*/ 2147483647 h 227"/>
              <a:gd name="T4" fmla="*/ 2147483647 w 215"/>
              <a:gd name="T5" fmla="*/ 2147483647 h 227"/>
              <a:gd name="T6" fmla="*/ 2147483647 w 215"/>
              <a:gd name="T7" fmla="*/ 2147483647 h 227"/>
              <a:gd name="T8" fmla="*/ 2147483647 w 215"/>
              <a:gd name="T9" fmla="*/ 2147483647 h 227"/>
              <a:gd name="T10" fmla="*/ 2147483647 w 215"/>
              <a:gd name="T11" fmla="*/ 2147483647 h 227"/>
              <a:gd name="T12" fmla="*/ 2147483647 w 215"/>
              <a:gd name="T13" fmla="*/ 2147483647 h 227"/>
              <a:gd name="T14" fmla="*/ 2147483647 w 215"/>
              <a:gd name="T15" fmla="*/ 2147483647 h 227"/>
              <a:gd name="T16" fmla="*/ 2147483647 w 215"/>
              <a:gd name="T17" fmla="*/ 2147483647 h 227"/>
              <a:gd name="T18" fmla="*/ 2147483647 w 215"/>
              <a:gd name="T19" fmla="*/ 2147483647 h 227"/>
              <a:gd name="T20" fmla="*/ 2147483647 w 215"/>
              <a:gd name="T21" fmla="*/ 2147483647 h 227"/>
              <a:gd name="T22" fmla="*/ 2147483647 w 215"/>
              <a:gd name="T23" fmla="*/ 2147483647 h 227"/>
              <a:gd name="T24" fmla="*/ 2147483647 w 215"/>
              <a:gd name="T25" fmla="*/ 2147483647 h 227"/>
              <a:gd name="T26" fmla="*/ 0 w 215"/>
              <a:gd name="T27" fmla="*/ 2147483647 h 227"/>
              <a:gd name="T28" fmla="*/ 2147483647 w 215"/>
              <a:gd name="T29" fmla="*/ 2147483647 h 227"/>
              <a:gd name="T30" fmla="*/ 2147483647 w 215"/>
              <a:gd name="T31" fmla="*/ 2147483647 h 227"/>
              <a:gd name="T32" fmla="*/ 2147483647 w 215"/>
              <a:gd name="T33" fmla="*/ 2147483647 h 227"/>
              <a:gd name="T34" fmla="*/ 2147483647 w 215"/>
              <a:gd name="T35" fmla="*/ 2147483647 h 227"/>
              <a:gd name="T36" fmla="*/ 2147483647 w 215"/>
              <a:gd name="T37" fmla="*/ 2147483647 h 227"/>
              <a:gd name="T38" fmla="*/ 2147483647 w 215"/>
              <a:gd name="T39" fmla="*/ 2147483647 h 227"/>
              <a:gd name="T40" fmla="*/ 2147483647 w 215"/>
              <a:gd name="T41" fmla="*/ 2147483647 h 227"/>
              <a:gd name="T42" fmla="*/ 2147483647 w 215"/>
              <a:gd name="T43" fmla="*/ 2147483647 h 227"/>
              <a:gd name="T44" fmla="*/ 2147483647 w 215"/>
              <a:gd name="T45" fmla="*/ 2147483647 h 227"/>
              <a:gd name="T46" fmla="*/ 2147483647 w 215"/>
              <a:gd name="T47" fmla="*/ 2147483647 h 227"/>
              <a:gd name="T48" fmla="*/ 2147483647 w 215"/>
              <a:gd name="T49" fmla="*/ 2147483647 h 227"/>
              <a:gd name="T50" fmla="*/ 2147483647 w 215"/>
              <a:gd name="T51" fmla="*/ 2147483647 h 227"/>
              <a:gd name="T52" fmla="*/ 2147483647 w 215"/>
              <a:gd name="T53" fmla="*/ 2147483647 h 227"/>
              <a:gd name="T54" fmla="*/ 2147483647 w 215"/>
              <a:gd name="T55" fmla="*/ 2147483647 h 227"/>
              <a:gd name="T56" fmla="*/ 2147483647 w 215"/>
              <a:gd name="T57" fmla="*/ 2147483647 h 227"/>
              <a:gd name="T58" fmla="*/ 2147483647 w 215"/>
              <a:gd name="T59" fmla="*/ 2147483647 h 227"/>
              <a:gd name="T60" fmla="*/ 2147483647 w 215"/>
              <a:gd name="T61" fmla="*/ 2147483647 h 227"/>
              <a:gd name="T62" fmla="*/ 2147483647 w 215"/>
              <a:gd name="T63" fmla="*/ 2147483647 h 227"/>
              <a:gd name="T64" fmla="*/ 2147483647 w 215"/>
              <a:gd name="T65" fmla="*/ 2147483647 h 227"/>
              <a:gd name="T66" fmla="*/ 2147483647 w 215"/>
              <a:gd name="T67" fmla="*/ 2147483647 h 227"/>
              <a:gd name="T68" fmla="*/ 2147483647 w 215"/>
              <a:gd name="T69" fmla="*/ 2147483647 h 227"/>
              <a:gd name="T70" fmla="*/ 2147483647 w 215"/>
              <a:gd name="T71" fmla="*/ 2147483647 h 227"/>
              <a:gd name="T72" fmla="*/ 2147483647 w 215"/>
              <a:gd name="T73" fmla="*/ 2147483647 h 227"/>
              <a:gd name="T74" fmla="*/ 2147483647 w 215"/>
              <a:gd name="T75" fmla="*/ 2147483647 h 227"/>
              <a:gd name="T76" fmla="*/ 2147483647 w 215"/>
              <a:gd name="T77" fmla="*/ 2147483647 h 227"/>
              <a:gd name="T78" fmla="*/ 2147483647 w 215"/>
              <a:gd name="T79" fmla="*/ 0 h 227"/>
              <a:gd name="T80" fmla="*/ 2147483647 w 215"/>
              <a:gd name="T81" fmla="*/ 0 h 227"/>
              <a:gd name="T82" fmla="*/ 2147483647 w 215"/>
              <a:gd name="T83" fmla="*/ 2147483647 h 227"/>
              <a:gd name="T84" fmla="*/ 2147483647 w 215"/>
              <a:gd name="T85" fmla="*/ 2147483647 h 227"/>
              <a:gd name="T86" fmla="*/ 2147483647 w 215"/>
              <a:gd name="T87" fmla="*/ 2147483647 h 227"/>
              <a:gd name="T88" fmla="*/ 2147483647 w 215"/>
              <a:gd name="T89" fmla="*/ 2147483647 h 227"/>
              <a:gd name="T90" fmla="*/ 2147483647 w 215"/>
              <a:gd name="T91" fmla="*/ 2147483647 h 227"/>
              <a:gd name="T92" fmla="*/ 2147483647 w 215"/>
              <a:gd name="T93" fmla="*/ 2147483647 h 227"/>
              <a:gd name="T94" fmla="*/ 2147483647 w 215"/>
              <a:gd name="T95" fmla="*/ 2147483647 h 227"/>
              <a:gd name="T96" fmla="*/ 2147483647 w 215"/>
              <a:gd name="T97" fmla="*/ 2147483647 h 227"/>
              <a:gd name="T98" fmla="*/ 2147483647 w 215"/>
              <a:gd name="T99" fmla="*/ 2147483647 h 227"/>
              <a:gd name="T100" fmla="*/ 2147483647 w 215"/>
              <a:gd name="T101" fmla="*/ 2147483647 h 227"/>
              <a:gd name="T102" fmla="*/ 2147483647 w 215"/>
              <a:gd name="T103" fmla="*/ 2147483647 h 227"/>
              <a:gd name="T104" fmla="*/ 2147483647 w 215"/>
              <a:gd name="T105" fmla="*/ 2147483647 h 227"/>
              <a:gd name="T106" fmla="*/ 2147483647 w 215"/>
              <a:gd name="T107" fmla="*/ 2147483647 h 227"/>
              <a:gd name="T108" fmla="*/ 2147483647 w 215"/>
              <a:gd name="T109" fmla="*/ 2147483647 h 227"/>
              <a:gd name="T110" fmla="*/ 2147483647 w 215"/>
              <a:gd name="T111" fmla="*/ 2147483647 h 227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15"/>
              <a:gd name="T169" fmla="*/ 0 h 227"/>
              <a:gd name="T170" fmla="*/ 215 w 215"/>
              <a:gd name="T171" fmla="*/ 227 h 227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15" h="227">
                <a:moveTo>
                  <a:pt x="89" y="6"/>
                </a:moveTo>
                <a:lnTo>
                  <a:pt x="67" y="33"/>
                </a:lnTo>
                <a:lnTo>
                  <a:pt x="67" y="41"/>
                </a:lnTo>
                <a:lnTo>
                  <a:pt x="54" y="54"/>
                </a:lnTo>
                <a:lnTo>
                  <a:pt x="56" y="57"/>
                </a:lnTo>
                <a:lnTo>
                  <a:pt x="52" y="66"/>
                </a:lnTo>
                <a:lnTo>
                  <a:pt x="39" y="79"/>
                </a:lnTo>
                <a:lnTo>
                  <a:pt x="26" y="94"/>
                </a:lnTo>
                <a:lnTo>
                  <a:pt x="21" y="102"/>
                </a:lnTo>
                <a:lnTo>
                  <a:pt x="26" y="109"/>
                </a:lnTo>
                <a:lnTo>
                  <a:pt x="22" y="120"/>
                </a:lnTo>
                <a:lnTo>
                  <a:pt x="15" y="129"/>
                </a:lnTo>
                <a:lnTo>
                  <a:pt x="9" y="133"/>
                </a:lnTo>
                <a:lnTo>
                  <a:pt x="0" y="144"/>
                </a:lnTo>
                <a:lnTo>
                  <a:pt x="1" y="155"/>
                </a:lnTo>
                <a:lnTo>
                  <a:pt x="11" y="161"/>
                </a:lnTo>
                <a:lnTo>
                  <a:pt x="35" y="161"/>
                </a:lnTo>
                <a:lnTo>
                  <a:pt x="49" y="153"/>
                </a:lnTo>
                <a:lnTo>
                  <a:pt x="63" y="151"/>
                </a:lnTo>
                <a:lnTo>
                  <a:pt x="74" y="161"/>
                </a:lnTo>
                <a:lnTo>
                  <a:pt x="85" y="166"/>
                </a:lnTo>
                <a:lnTo>
                  <a:pt x="100" y="168"/>
                </a:lnTo>
                <a:lnTo>
                  <a:pt x="96" y="185"/>
                </a:lnTo>
                <a:lnTo>
                  <a:pt x="101" y="227"/>
                </a:lnTo>
                <a:lnTo>
                  <a:pt x="114" y="226"/>
                </a:lnTo>
                <a:lnTo>
                  <a:pt x="122" y="225"/>
                </a:lnTo>
                <a:lnTo>
                  <a:pt x="125" y="213"/>
                </a:lnTo>
                <a:lnTo>
                  <a:pt x="127" y="188"/>
                </a:lnTo>
                <a:lnTo>
                  <a:pt x="137" y="175"/>
                </a:lnTo>
                <a:lnTo>
                  <a:pt x="137" y="153"/>
                </a:lnTo>
                <a:lnTo>
                  <a:pt x="145" y="140"/>
                </a:lnTo>
                <a:lnTo>
                  <a:pt x="162" y="133"/>
                </a:lnTo>
                <a:lnTo>
                  <a:pt x="193" y="98"/>
                </a:lnTo>
                <a:lnTo>
                  <a:pt x="197" y="83"/>
                </a:lnTo>
                <a:lnTo>
                  <a:pt x="192" y="59"/>
                </a:lnTo>
                <a:lnTo>
                  <a:pt x="212" y="43"/>
                </a:lnTo>
                <a:lnTo>
                  <a:pt x="215" y="16"/>
                </a:lnTo>
                <a:lnTo>
                  <a:pt x="201" y="4"/>
                </a:lnTo>
                <a:lnTo>
                  <a:pt x="192" y="2"/>
                </a:lnTo>
                <a:lnTo>
                  <a:pt x="175" y="0"/>
                </a:lnTo>
                <a:lnTo>
                  <a:pt x="137" y="0"/>
                </a:lnTo>
                <a:lnTo>
                  <a:pt x="126" y="9"/>
                </a:lnTo>
                <a:lnTo>
                  <a:pt x="117" y="20"/>
                </a:lnTo>
                <a:lnTo>
                  <a:pt x="119" y="30"/>
                </a:lnTo>
                <a:lnTo>
                  <a:pt x="132" y="39"/>
                </a:lnTo>
                <a:lnTo>
                  <a:pt x="141" y="50"/>
                </a:lnTo>
                <a:lnTo>
                  <a:pt x="141" y="65"/>
                </a:lnTo>
                <a:lnTo>
                  <a:pt x="126" y="76"/>
                </a:lnTo>
                <a:lnTo>
                  <a:pt x="111" y="79"/>
                </a:lnTo>
                <a:lnTo>
                  <a:pt x="100" y="81"/>
                </a:lnTo>
                <a:lnTo>
                  <a:pt x="95" y="72"/>
                </a:lnTo>
                <a:lnTo>
                  <a:pt x="91" y="59"/>
                </a:lnTo>
                <a:lnTo>
                  <a:pt x="98" y="48"/>
                </a:lnTo>
                <a:lnTo>
                  <a:pt x="96" y="35"/>
                </a:lnTo>
                <a:lnTo>
                  <a:pt x="95" y="22"/>
                </a:lnTo>
                <a:lnTo>
                  <a:pt x="89" y="6"/>
                </a:lnTo>
                <a:close/>
              </a:path>
            </a:pathLst>
          </a:custGeom>
          <a:solidFill>
            <a:schemeClr val="accent5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49" name="Freeform 22"/>
          <p:cNvSpPr>
            <a:spLocks/>
          </p:cNvSpPr>
          <p:nvPr/>
        </p:nvSpPr>
        <p:spPr bwMode="auto">
          <a:xfrm>
            <a:off x="1022033" y="2560305"/>
            <a:ext cx="457589" cy="437893"/>
          </a:xfrm>
          <a:custGeom>
            <a:avLst/>
            <a:gdLst>
              <a:gd name="T0" fmla="*/ 2147483647 w 303"/>
              <a:gd name="T1" fmla="*/ 2147483647 h 277"/>
              <a:gd name="T2" fmla="*/ 2147483647 w 303"/>
              <a:gd name="T3" fmla="*/ 2147483647 h 277"/>
              <a:gd name="T4" fmla="*/ 2147483647 w 303"/>
              <a:gd name="T5" fmla="*/ 2147483647 h 277"/>
              <a:gd name="T6" fmla="*/ 2147483647 w 303"/>
              <a:gd name="T7" fmla="*/ 2147483647 h 277"/>
              <a:gd name="T8" fmla="*/ 2147483647 w 303"/>
              <a:gd name="T9" fmla="*/ 2147483647 h 277"/>
              <a:gd name="T10" fmla="*/ 2147483647 w 303"/>
              <a:gd name="T11" fmla="*/ 2147483647 h 277"/>
              <a:gd name="T12" fmla="*/ 2147483647 w 303"/>
              <a:gd name="T13" fmla="*/ 2147483647 h 277"/>
              <a:gd name="T14" fmla="*/ 2147483647 w 303"/>
              <a:gd name="T15" fmla="*/ 2147483647 h 277"/>
              <a:gd name="T16" fmla="*/ 2147483647 w 303"/>
              <a:gd name="T17" fmla="*/ 2147483647 h 277"/>
              <a:gd name="T18" fmla="*/ 2147483647 w 303"/>
              <a:gd name="T19" fmla="*/ 2147483647 h 277"/>
              <a:gd name="T20" fmla="*/ 2147483647 w 303"/>
              <a:gd name="T21" fmla="*/ 2147483647 h 277"/>
              <a:gd name="T22" fmla="*/ 2147483647 w 303"/>
              <a:gd name="T23" fmla="*/ 2147483647 h 277"/>
              <a:gd name="T24" fmla="*/ 2147483647 w 303"/>
              <a:gd name="T25" fmla="*/ 2147483647 h 277"/>
              <a:gd name="T26" fmla="*/ 2147483647 w 303"/>
              <a:gd name="T27" fmla="*/ 2147483647 h 277"/>
              <a:gd name="T28" fmla="*/ 2147483647 w 303"/>
              <a:gd name="T29" fmla="*/ 2147483647 h 277"/>
              <a:gd name="T30" fmla="*/ 2147483647 w 303"/>
              <a:gd name="T31" fmla="*/ 2147483647 h 277"/>
              <a:gd name="T32" fmla="*/ 2147483647 w 303"/>
              <a:gd name="T33" fmla="*/ 2147483647 h 277"/>
              <a:gd name="T34" fmla="*/ 2147483647 w 303"/>
              <a:gd name="T35" fmla="*/ 2147483647 h 277"/>
              <a:gd name="T36" fmla="*/ 2147483647 w 303"/>
              <a:gd name="T37" fmla="*/ 2147483647 h 277"/>
              <a:gd name="T38" fmla="*/ 2147483647 w 303"/>
              <a:gd name="T39" fmla="*/ 2147483647 h 277"/>
              <a:gd name="T40" fmla="*/ 2147483647 w 303"/>
              <a:gd name="T41" fmla="*/ 2147483647 h 277"/>
              <a:gd name="T42" fmla="*/ 2147483647 w 303"/>
              <a:gd name="T43" fmla="*/ 2147483647 h 277"/>
              <a:gd name="T44" fmla="*/ 2147483647 w 303"/>
              <a:gd name="T45" fmla="*/ 2147483647 h 277"/>
              <a:gd name="T46" fmla="*/ 2147483647 w 303"/>
              <a:gd name="T47" fmla="*/ 2147483647 h 277"/>
              <a:gd name="T48" fmla="*/ 2147483647 w 303"/>
              <a:gd name="T49" fmla="*/ 0 h 277"/>
              <a:gd name="T50" fmla="*/ 2147483647 w 303"/>
              <a:gd name="T51" fmla="*/ 2147483647 h 277"/>
              <a:gd name="T52" fmla="*/ 2147483647 w 303"/>
              <a:gd name="T53" fmla="*/ 2147483647 h 277"/>
              <a:gd name="T54" fmla="*/ 2147483647 w 303"/>
              <a:gd name="T55" fmla="*/ 2147483647 h 277"/>
              <a:gd name="T56" fmla="*/ 2147483647 w 303"/>
              <a:gd name="T57" fmla="*/ 2147483647 h 277"/>
              <a:gd name="T58" fmla="*/ 2147483647 w 303"/>
              <a:gd name="T59" fmla="*/ 2147483647 h 277"/>
              <a:gd name="T60" fmla="*/ 2147483647 w 303"/>
              <a:gd name="T61" fmla="*/ 2147483647 h 277"/>
              <a:gd name="T62" fmla="*/ 2147483647 w 303"/>
              <a:gd name="T63" fmla="*/ 2147483647 h 277"/>
              <a:gd name="T64" fmla="*/ 2147483647 w 303"/>
              <a:gd name="T65" fmla="*/ 2147483647 h 277"/>
              <a:gd name="T66" fmla="*/ 2147483647 w 303"/>
              <a:gd name="T67" fmla="*/ 2147483647 h 277"/>
              <a:gd name="T68" fmla="*/ 2147483647 w 303"/>
              <a:gd name="T69" fmla="*/ 2147483647 h 277"/>
              <a:gd name="T70" fmla="*/ 2147483647 w 303"/>
              <a:gd name="T71" fmla="*/ 2147483647 h 27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03"/>
              <a:gd name="T109" fmla="*/ 0 h 277"/>
              <a:gd name="T110" fmla="*/ 303 w 303"/>
              <a:gd name="T111" fmla="*/ 277 h 277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03" h="277">
                <a:moveTo>
                  <a:pt x="112" y="104"/>
                </a:moveTo>
                <a:lnTo>
                  <a:pt x="108" y="115"/>
                </a:lnTo>
                <a:lnTo>
                  <a:pt x="112" y="130"/>
                </a:lnTo>
                <a:lnTo>
                  <a:pt x="106" y="139"/>
                </a:lnTo>
                <a:lnTo>
                  <a:pt x="97" y="133"/>
                </a:lnTo>
                <a:lnTo>
                  <a:pt x="86" y="135"/>
                </a:lnTo>
                <a:lnTo>
                  <a:pt x="86" y="146"/>
                </a:lnTo>
                <a:lnTo>
                  <a:pt x="63" y="167"/>
                </a:lnTo>
                <a:lnTo>
                  <a:pt x="50" y="172"/>
                </a:lnTo>
                <a:lnTo>
                  <a:pt x="33" y="191"/>
                </a:lnTo>
                <a:lnTo>
                  <a:pt x="22" y="196"/>
                </a:lnTo>
                <a:lnTo>
                  <a:pt x="13" y="195"/>
                </a:lnTo>
                <a:lnTo>
                  <a:pt x="9" y="198"/>
                </a:lnTo>
                <a:lnTo>
                  <a:pt x="6" y="201"/>
                </a:lnTo>
                <a:lnTo>
                  <a:pt x="11" y="208"/>
                </a:lnTo>
                <a:lnTo>
                  <a:pt x="11" y="221"/>
                </a:lnTo>
                <a:lnTo>
                  <a:pt x="0" y="233"/>
                </a:lnTo>
                <a:lnTo>
                  <a:pt x="4" y="245"/>
                </a:lnTo>
                <a:lnTo>
                  <a:pt x="17" y="245"/>
                </a:lnTo>
                <a:lnTo>
                  <a:pt x="22" y="236"/>
                </a:lnTo>
                <a:lnTo>
                  <a:pt x="30" y="244"/>
                </a:lnTo>
                <a:lnTo>
                  <a:pt x="20" y="251"/>
                </a:lnTo>
                <a:lnTo>
                  <a:pt x="24" y="262"/>
                </a:lnTo>
                <a:lnTo>
                  <a:pt x="30" y="264"/>
                </a:lnTo>
                <a:lnTo>
                  <a:pt x="54" y="268"/>
                </a:lnTo>
                <a:lnTo>
                  <a:pt x="58" y="270"/>
                </a:lnTo>
                <a:lnTo>
                  <a:pt x="80" y="277"/>
                </a:lnTo>
                <a:lnTo>
                  <a:pt x="89" y="273"/>
                </a:lnTo>
                <a:lnTo>
                  <a:pt x="108" y="262"/>
                </a:lnTo>
                <a:lnTo>
                  <a:pt x="136" y="268"/>
                </a:lnTo>
                <a:lnTo>
                  <a:pt x="186" y="268"/>
                </a:lnTo>
                <a:lnTo>
                  <a:pt x="214" y="262"/>
                </a:lnTo>
                <a:lnTo>
                  <a:pt x="227" y="242"/>
                </a:lnTo>
                <a:lnTo>
                  <a:pt x="244" y="233"/>
                </a:lnTo>
                <a:lnTo>
                  <a:pt x="249" y="221"/>
                </a:lnTo>
                <a:lnTo>
                  <a:pt x="255" y="205"/>
                </a:lnTo>
                <a:lnTo>
                  <a:pt x="268" y="195"/>
                </a:lnTo>
                <a:lnTo>
                  <a:pt x="279" y="167"/>
                </a:lnTo>
                <a:lnTo>
                  <a:pt x="277" y="135"/>
                </a:lnTo>
                <a:lnTo>
                  <a:pt x="303" y="120"/>
                </a:lnTo>
                <a:lnTo>
                  <a:pt x="288" y="107"/>
                </a:lnTo>
                <a:lnTo>
                  <a:pt x="283" y="85"/>
                </a:lnTo>
                <a:lnTo>
                  <a:pt x="273" y="76"/>
                </a:lnTo>
                <a:lnTo>
                  <a:pt x="262" y="76"/>
                </a:lnTo>
                <a:lnTo>
                  <a:pt x="251" y="70"/>
                </a:lnTo>
                <a:lnTo>
                  <a:pt x="231" y="46"/>
                </a:lnTo>
                <a:lnTo>
                  <a:pt x="240" y="41"/>
                </a:lnTo>
                <a:lnTo>
                  <a:pt x="275" y="9"/>
                </a:lnTo>
                <a:lnTo>
                  <a:pt x="271" y="0"/>
                </a:lnTo>
                <a:lnTo>
                  <a:pt x="260" y="2"/>
                </a:lnTo>
                <a:lnTo>
                  <a:pt x="223" y="4"/>
                </a:lnTo>
                <a:lnTo>
                  <a:pt x="210" y="13"/>
                </a:lnTo>
                <a:lnTo>
                  <a:pt x="201" y="19"/>
                </a:lnTo>
                <a:lnTo>
                  <a:pt x="188" y="17"/>
                </a:lnTo>
                <a:lnTo>
                  <a:pt x="180" y="22"/>
                </a:lnTo>
                <a:lnTo>
                  <a:pt x="186" y="32"/>
                </a:lnTo>
                <a:lnTo>
                  <a:pt x="204" y="44"/>
                </a:lnTo>
                <a:lnTo>
                  <a:pt x="191" y="46"/>
                </a:lnTo>
                <a:lnTo>
                  <a:pt x="158" y="50"/>
                </a:lnTo>
                <a:lnTo>
                  <a:pt x="136" y="41"/>
                </a:lnTo>
                <a:lnTo>
                  <a:pt x="113" y="32"/>
                </a:lnTo>
                <a:lnTo>
                  <a:pt x="106" y="37"/>
                </a:lnTo>
                <a:lnTo>
                  <a:pt x="100" y="54"/>
                </a:lnTo>
                <a:lnTo>
                  <a:pt x="102" y="63"/>
                </a:lnTo>
                <a:lnTo>
                  <a:pt x="99" y="67"/>
                </a:lnTo>
                <a:lnTo>
                  <a:pt x="86" y="72"/>
                </a:lnTo>
                <a:lnTo>
                  <a:pt x="87" y="89"/>
                </a:lnTo>
                <a:lnTo>
                  <a:pt x="86" y="93"/>
                </a:lnTo>
                <a:lnTo>
                  <a:pt x="72" y="111"/>
                </a:lnTo>
                <a:lnTo>
                  <a:pt x="84" y="128"/>
                </a:lnTo>
                <a:lnTo>
                  <a:pt x="89" y="126"/>
                </a:lnTo>
                <a:lnTo>
                  <a:pt x="112" y="104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50" name="Group 23"/>
          <p:cNvGrpSpPr>
            <a:grpSpLocks/>
          </p:cNvGrpSpPr>
          <p:nvPr/>
        </p:nvGrpSpPr>
        <p:grpSpPr bwMode="auto">
          <a:xfrm>
            <a:off x="2522900" y="2591922"/>
            <a:ext cx="519508" cy="429989"/>
            <a:chOff x="1939" y="2035"/>
            <a:chExt cx="344" cy="272"/>
          </a:xfrm>
          <a:solidFill>
            <a:schemeClr val="bg1"/>
          </a:solidFill>
        </p:grpSpPr>
        <p:sp>
          <p:nvSpPr>
            <p:cNvPr id="90" name="Freeform 24"/>
            <p:cNvSpPr>
              <a:spLocks/>
            </p:cNvSpPr>
            <p:nvPr/>
          </p:nvSpPr>
          <p:spPr bwMode="auto">
            <a:xfrm>
              <a:off x="1939" y="2090"/>
              <a:ext cx="145" cy="179"/>
            </a:xfrm>
            <a:custGeom>
              <a:avLst/>
              <a:gdLst>
                <a:gd name="T0" fmla="*/ 11 w 145"/>
                <a:gd name="T1" fmla="*/ 153 h 179"/>
                <a:gd name="T2" fmla="*/ 19 w 145"/>
                <a:gd name="T3" fmla="*/ 166 h 179"/>
                <a:gd name="T4" fmla="*/ 35 w 145"/>
                <a:gd name="T5" fmla="*/ 166 h 179"/>
                <a:gd name="T6" fmla="*/ 50 w 145"/>
                <a:gd name="T7" fmla="*/ 170 h 179"/>
                <a:gd name="T8" fmla="*/ 61 w 145"/>
                <a:gd name="T9" fmla="*/ 179 h 179"/>
                <a:gd name="T10" fmla="*/ 73 w 145"/>
                <a:gd name="T11" fmla="*/ 179 h 179"/>
                <a:gd name="T12" fmla="*/ 65 w 145"/>
                <a:gd name="T13" fmla="*/ 168 h 179"/>
                <a:gd name="T14" fmla="*/ 71 w 145"/>
                <a:gd name="T15" fmla="*/ 153 h 179"/>
                <a:gd name="T16" fmla="*/ 78 w 145"/>
                <a:gd name="T17" fmla="*/ 136 h 179"/>
                <a:gd name="T18" fmla="*/ 82 w 145"/>
                <a:gd name="T19" fmla="*/ 117 h 179"/>
                <a:gd name="T20" fmla="*/ 99 w 145"/>
                <a:gd name="T21" fmla="*/ 106 h 179"/>
                <a:gd name="T22" fmla="*/ 113 w 145"/>
                <a:gd name="T23" fmla="*/ 98 h 179"/>
                <a:gd name="T24" fmla="*/ 112 w 145"/>
                <a:gd name="T25" fmla="*/ 87 h 179"/>
                <a:gd name="T26" fmla="*/ 112 w 145"/>
                <a:gd name="T27" fmla="*/ 69 h 179"/>
                <a:gd name="T28" fmla="*/ 115 w 145"/>
                <a:gd name="T29" fmla="*/ 61 h 179"/>
                <a:gd name="T30" fmla="*/ 128 w 145"/>
                <a:gd name="T31" fmla="*/ 59 h 179"/>
                <a:gd name="T32" fmla="*/ 134 w 145"/>
                <a:gd name="T33" fmla="*/ 63 h 179"/>
                <a:gd name="T34" fmla="*/ 145 w 145"/>
                <a:gd name="T35" fmla="*/ 50 h 179"/>
                <a:gd name="T36" fmla="*/ 141 w 145"/>
                <a:gd name="T37" fmla="*/ 39 h 179"/>
                <a:gd name="T38" fmla="*/ 134 w 145"/>
                <a:gd name="T39" fmla="*/ 37 h 179"/>
                <a:gd name="T40" fmla="*/ 121 w 145"/>
                <a:gd name="T41" fmla="*/ 37 h 179"/>
                <a:gd name="T42" fmla="*/ 115 w 145"/>
                <a:gd name="T43" fmla="*/ 37 h 179"/>
                <a:gd name="T44" fmla="*/ 112 w 145"/>
                <a:gd name="T45" fmla="*/ 20 h 179"/>
                <a:gd name="T46" fmla="*/ 113 w 145"/>
                <a:gd name="T47" fmla="*/ 4 h 179"/>
                <a:gd name="T48" fmla="*/ 104 w 145"/>
                <a:gd name="T49" fmla="*/ 0 h 179"/>
                <a:gd name="T50" fmla="*/ 100 w 145"/>
                <a:gd name="T51" fmla="*/ 6 h 179"/>
                <a:gd name="T52" fmla="*/ 78 w 145"/>
                <a:gd name="T53" fmla="*/ 2 h 179"/>
                <a:gd name="T54" fmla="*/ 73 w 145"/>
                <a:gd name="T55" fmla="*/ 7 h 179"/>
                <a:gd name="T56" fmla="*/ 78 w 145"/>
                <a:gd name="T57" fmla="*/ 22 h 179"/>
                <a:gd name="T58" fmla="*/ 76 w 145"/>
                <a:gd name="T59" fmla="*/ 37 h 179"/>
                <a:gd name="T60" fmla="*/ 67 w 145"/>
                <a:gd name="T61" fmla="*/ 26 h 179"/>
                <a:gd name="T62" fmla="*/ 63 w 145"/>
                <a:gd name="T63" fmla="*/ 17 h 179"/>
                <a:gd name="T64" fmla="*/ 50 w 145"/>
                <a:gd name="T65" fmla="*/ 19 h 179"/>
                <a:gd name="T66" fmla="*/ 45 w 145"/>
                <a:gd name="T67" fmla="*/ 28 h 179"/>
                <a:gd name="T68" fmla="*/ 41 w 145"/>
                <a:gd name="T69" fmla="*/ 32 h 179"/>
                <a:gd name="T70" fmla="*/ 41 w 145"/>
                <a:gd name="T71" fmla="*/ 45 h 179"/>
                <a:gd name="T72" fmla="*/ 39 w 145"/>
                <a:gd name="T73" fmla="*/ 43 h 179"/>
                <a:gd name="T74" fmla="*/ 28 w 145"/>
                <a:gd name="T75" fmla="*/ 26 h 179"/>
                <a:gd name="T76" fmla="*/ 22 w 145"/>
                <a:gd name="T77" fmla="*/ 20 h 179"/>
                <a:gd name="T78" fmla="*/ 15 w 145"/>
                <a:gd name="T79" fmla="*/ 24 h 179"/>
                <a:gd name="T80" fmla="*/ 17 w 145"/>
                <a:gd name="T81" fmla="*/ 33 h 179"/>
                <a:gd name="T82" fmla="*/ 17 w 145"/>
                <a:gd name="T83" fmla="*/ 39 h 179"/>
                <a:gd name="T84" fmla="*/ 7 w 145"/>
                <a:gd name="T85" fmla="*/ 43 h 179"/>
                <a:gd name="T86" fmla="*/ 7 w 145"/>
                <a:gd name="T87" fmla="*/ 56 h 179"/>
                <a:gd name="T88" fmla="*/ 15 w 145"/>
                <a:gd name="T89" fmla="*/ 69 h 179"/>
                <a:gd name="T90" fmla="*/ 15 w 145"/>
                <a:gd name="T91" fmla="*/ 78 h 179"/>
                <a:gd name="T92" fmla="*/ 11 w 145"/>
                <a:gd name="T93" fmla="*/ 87 h 179"/>
                <a:gd name="T94" fmla="*/ 0 w 145"/>
                <a:gd name="T95" fmla="*/ 96 h 179"/>
                <a:gd name="T96" fmla="*/ 2 w 145"/>
                <a:gd name="T97" fmla="*/ 106 h 179"/>
                <a:gd name="T98" fmla="*/ 13 w 145"/>
                <a:gd name="T99" fmla="*/ 115 h 179"/>
                <a:gd name="T100" fmla="*/ 17 w 145"/>
                <a:gd name="T101" fmla="*/ 124 h 179"/>
                <a:gd name="T102" fmla="*/ 15 w 145"/>
                <a:gd name="T103" fmla="*/ 142 h 179"/>
                <a:gd name="T104" fmla="*/ 11 w 145"/>
                <a:gd name="T105" fmla="*/ 153 h 17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5"/>
                <a:gd name="T160" fmla="*/ 0 h 179"/>
                <a:gd name="T161" fmla="*/ 145 w 145"/>
                <a:gd name="T162" fmla="*/ 179 h 17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5" h="179">
                  <a:moveTo>
                    <a:pt x="11" y="153"/>
                  </a:moveTo>
                  <a:lnTo>
                    <a:pt x="19" y="166"/>
                  </a:lnTo>
                  <a:lnTo>
                    <a:pt x="35" y="166"/>
                  </a:lnTo>
                  <a:lnTo>
                    <a:pt x="50" y="170"/>
                  </a:lnTo>
                  <a:lnTo>
                    <a:pt x="61" y="179"/>
                  </a:lnTo>
                  <a:lnTo>
                    <a:pt x="73" y="179"/>
                  </a:lnTo>
                  <a:lnTo>
                    <a:pt x="65" y="168"/>
                  </a:lnTo>
                  <a:lnTo>
                    <a:pt x="71" y="153"/>
                  </a:lnTo>
                  <a:lnTo>
                    <a:pt x="78" y="136"/>
                  </a:lnTo>
                  <a:lnTo>
                    <a:pt x="82" y="117"/>
                  </a:lnTo>
                  <a:lnTo>
                    <a:pt x="99" y="106"/>
                  </a:lnTo>
                  <a:lnTo>
                    <a:pt x="113" y="98"/>
                  </a:lnTo>
                  <a:lnTo>
                    <a:pt x="112" y="87"/>
                  </a:lnTo>
                  <a:lnTo>
                    <a:pt x="112" y="69"/>
                  </a:lnTo>
                  <a:lnTo>
                    <a:pt x="115" y="61"/>
                  </a:lnTo>
                  <a:lnTo>
                    <a:pt x="128" y="59"/>
                  </a:lnTo>
                  <a:lnTo>
                    <a:pt x="134" y="63"/>
                  </a:lnTo>
                  <a:lnTo>
                    <a:pt x="145" y="50"/>
                  </a:lnTo>
                  <a:lnTo>
                    <a:pt x="141" y="39"/>
                  </a:lnTo>
                  <a:lnTo>
                    <a:pt x="134" y="37"/>
                  </a:lnTo>
                  <a:lnTo>
                    <a:pt x="121" y="37"/>
                  </a:lnTo>
                  <a:lnTo>
                    <a:pt x="115" y="37"/>
                  </a:lnTo>
                  <a:lnTo>
                    <a:pt x="112" y="20"/>
                  </a:lnTo>
                  <a:lnTo>
                    <a:pt x="113" y="4"/>
                  </a:lnTo>
                  <a:lnTo>
                    <a:pt x="104" y="0"/>
                  </a:lnTo>
                  <a:lnTo>
                    <a:pt x="100" y="6"/>
                  </a:lnTo>
                  <a:lnTo>
                    <a:pt x="78" y="2"/>
                  </a:lnTo>
                  <a:lnTo>
                    <a:pt x="73" y="7"/>
                  </a:lnTo>
                  <a:lnTo>
                    <a:pt x="78" y="22"/>
                  </a:lnTo>
                  <a:lnTo>
                    <a:pt x="76" y="37"/>
                  </a:lnTo>
                  <a:lnTo>
                    <a:pt x="67" y="26"/>
                  </a:lnTo>
                  <a:lnTo>
                    <a:pt x="63" y="17"/>
                  </a:lnTo>
                  <a:lnTo>
                    <a:pt x="50" y="19"/>
                  </a:lnTo>
                  <a:lnTo>
                    <a:pt x="45" y="28"/>
                  </a:lnTo>
                  <a:lnTo>
                    <a:pt x="41" y="32"/>
                  </a:lnTo>
                  <a:lnTo>
                    <a:pt x="41" y="45"/>
                  </a:lnTo>
                  <a:lnTo>
                    <a:pt x="39" y="43"/>
                  </a:lnTo>
                  <a:lnTo>
                    <a:pt x="28" y="26"/>
                  </a:lnTo>
                  <a:lnTo>
                    <a:pt x="22" y="20"/>
                  </a:lnTo>
                  <a:lnTo>
                    <a:pt x="15" y="24"/>
                  </a:lnTo>
                  <a:lnTo>
                    <a:pt x="17" y="33"/>
                  </a:lnTo>
                  <a:lnTo>
                    <a:pt x="17" y="39"/>
                  </a:lnTo>
                  <a:lnTo>
                    <a:pt x="7" y="43"/>
                  </a:lnTo>
                  <a:lnTo>
                    <a:pt x="7" y="56"/>
                  </a:lnTo>
                  <a:lnTo>
                    <a:pt x="15" y="69"/>
                  </a:lnTo>
                  <a:lnTo>
                    <a:pt x="15" y="78"/>
                  </a:lnTo>
                  <a:lnTo>
                    <a:pt x="11" y="87"/>
                  </a:lnTo>
                  <a:lnTo>
                    <a:pt x="0" y="96"/>
                  </a:lnTo>
                  <a:lnTo>
                    <a:pt x="2" y="106"/>
                  </a:lnTo>
                  <a:lnTo>
                    <a:pt x="13" y="115"/>
                  </a:lnTo>
                  <a:lnTo>
                    <a:pt x="17" y="124"/>
                  </a:lnTo>
                  <a:lnTo>
                    <a:pt x="15" y="142"/>
                  </a:lnTo>
                  <a:lnTo>
                    <a:pt x="11" y="153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1" name="Freeform 25"/>
            <p:cNvSpPr>
              <a:spLocks/>
            </p:cNvSpPr>
            <p:nvPr/>
          </p:nvSpPr>
          <p:spPr bwMode="auto">
            <a:xfrm>
              <a:off x="1969" y="2035"/>
              <a:ext cx="109" cy="68"/>
            </a:xfrm>
            <a:custGeom>
              <a:avLst/>
              <a:gdLst>
                <a:gd name="T0" fmla="*/ 0 w 109"/>
                <a:gd name="T1" fmla="*/ 66 h 68"/>
                <a:gd name="T2" fmla="*/ 9 w 109"/>
                <a:gd name="T3" fmla="*/ 68 h 68"/>
                <a:gd name="T4" fmla="*/ 20 w 109"/>
                <a:gd name="T5" fmla="*/ 60 h 68"/>
                <a:gd name="T6" fmla="*/ 31 w 109"/>
                <a:gd name="T7" fmla="*/ 47 h 68"/>
                <a:gd name="T8" fmla="*/ 61 w 109"/>
                <a:gd name="T9" fmla="*/ 47 h 68"/>
                <a:gd name="T10" fmla="*/ 87 w 109"/>
                <a:gd name="T11" fmla="*/ 42 h 68"/>
                <a:gd name="T12" fmla="*/ 102 w 109"/>
                <a:gd name="T13" fmla="*/ 30 h 68"/>
                <a:gd name="T14" fmla="*/ 107 w 109"/>
                <a:gd name="T15" fmla="*/ 15 h 68"/>
                <a:gd name="T16" fmla="*/ 109 w 109"/>
                <a:gd name="T17" fmla="*/ 0 h 68"/>
                <a:gd name="T18" fmla="*/ 89 w 109"/>
                <a:gd name="T19" fmla="*/ 9 h 68"/>
                <a:gd name="T20" fmla="*/ 52 w 109"/>
                <a:gd name="T21" fmla="*/ 26 h 68"/>
                <a:gd name="T22" fmla="*/ 42 w 109"/>
                <a:gd name="T23" fmla="*/ 28 h 68"/>
                <a:gd name="T24" fmla="*/ 31 w 109"/>
                <a:gd name="T25" fmla="*/ 36 h 68"/>
                <a:gd name="T26" fmla="*/ 9 w 109"/>
                <a:gd name="T27" fmla="*/ 40 h 68"/>
                <a:gd name="T28" fmla="*/ 0 w 109"/>
                <a:gd name="T29" fmla="*/ 45 h 68"/>
                <a:gd name="T30" fmla="*/ 0 w 109"/>
                <a:gd name="T31" fmla="*/ 66 h 6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9"/>
                <a:gd name="T49" fmla="*/ 0 h 68"/>
                <a:gd name="T50" fmla="*/ 109 w 109"/>
                <a:gd name="T51" fmla="*/ 68 h 6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9" h="68">
                  <a:moveTo>
                    <a:pt x="0" y="66"/>
                  </a:moveTo>
                  <a:lnTo>
                    <a:pt x="9" y="68"/>
                  </a:lnTo>
                  <a:lnTo>
                    <a:pt x="20" y="60"/>
                  </a:lnTo>
                  <a:lnTo>
                    <a:pt x="31" y="47"/>
                  </a:lnTo>
                  <a:lnTo>
                    <a:pt x="61" y="47"/>
                  </a:lnTo>
                  <a:lnTo>
                    <a:pt x="87" y="42"/>
                  </a:lnTo>
                  <a:lnTo>
                    <a:pt x="102" y="30"/>
                  </a:lnTo>
                  <a:lnTo>
                    <a:pt x="107" y="15"/>
                  </a:lnTo>
                  <a:lnTo>
                    <a:pt x="109" y="0"/>
                  </a:lnTo>
                  <a:lnTo>
                    <a:pt x="89" y="9"/>
                  </a:lnTo>
                  <a:lnTo>
                    <a:pt x="52" y="26"/>
                  </a:lnTo>
                  <a:lnTo>
                    <a:pt x="42" y="28"/>
                  </a:lnTo>
                  <a:lnTo>
                    <a:pt x="31" y="36"/>
                  </a:lnTo>
                  <a:lnTo>
                    <a:pt x="9" y="40"/>
                  </a:lnTo>
                  <a:lnTo>
                    <a:pt x="0" y="45"/>
                  </a:lnTo>
                  <a:lnTo>
                    <a:pt x="0" y="66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2" name="Freeform 26"/>
            <p:cNvSpPr>
              <a:spLocks/>
            </p:cNvSpPr>
            <p:nvPr/>
          </p:nvSpPr>
          <p:spPr bwMode="auto">
            <a:xfrm>
              <a:off x="2025" y="2202"/>
              <a:ext cx="47" cy="57"/>
            </a:xfrm>
            <a:custGeom>
              <a:avLst/>
              <a:gdLst>
                <a:gd name="T0" fmla="*/ 15 w 47"/>
                <a:gd name="T1" fmla="*/ 0 h 57"/>
                <a:gd name="T2" fmla="*/ 45 w 47"/>
                <a:gd name="T3" fmla="*/ 20 h 57"/>
                <a:gd name="T4" fmla="*/ 47 w 47"/>
                <a:gd name="T5" fmla="*/ 29 h 57"/>
                <a:gd name="T6" fmla="*/ 36 w 47"/>
                <a:gd name="T7" fmla="*/ 40 h 57"/>
                <a:gd name="T8" fmla="*/ 26 w 47"/>
                <a:gd name="T9" fmla="*/ 48 h 57"/>
                <a:gd name="T10" fmla="*/ 28 w 47"/>
                <a:gd name="T11" fmla="*/ 57 h 57"/>
                <a:gd name="T12" fmla="*/ 15 w 47"/>
                <a:gd name="T13" fmla="*/ 55 h 57"/>
                <a:gd name="T14" fmla="*/ 2 w 47"/>
                <a:gd name="T15" fmla="*/ 40 h 57"/>
                <a:gd name="T16" fmla="*/ 0 w 47"/>
                <a:gd name="T17" fmla="*/ 29 h 57"/>
                <a:gd name="T18" fmla="*/ 6 w 47"/>
                <a:gd name="T19" fmla="*/ 17 h 57"/>
                <a:gd name="T20" fmla="*/ 15 w 47"/>
                <a:gd name="T21" fmla="*/ 0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"/>
                <a:gd name="T34" fmla="*/ 0 h 57"/>
                <a:gd name="T35" fmla="*/ 47 w 47"/>
                <a:gd name="T36" fmla="*/ 57 h 5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" h="57">
                  <a:moveTo>
                    <a:pt x="15" y="0"/>
                  </a:moveTo>
                  <a:lnTo>
                    <a:pt x="45" y="20"/>
                  </a:lnTo>
                  <a:lnTo>
                    <a:pt x="47" y="29"/>
                  </a:lnTo>
                  <a:lnTo>
                    <a:pt x="36" y="40"/>
                  </a:lnTo>
                  <a:lnTo>
                    <a:pt x="26" y="48"/>
                  </a:lnTo>
                  <a:lnTo>
                    <a:pt x="28" y="57"/>
                  </a:lnTo>
                  <a:lnTo>
                    <a:pt x="15" y="55"/>
                  </a:lnTo>
                  <a:lnTo>
                    <a:pt x="2" y="40"/>
                  </a:lnTo>
                  <a:lnTo>
                    <a:pt x="0" y="29"/>
                  </a:lnTo>
                  <a:lnTo>
                    <a:pt x="6" y="17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3" name="Freeform 27"/>
            <p:cNvSpPr>
              <a:spLocks/>
            </p:cNvSpPr>
            <p:nvPr/>
          </p:nvSpPr>
          <p:spPr bwMode="auto">
            <a:xfrm>
              <a:off x="2084" y="2186"/>
              <a:ext cx="69" cy="83"/>
            </a:xfrm>
            <a:custGeom>
              <a:avLst/>
              <a:gdLst>
                <a:gd name="T0" fmla="*/ 65 w 69"/>
                <a:gd name="T1" fmla="*/ 0 h 83"/>
                <a:gd name="T2" fmla="*/ 69 w 69"/>
                <a:gd name="T3" fmla="*/ 4 h 83"/>
                <a:gd name="T4" fmla="*/ 65 w 69"/>
                <a:gd name="T5" fmla="*/ 9 h 83"/>
                <a:gd name="T6" fmla="*/ 69 w 69"/>
                <a:gd name="T7" fmla="*/ 18 h 83"/>
                <a:gd name="T8" fmla="*/ 64 w 69"/>
                <a:gd name="T9" fmla="*/ 29 h 83"/>
                <a:gd name="T10" fmla="*/ 54 w 69"/>
                <a:gd name="T11" fmla="*/ 37 h 83"/>
                <a:gd name="T12" fmla="*/ 58 w 69"/>
                <a:gd name="T13" fmla="*/ 46 h 83"/>
                <a:gd name="T14" fmla="*/ 54 w 69"/>
                <a:gd name="T15" fmla="*/ 54 h 83"/>
                <a:gd name="T16" fmla="*/ 58 w 69"/>
                <a:gd name="T17" fmla="*/ 63 h 83"/>
                <a:gd name="T18" fmla="*/ 45 w 69"/>
                <a:gd name="T19" fmla="*/ 83 h 83"/>
                <a:gd name="T20" fmla="*/ 16 w 69"/>
                <a:gd name="T21" fmla="*/ 63 h 83"/>
                <a:gd name="T22" fmla="*/ 0 w 69"/>
                <a:gd name="T23" fmla="*/ 52 h 83"/>
                <a:gd name="T24" fmla="*/ 9 w 69"/>
                <a:gd name="T25" fmla="*/ 46 h 83"/>
                <a:gd name="T26" fmla="*/ 9 w 69"/>
                <a:gd name="T27" fmla="*/ 33 h 83"/>
                <a:gd name="T28" fmla="*/ 27 w 69"/>
                <a:gd name="T29" fmla="*/ 22 h 83"/>
                <a:gd name="T30" fmla="*/ 36 w 69"/>
                <a:gd name="T31" fmla="*/ 26 h 83"/>
                <a:gd name="T32" fmla="*/ 45 w 69"/>
                <a:gd name="T33" fmla="*/ 22 h 83"/>
                <a:gd name="T34" fmla="*/ 60 w 69"/>
                <a:gd name="T35" fmla="*/ 11 h 83"/>
                <a:gd name="T36" fmla="*/ 65 w 69"/>
                <a:gd name="T37" fmla="*/ 0 h 8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9"/>
                <a:gd name="T58" fmla="*/ 0 h 83"/>
                <a:gd name="T59" fmla="*/ 69 w 69"/>
                <a:gd name="T60" fmla="*/ 83 h 8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9" h="83">
                  <a:moveTo>
                    <a:pt x="65" y="0"/>
                  </a:moveTo>
                  <a:lnTo>
                    <a:pt x="69" y="4"/>
                  </a:lnTo>
                  <a:lnTo>
                    <a:pt x="65" y="9"/>
                  </a:lnTo>
                  <a:lnTo>
                    <a:pt x="69" y="18"/>
                  </a:lnTo>
                  <a:lnTo>
                    <a:pt x="64" y="29"/>
                  </a:lnTo>
                  <a:lnTo>
                    <a:pt x="54" y="37"/>
                  </a:lnTo>
                  <a:lnTo>
                    <a:pt x="58" y="46"/>
                  </a:lnTo>
                  <a:lnTo>
                    <a:pt x="54" y="54"/>
                  </a:lnTo>
                  <a:lnTo>
                    <a:pt x="58" y="63"/>
                  </a:lnTo>
                  <a:lnTo>
                    <a:pt x="45" y="83"/>
                  </a:lnTo>
                  <a:lnTo>
                    <a:pt x="16" y="63"/>
                  </a:lnTo>
                  <a:lnTo>
                    <a:pt x="0" y="52"/>
                  </a:lnTo>
                  <a:lnTo>
                    <a:pt x="9" y="46"/>
                  </a:lnTo>
                  <a:lnTo>
                    <a:pt x="9" y="33"/>
                  </a:lnTo>
                  <a:lnTo>
                    <a:pt x="27" y="22"/>
                  </a:lnTo>
                  <a:lnTo>
                    <a:pt x="36" y="26"/>
                  </a:lnTo>
                  <a:lnTo>
                    <a:pt x="45" y="22"/>
                  </a:lnTo>
                  <a:lnTo>
                    <a:pt x="60" y="11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4" name="Freeform 28"/>
            <p:cNvSpPr>
              <a:spLocks/>
            </p:cNvSpPr>
            <p:nvPr/>
          </p:nvSpPr>
          <p:spPr bwMode="auto">
            <a:xfrm>
              <a:off x="2075" y="2272"/>
              <a:ext cx="28" cy="35"/>
            </a:xfrm>
            <a:custGeom>
              <a:avLst/>
              <a:gdLst>
                <a:gd name="T0" fmla="*/ 0 w 28"/>
                <a:gd name="T1" fmla="*/ 0 h 35"/>
                <a:gd name="T2" fmla="*/ 19 w 28"/>
                <a:gd name="T3" fmla="*/ 6 h 35"/>
                <a:gd name="T4" fmla="*/ 26 w 28"/>
                <a:gd name="T5" fmla="*/ 15 h 35"/>
                <a:gd name="T6" fmla="*/ 28 w 28"/>
                <a:gd name="T7" fmla="*/ 28 h 35"/>
                <a:gd name="T8" fmla="*/ 19 w 28"/>
                <a:gd name="T9" fmla="*/ 35 h 35"/>
                <a:gd name="T10" fmla="*/ 5 w 28"/>
                <a:gd name="T11" fmla="*/ 29 h 35"/>
                <a:gd name="T12" fmla="*/ 2 w 28"/>
                <a:gd name="T13" fmla="*/ 20 h 35"/>
                <a:gd name="T14" fmla="*/ 0 w 28"/>
                <a:gd name="T15" fmla="*/ 0 h 3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8"/>
                <a:gd name="T25" fmla="*/ 0 h 35"/>
                <a:gd name="T26" fmla="*/ 28 w 28"/>
                <a:gd name="T27" fmla="*/ 35 h 3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8" h="35">
                  <a:moveTo>
                    <a:pt x="0" y="0"/>
                  </a:moveTo>
                  <a:lnTo>
                    <a:pt x="19" y="6"/>
                  </a:lnTo>
                  <a:lnTo>
                    <a:pt x="26" y="15"/>
                  </a:lnTo>
                  <a:lnTo>
                    <a:pt x="28" y="28"/>
                  </a:lnTo>
                  <a:lnTo>
                    <a:pt x="19" y="35"/>
                  </a:lnTo>
                  <a:lnTo>
                    <a:pt x="5" y="29"/>
                  </a:lnTo>
                  <a:lnTo>
                    <a:pt x="2" y="2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5" name="Freeform 29"/>
            <p:cNvSpPr>
              <a:spLocks/>
            </p:cNvSpPr>
            <p:nvPr/>
          </p:nvSpPr>
          <p:spPr bwMode="auto">
            <a:xfrm>
              <a:off x="2267" y="2263"/>
              <a:ext cx="16" cy="29"/>
            </a:xfrm>
            <a:custGeom>
              <a:avLst/>
              <a:gdLst>
                <a:gd name="T0" fmla="*/ 5 w 16"/>
                <a:gd name="T1" fmla="*/ 0 h 29"/>
                <a:gd name="T2" fmla="*/ 0 w 16"/>
                <a:gd name="T3" fmla="*/ 5 h 29"/>
                <a:gd name="T4" fmla="*/ 0 w 16"/>
                <a:gd name="T5" fmla="*/ 20 h 29"/>
                <a:gd name="T6" fmla="*/ 11 w 16"/>
                <a:gd name="T7" fmla="*/ 29 h 29"/>
                <a:gd name="T8" fmla="*/ 16 w 16"/>
                <a:gd name="T9" fmla="*/ 16 h 29"/>
                <a:gd name="T10" fmla="*/ 5 w 16"/>
                <a:gd name="T11" fmla="*/ 0 h 2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29"/>
                <a:gd name="T20" fmla="*/ 16 w 16"/>
                <a:gd name="T21" fmla="*/ 29 h 2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29">
                  <a:moveTo>
                    <a:pt x="5" y="0"/>
                  </a:moveTo>
                  <a:lnTo>
                    <a:pt x="0" y="5"/>
                  </a:lnTo>
                  <a:lnTo>
                    <a:pt x="0" y="20"/>
                  </a:lnTo>
                  <a:lnTo>
                    <a:pt x="11" y="29"/>
                  </a:lnTo>
                  <a:lnTo>
                    <a:pt x="16" y="16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51" name="Group 30"/>
          <p:cNvGrpSpPr>
            <a:grpSpLocks/>
          </p:cNvGrpSpPr>
          <p:nvPr/>
        </p:nvGrpSpPr>
        <p:grpSpPr bwMode="auto">
          <a:xfrm>
            <a:off x="2232941" y="2939707"/>
            <a:ext cx="773221" cy="1081296"/>
            <a:chOff x="1747" y="2255"/>
            <a:chExt cx="512" cy="684"/>
          </a:xfrm>
          <a:solidFill>
            <a:schemeClr val="accent4"/>
          </a:solidFill>
        </p:grpSpPr>
        <p:sp>
          <p:nvSpPr>
            <p:cNvPr id="88" name="Freeform 31"/>
            <p:cNvSpPr>
              <a:spLocks/>
            </p:cNvSpPr>
            <p:nvPr/>
          </p:nvSpPr>
          <p:spPr bwMode="auto">
            <a:xfrm>
              <a:off x="2181" y="2320"/>
              <a:ext cx="24" cy="22"/>
            </a:xfrm>
            <a:custGeom>
              <a:avLst/>
              <a:gdLst>
                <a:gd name="T0" fmla="*/ 2 w 24"/>
                <a:gd name="T1" fmla="*/ 0 h 22"/>
                <a:gd name="T2" fmla="*/ 0 w 24"/>
                <a:gd name="T3" fmla="*/ 4 h 22"/>
                <a:gd name="T4" fmla="*/ 2 w 24"/>
                <a:gd name="T5" fmla="*/ 15 h 22"/>
                <a:gd name="T6" fmla="*/ 15 w 24"/>
                <a:gd name="T7" fmla="*/ 22 h 22"/>
                <a:gd name="T8" fmla="*/ 24 w 24"/>
                <a:gd name="T9" fmla="*/ 13 h 22"/>
                <a:gd name="T10" fmla="*/ 2 w 24"/>
                <a:gd name="T11" fmla="*/ 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22"/>
                <a:gd name="T20" fmla="*/ 24 w 24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22">
                  <a:moveTo>
                    <a:pt x="2" y="0"/>
                  </a:moveTo>
                  <a:lnTo>
                    <a:pt x="0" y="4"/>
                  </a:lnTo>
                  <a:lnTo>
                    <a:pt x="2" y="15"/>
                  </a:lnTo>
                  <a:lnTo>
                    <a:pt x="15" y="22"/>
                  </a:lnTo>
                  <a:lnTo>
                    <a:pt x="24" y="1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9" name="Freeform 32"/>
            <p:cNvSpPr>
              <a:spLocks/>
            </p:cNvSpPr>
            <p:nvPr/>
          </p:nvSpPr>
          <p:spPr bwMode="auto">
            <a:xfrm>
              <a:off x="1747" y="2255"/>
              <a:ext cx="512" cy="684"/>
            </a:xfrm>
            <a:custGeom>
              <a:avLst/>
              <a:gdLst>
                <a:gd name="T0" fmla="*/ 201 w 512"/>
                <a:gd name="T1" fmla="*/ 15 h 684"/>
                <a:gd name="T2" fmla="*/ 207 w 512"/>
                <a:gd name="T3" fmla="*/ 48 h 684"/>
                <a:gd name="T4" fmla="*/ 203 w 512"/>
                <a:gd name="T5" fmla="*/ 72 h 684"/>
                <a:gd name="T6" fmla="*/ 231 w 512"/>
                <a:gd name="T7" fmla="*/ 107 h 684"/>
                <a:gd name="T8" fmla="*/ 190 w 512"/>
                <a:gd name="T9" fmla="*/ 96 h 684"/>
                <a:gd name="T10" fmla="*/ 158 w 512"/>
                <a:gd name="T11" fmla="*/ 122 h 684"/>
                <a:gd name="T12" fmla="*/ 136 w 512"/>
                <a:gd name="T13" fmla="*/ 100 h 684"/>
                <a:gd name="T14" fmla="*/ 95 w 512"/>
                <a:gd name="T15" fmla="*/ 122 h 684"/>
                <a:gd name="T16" fmla="*/ 103 w 512"/>
                <a:gd name="T17" fmla="*/ 157 h 684"/>
                <a:gd name="T18" fmla="*/ 82 w 512"/>
                <a:gd name="T19" fmla="*/ 176 h 684"/>
                <a:gd name="T20" fmla="*/ 86 w 512"/>
                <a:gd name="T21" fmla="*/ 209 h 684"/>
                <a:gd name="T22" fmla="*/ 58 w 512"/>
                <a:gd name="T23" fmla="*/ 244 h 684"/>
                <a:gd name="T24" fmla="*/ 28 w 512"/>
                <a:gd name="T25" fmla="*/ 272 h 684"/>
                <a:gd name="T26" fmla="*/ 19 w 512"/>
                <a:gd name="T27" fmla="*/ 326 h 684"/>
                <a:gd name="T28" fmla="*/ 15 w 512"/>
                <a:gd name="T29" fmla="*/ 350 h 684"/>
                <a:gd name="T30" fmla="*/ 2 w 512"/>
                <a:gd name="T31" fmla="*/ 400 h 684"/>
                <a:gd name="T32" fmla="*/ 19 w 512"/>
                <a:gd name="T33" fmla="*/ 424 h 684"/>
                <a:gd name="T34" fmla="*/ 0 w 512"/>
                <a:gd name="T35" fmla="*/ 455 h 684"/>
                <a:gd name="T36" fmla="*/ 28 w 512"/>
                <a:gd name="T37" fmla="*/ 489 h 684"/>
                <a:gd name="T38" fmla="*/ 81 w 512"/>
                <a:gd name="T39" fmla="*/ 496 h 684"/>
                <a:gd name="T40" fmla="*/ 90 w 512"/>
                <a:gd name="T41" fmla="*/ 520 h 684"/>
                <a:gd name="T42" fmla="*/ 66 w 512"/>
                <a:gd name="T43" fmla="*/ 553 h 684"/>
                <a:gd name="T44" fmla="*/ 45 w 512"/>
                <a:gd name="T45" fmla="*/ 608 h 684"/>
                <a:gd name="T46" fmla="*/ 73 w 512"/>
                <a:gd name="T47" fmla="*/ 641 h 684"/>
                <a:gd name="T48" fmla="*/ 99 w 512"/>
                <a:gd name="T49" fmla="*/ 628 h 684"/>
                <a:gd name="T50" fmla="*/ 125 w 512"/>
                <a:gd name="T51" fmla="*/ 638 h 684"/>
                <a:gd name="T52" fmla="*/ 149 w 512"/>
                <a:gd name="T53" fmla="*/ 660 h 684"/>
                <a:gd name="T54" fmla="*/ 197 w 512"/>
                <a:gd name="T55" fmla="*/ 667 h 684"/>
                <a:gd name="T56" fmla="*/ 229 w 512"/>
                <a:gd name="T57" fmla="*/ 673 h 684"/>
                <a:gd name="T58" fmla="*/ 277 w 512"/>
                <a:gd name="T59" fmla="*/ 673 h 684"/>
                <a:gd name="T60" fmla="*/ 308 w 512"/>
                <a:gd name="T61" fmla="*/ 669 h 684"/>
                <a:gd name="T62" fmla="*/ 342 w 512"/>
                <a:gd name="T63" fmla="*/ 669 h 684"/>
                <a:gd name="T64" fmla="*/ 382 w 512"/>
                <a:gd name="T65" fmla="*/ 678 h 684"/>
                <a:gd name="T66" fmla="*/ 373 w 512"/>
                <a:gd name="T67" fmla="*/ 649 h 684"/>
                <a:gd name="T68" fmla="*/ 432 w 512"/>
                <a:gd name="T69" fmla="*/ 593 h 684"/>
                <a:gd name="T70" fmla="*/ 403 w 512"/>
                <a:gd name="T71" fmla="*/ 567 h 684"/>
                <a:gd name="T72" fmla="*/ 347 w 512"/>
                <a:gd name="T73" fmla="*/ 511 h 684"/>
                <a:gd name="T74" fmla="*/ 333 w 512"/>
                <a:gd name="T75" fmla="*/ 461 h 684"/>
                <a:gd name="T76" fmla="*/ 352 w 512"/>
                <a:gd name="T77" fmla="*/ 449 h 684"/>
                <a:gd name="T78" fmla="*/ 463 w 512"/>
                <a:gd name="T79" fmla="*/ 400 h 684"/>
                <a:gd name="T80" fmla="*/ 503 w 512"/>
                <a:gd name="T81" fmla="*/ 397 h 684"/>
                <a:gd name="T82" fmla="*/ 512 w 512"/>
                <a:gd name="T83" fmla="*/ 363 h 684"/>
                <a:gd name="T84" fmla="*/ 501 w 512"/>
                <a:gd name="T85" fmla="*/ 300 h 684"/>
                <a:gd name="T86" fmla="*/ 492 w 512"/>
                <a:gd name="T87" fmla="*/ 256 h 684"/>
                <a:gd name="T88" fmla="*/ 479 w 512"/>
                <a:gd name="T89" fmla="*/ 207 h 684"/>
                <a:gd name="T90" fmla="*/ 458 w 512"/>
                <a:gd name="T91" fmla="*/ 130 h 684"/>
                <a:gd name="T92" fmla="*/ 414 w 512"/>
                <a:gd name="T93" fmla="*/ 85 h 684"/>
                <a:gd name="T94" fmla="*/ 379 w 512"/>
                <a:gd name="T95" fmla="*/ 83 h 684"/>
                <a:gd name="T96" fmla="*/ 319 w 512"/>
                <a:gd name="T97" fmla="*/ 106 h 684"/>
                <a:gd name="T98" fmla="*/ 314 w 512"/>
                <a:gd name="T99" fmla="*/ 87 h 684"/>
                <a:gd name="T100" fmla="*/ 284 w 512"/>
                <a:gd name="T101" fmla="*/ 59 h 684"/>
                <a:gd name="T102" fmla="*/ 260 w 512"/>
                <a:gd name="T103" fmla="*/ 15 h 684"/>
                <a:gd name="T104" fmla="*/ 225 w 512"/>
                <a:gd name="T105" fmla="*/ 2 h 68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12"/>
                <a:gd name="T160" fmla="*/ 0 h 684"/>
                <a:gd name="T161" fmla="*/ 512 w 512"/>
                <a:gd name="T162" fmla="*/ 684 h 68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12" h="684">
                  <a:moveTo>
                    <a:pt x="212" y="0"/>
                  </a:moveTo>
                  <a:lnTo>
                    <a:pt x="201" y="7"/>
                  </a:lnTo>
                  <a:lnTo>
                    <a:pt x="201" y="15"/>
                  </a:lnTo>
                  <a:lnTo>
                    <a:pt x="203" y="22"/>
                  </a:lnTo>
                  <a:lnTo>
                    <a:pt x="205" y="33"/>
                  </a:lnTo>
                  <a:lnTo>
                    <a:pt x="207" y="48"/>
                  </a:lnTo>
                  <a:lnTo>
                    <a:pt x="201" y="54"/>
                  </a:lnTo>
                  <a:lnTo>
                    <a:pt x="201" y="63"/>
                  </a:lnTo>
                  <a:lnTo>
                    <a:pt x="203" y="72"/>
                  </a:lnTo>
                  <a:lnTo>
                    <a:pt x="218" y="85"/>
                  </a:lnTo>
                  <a:lnTo>
                    <a:pt x="227" y="87"/>
                  </a:lnTo>
                  <a:lnTo>
                    <a:pt x="231" y="107"/>
                  </a:lnTo>
                  <a:lnTo>
                    <a:pt x="210" y="102"/>
                  </a:lnTo>
                  <a:lnTo>
                    <a:pt x="199" y="91"/>
                  </a:lnTo>
                  <a:lnTo>
                    <a:pt x="190" y="96"/>
                  </a:lnTo>
                  <a:lnTo>
                    <a:pt x="173" y="117"/>
                  </a:lnTo>
                  <a:lnTo>
                    <a:pt x="166" y="124"/>
                  </a:lnTo>
                  <a:lnTo>
                    <a:pt x="158" y="122"/>
                  </a:lnTo>
                  <a:lnTo>
                    <a:pt x="157" y="113"/>
                  </a:lnTo>
                  <a:lnTo>
                    <a:pt x="151" y="106"/>
                  </a:lnTo>
                  <a:lnTo>
                    <a:pt x="136" y="100"/>
                  </a:lnTo>
                  <a:lnTo>
                    <a:pt x="114" y="100"/>
                  </a:lnTo>
                  <a:lnTo>
                    <a:pt x="107" y="109"/>
                  </a:lnTo>
                  <a:lnTo>
                    <a:pt x="95" y="122"/>
                  </a:lnTo>
                  <a:lnTo>
                    <a:pt x="105" y="131"/>
                  </a:lnTo>
                  <a:lnTo>
                    <a:pt x="105" y="148"/>
                  </a:lnTo>
                  <a:lnTo>
                    <a:pt x="103" y="157"/>
                  </a:lnTo>
                  <a:lnTo>
                    <a:pt x="99" y="165"/>
                  </a:lnTo>
                  <a:lnTo>
                    <a:pt x="86" y="174"/>
                  </a:lnTo>
                  <a:lnTo>
                    <a:pt x="82" y="176"/>
                  </a:lnTo>
                  <a:lnTo>
                    <a:pt x="84" y="189"/>
                  </a:lnTo>
                  <a:lnTo>
                    <a:pt x="90" y="198"/>
                  </a:lnTo>
                  <a:lnTo>
                    <a:pt x="86" y="209"/>
                  </a:lnTo>
                  <a:lnTo>
                    <a:pt x="77" y="222"/>
                  </a:lnTo>
                  <a:lnTo>
                    <a:pt x="66" y="235"/>
                  </a:lnTo>
                  <a:lnTo>
                    <a:pt x="58" y="244"/>
                  </a:lnTo>
                  <a:lnTo>
                    <a:pt x="45" y="254"/>
                  </a:lnTo>
                  <a:lnTo>
                    <a:pt x="35" y="257"/>
                  </a:lnTo>
                  <a:lnTo>
                    <a:pt x="28" y="272"/>
                  </a:lnTo>
                  <a:lnTo>
                    <a:pt x="26" y="294"/>
                  </a:lnTo>
                  <a:lnTo>
                    <a:pt x="19" y="307"/>
                  </a:lnTo>
                  <a:lnTo>
                    <a:pt x="19" y="326"/>
                  </a:lnTo>
                  <a:lnTo>
                    <a:pt x="11" y="335"/>
                  </a:lnTo>
                  <a:lnTo>
                    <a:pt x="9" y="341"/>
                  </a:lnTo>
                  <a:lnTo>
                    <a:pt x="15" y="350"/>
                  </a:lnTo>
                  <a:lnTo>
                    <a:pt x="19" y="365"/>
                  </a:lnTo>
                  <a:lnTo>
                    <a:pt x="28" y="378"/>
                  </a:lnTo>
                  <a:lnTo>
                    <a:pt x="2" y="400"/>
                  </a:lnTo>
                  <a:lnTo>
                    <a:pt x="7" y="413"/>
                  </a:lnTo>
                  <a:lnTo>
                    <a:pt x="17" y="422"/>
                  </a:lnTo>
                  <a:lnTo>
                    <a:pt x="19" y="424"/>
                  </a:lnTo>
                  <a:lnTo>
                    <a:pt x="19" y="433"/>
                  </a:lnTo>
                  <a:lnTo>
                    <a:pt x="6" y="442"/>
                  </a:lnTo>
                  <a:lnTo>
                    <a:pt x="0" y="455"/>
                  </a:lnTo>
                  <a:lnTo>
                    <a:pt x="6" y="472"/>
                  </a:lnTo>
                  <a:lnTo>
                    <a:pt x="13" y="483"/>
                  </a:lnTo>
                  <a:lnTo>
                    <a:pt x="28" y="489"/>
                  </a:lnTo>
                  <a:lnTo>
                    <a:pt x="47" y="492"/>
                  </a:lnTo>
                  <a:lnTo>
                    <a:pt x="66" y="494"/>
                  </a:lnTo>
                  <a:lnTo>
                    <a:pt x="81" y="496"/>
                  </a:lnTo>
                  <a:lnTo>
                    <a:pt x="92" y="504"/>
                  </a:lnTo>
                  <a:lnTo>
                    <a:pt x="103" y="513"/>
                  </a:lnTo>
                  <a:lnTo>
                    <a:pt x="90" y="520"/>
                  </a:lnTo>
                  <a:lnTo>
                    <a:pt x="79" y="531"/>
                  </a:lnTo>
                  <a:lnTo>
                    <a:pt x="68" y="541"/>
                  </a:lnTo>
                  <a:lnTo>
                    <a:pt x="66" y="553"/>
                  </a:lnTo>
                  <a:lnTo>
                    <a:pt x="60" y="580"/>
                  </a:lnTo>
                  <a:lnTo>
                    <a:pt x="51" y="597"/>
                  </a:lnTo>
                  <a:lnTo>
                    <a:pt x="45" y="608"/>
                  </a:lnTo>
                  <a:lnTo>
                    <a:pt x="60" y="628"/>
                  </a:lnTo>
                  <a:lnTo>
                    <a:pt x="64" y="634"/>
                  </a:lnTo>
                  <a:lnTo>
                    <a:pt x="73" y="641"/>
                  </a:lnTo>
                  <a:lnTo>
                    <a:pt x="82" y="640"/>
                  </a:lnTo>
                  <a:lnTo>
                    <a:pt x="94" y="634"/>
                  </a:lnTo>
                  <a:lnTo>
                    <a:pt x="99" y="628"/>
                  </a:lnTo>
                  <a:lnTo>
                    <a:pt x="101" y="625"/>
                  </a:lnTo>
                  <a:lnTo>
                    <a:pt x="118" y="628"/>
                  </a:lnTo>
                  <a:lnTo>
                    <a:pt x="125" y="638"/>
                  </a:lnTo>
                  <a:lnTo>
                    <a:pt x="131" y="649"/>
                  </a:lnTo>
                  <a:lnTo>
                    <a:pt x="138" y="658"/>
                  </a:lnTo>
                  <a:lnTo>
                    <a:pt x="149" y="660"/>
                  </a:lnTo>
                  <a:lnTo>
                    <a:pt x="171" y="658"/>
                  </a:lnTo>
                  <a:lnTo>
                    <a:pt x="182" y="656"/>
                  </a:lnTo>
                  <a:lnTo>
                    <a:pt x="197" y="667"/>
                  </a:lnTo>
                  <a:lnTo>
                    <a:pt x="208" y="662"/>
                  </a:lnTo>
                  <a:lnTo>
                    <a:pt x="219" y="665"/>
                  </a:lnTo>
                  <a:lnTo>
                    <a:pt x="229" y="673"/>
                  </a:lnTo>
                  <a:lnTo>
                    <a:pt x="247" y="665"/>
                  </a:lnTo>
                  <a:lnTo>
                    <a:pt x="264" y="665"/>
                  </a:lnTo>
                  <a:lnTo>
                    <a:pt x="277" y="673"/>
                  </a:lnTo>
                  <a:lnTo>
                    <a:pt x="286" y="677"/>
                  </a:lnTo>
                  <a:lnTo>
                    <a:pt x="297" y="669"/>
                  </a:lnTo>
                  <a:lnTo>
                    <a:pt x="308" y="669"/>
                  </a:lnTo>
                  <a:lnTo>
                    <a:pt x="327" y="665"/>
                  </a:lnTo>
                  <a:lnTo>
                    <a:pt x="340" y="673"/>
                  </a:lnTo>
                  <a:lnTo>
                    <a:pt x="342" y="669"/>
                  </a:lnTo>
                  <a:lnTo>
                    <a:pt x="356" y="678"/>
                  </a:lnTo>
                  <a:lnTo>
                    <a:pt x="368" y="684"/>
                  </a:lnTo>
                  <a:lnTo>
                    <a:pt x="382" y="678"/>
                  </a:lnTo>
                  <a:lnTo>
                    <a:pt x="384" y="669"/>
                  </a:lnTo>
                  <a:lnTo>
                    <a:pt x="375" y="656"/>
                  </a:lnTo>
                  <a:lnTo>
                    <a:pt x="373" y="649"/>
                  </a:lnTo>
                  <a:lnTo>
                    <a:pt x="368" y="627"/>
                  </a:lnTo>
                  <a:lnTo>
                    <a:pt x="419" y="593"/>
                  </a:lnTo>
                  <a:lnTo>
                    <a:pt x="432" y="593"/>
                  </a:lnTo>
                  <a:lnTo>
                    <a:pt x="434" y="588"/>
                  </a:lnTo>
                  <a:lnTo>
                    <a:pt x="416" y="581"/>
                  </a:lnTo>
                  <a:lnTo>
                    <a:pt x="403" y="567"/>
                  </a:lnTo>
                  <a:lnTo>
                    <a:pt x="370" y="538"/>
                  </a:lnTo>
                  <a:lnTo>
                    <a:pt x="366" y="515"/>
                  </a:lnTo>
                  <a:lnTo>
                    <a:pt x="347" y="511"/>
                  </a:lnTo>
                  <a:lnTo>
                    <a:pt x="345" y="489"/>
                  </a:lnTo>
                  <a:lnTo>
                    <a:pt x="341" y="470"/>
                  </a:lnTo>
                  <a:lnTo>
                    <a:pt x="333" y="461"/>
                  </a:lnTo>
                  <a:lnTo>
                    <a:pt x="338" y="452"/>
                  </a:lnTo>
                  <a:lnTo>
                    <a:pt x="342" y="448"/>
                  </a:lnTo>
                  <a:lnTo>
                    <a:pt x="352" y="449"/>
                  </a:lnTo>
                  <a:lnTo>
                    <a:pt x="383" y="440"/>
                  </a:lnTo>
                  <a:lnTo>
                    <a:pt x="449" y="406"/>
                  </a:lnTo>
                  <a:lnTo>
                    <a:pt x="463" y="400"/>
                  </a:lnTo>
                  <a:lnTo>
                    <a:pt x="477" y="391"/>
                  </a:lnTo>
                  <a:lnTo>
                    <a:pt x="488" y="403"/>
                  </a:lnTo>
                  <a:lnTo>
                    <a:pt x="503" y="397"/>
                  </a:lnTo>
                  <a:lnTo>
                    <a:pt x="507" y="382"/>
                  </a:lnTo>
                  <a:lnTo>
                    <a:pt x="506" y="373"/>
                  </a:lnTo>
                  <a:lnTo>
                    <a:pt x="512" y="363"/>
                  </a:lnTo>
                  <a:lnTo>
                    <a:pt x="504" y="351"/>
                  </a:lnTo>
                  <a:lnTo>
                    <a:pt x="495" y="330"/>
                  </a:lnTo>
                  <a:lnTo>
                    <a:pt x="501" y="300"/>
                  </a:lnTo>
                  <a:lnTo>
                    <a:pt x="491" y="285"/>
                  </a:lnTo>
                  <a:lnTo>
                    <a:pt x="487" y="270"/>
                  </a:lnTo>
                  <a:lnTo>
                    <a:pt x="492" y="256"/>
                  </a:lnTo>
                  <a:lnTo>
                    <a:pt x="489" y="244"/>
                  </a:lnTo>
                  <a:lnTo>
                    <a:pt x="468" y="221"/>
                  </a:lnTo>
                  <a:lnTo>
                    <a:pt x="479" y="207"/>
                  </a:lnTo>
                  <a:lnTo>
                    <a:pt x="479" y="183"/>
                  </a:lnTo>
                  <a:lnTo>
                    <a:pt x="481" y="155"/>
                  </a:lnTo>
                  <a:lnTo>
                    <a:pt x="458" y="130"/>
                  </a:lnTo>
                  <a:lnTo>
                    <a:pt x="447" y="115"/>
                  </a:lnTo>
                  <a:lnTo>
                    <a:pt x="434" y="102"/>
                  </a:lnTo>
                  <a:lnTo>
                    <a:pt x="414" y="85"/>
                  </a:lnTo>
                  <a:lnTo>
                    <a:pt x="401" y="76"/>
                  </a:lnTo>
                  <a:lnTo>
                    <a:pt x="392" y="74"/>
                  </a:lnTo>
                  <a:lnTo>
                    <a:pt x="379" y="83"/>
                  </a:lnTo>
                  <a:lnTo>
                    <a:pt x="369" y="89"/>
                  </a:lnTo>
                  <a:lnTo>
                    <a:pt x="340" y="111"/>
                  </a:lnTo>
                  <a:lnTo>
                    <a:pt x="319" y="106"/>
                  </a:lnTo>
                  <a:lnTo>
                    <a:pt x="310" y="106"/>
                  </a:lnTo>
                  <a:lnTo>
                    <a:pt x="310" y="98"/>
                  </a:lnTo>
                  <a:lnTo>
                    <a:pt x="314" y="87"/>
                  </a:lnTo>
                  <a:lnTo>
                    <a:pt x="319" y="78"/>
                  </a:lnTo>
                  <a:lnTo>
                    <a:pt x="292" y="61"/>
                  </a:lnTo>
                  <a:lnTo>
                    <a:pt x="284" y="59"/>
                  </a:lnTo>
                  <a:lnTo>
                    <a:pt x="271" y="48"/>
                  </a:lnTo>
                  <a:lnTo>
                    <a:pt x="266" y="28"/>
                  </a:lnTo>
                  <a:lnTo>
                    <a:pt x="260" y="15"/>
                  </a:lnTo>
                  <a:lnTo>
                    <a:pt x="251" y="17"/>
                  </a:lnTo>
                  <a:lnTo>
                    <a:pt x="240" y="4"/>
                  </a:lnTo>
                  <a:lnTo>
                    <a:pt x="22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52" name="Freeform 33"/>
          <p:cNvSpPr>
            <a:spLocks/>
          </p:cNvSpPr>
          <p:nvPr/>
        </p:nvSpPr>
        <p:spPr bwMode="auto">
          <a:xfrm>
            <a:off x="2939714" y="3026652"/>
            <a:ext cx="832119" cy="818876"/>
          </a:xfrm>
          <a:custGeom>
            <a:avLst/>
            <a:gdLst>
              <a:gd name="T0" fmla="*/ 2147483647 w 551"/>
              <a:gd name="T1" fmla="*/ 2147483647 h 518"/>
              <a:gd name="T2" fmla="*/ 0 w 551"/>
              <a:gd name="T3" fmla="*/ 2147483647 h 518"/>
              <a:gd name="T4" fmla="*/ 2147483647 w 551"/>
              <a:gd name="T5" fmla="*/ 2147483647 h 518"/>
              <a:gd name="T6" fmla="*/ 2147483647 w 551"/>
              <a:gd name="T7" fmla="*/ 2147483647 h 518"/>
              <a:gd name="T8" fmla="*/ 2147483647 w 551"/>
              <a:gd name="T9" fmla="*/ 2147483647 h 518"/>
              <a:gd name="T10" fmla="*/ 2147483647 w 551"/>
              <a:gd name="T11" fmla="*/ 2147483647 h 518"/>
              <a:gd name="T12" fmla="*/ 2147483647 w 551"/>
              <a:gd name="T13" fmla="*/ 2147483647 h 518"/>
              <a:gd name="T14" fmla="*/ 2147483647 w 551"/>
              <a:gd name="T15" fmla="*/ 2147483647 h 518"/>
              <a:gd name="T16" fmla="*/ 2147483647 w 551"/>
              <a:gd name="T17" fmla="*/ 2147483647 h 518"/>
              <a:gd name="T18" fmla="*/ 2147483647 w 551"/>
              <a:gd name="T19" fmla="*/ 2147483647 h 518"/>
              <a:gd name="T20" fmla="*/ 2147483647 w 551"/>
              <a:gd name="T21" fmla="*/ 2147483647 h 518"/>
              <a:gd name="T22" fmla="*/ 2147483647 w 551"/>
              <a:gd name="T23" fmla="*/ 2147483647 h 518"/>
              <a:gd name="T24" fmla="*/ 2147483647 w 551"/>
              <a:gd name="T25" fmla="*/ 2147483647 h 518"/>
              <a:gd name="T26" fmla="*/ 2147483647 w 551"/>
              <a:gd name="T27" fmla="*/ 2147483647 h 518"/>
              <a:gd name="T28" fmla="*/ 2147483647 w 551"/>
              <a:gd name="T29" fmla="*/ 2147483647 h 518"/>
              <a:gd name="T30" fmla="*/ 2147483647 w 551"/>
              <a:gd name="T31" fmla="*/ 2147483647 h 518"/>
              <a:gd name="T32" fmla="*/ 2147483647 w 551"/>
              <a:gd name="T33" fmla="*/ 2147483647 h 518"/>
              <a:gd name="T34" fmla="*/ 2147483647 w 551"/>
              <a:gd name="T35" fmla="*/ 2147483647 h 518"/>
              <a:gd name="T36" fmla="*/ 2147483647 w 551"/>
              <a:gd name="T37" fmla="*/ 2147483647 h 518"/>
              <a:gd name="T38" fmla="*/ 2147483647 w 551"/>
              <a:gd name="T39" fmla="*/ 2147483647 h 518"/>
              <a:gd name="T40" fmla="*/ 2147483647 w 551"/>
              <a:gd name="T41" fmla="*/ 2147483647 h 518"/>
              <a:gd name="T42" fmla="*/ 2147483647 w 551"/>
              <a:gd name="T43" fmla="*/ 2147483647 h 518"/>
              <a:gd name="T44" fmla="*/ 2147483647 w 551"/>
              <a:gd name="T45" fmla="*/ 2147483647 h 518"/>
              <a:gd name="T46" fmla="*/ 2147483647 w 551"/>
              <a:gd name="T47" fmla="*/ 2147483647 h 518"/>
              <a:gd name="T48" fmla="*/ 2147483647 w 551"/>
              <a:gd name="T49" fmla="*/ 2147483647 h 518"/>
              <a:gd name="T50" fmla="*/ 2147483647 w 551"/>
              <a:gd name="T51" fmla="*/ 2147483647 h 518"/>
              <a:gd name="T52" fmla="*/ 2147483647 w 551"/>
              <a:gd name="T53" fmla="*/ 2147483647 h 518"/>
              <a:gd name="T54" fmla="*/ 2147483647 w 551"/>
              <a:gd name="T55" fmla="*/ 2147483647 h 518"/>
              <a:gd name="T56" fmla="*/ 2147483647 w 551"/>
              <a:gd name="T57" fmla="*/ 2147483647 h 518"/>
              <a:gd name="T58" fmla="*/ 2147483647 w 551"/>
              <a:gd name="T59" fmla="*/ 2147483647 h 518"/>
              <a:gd name="T60" fmla="*/ 2147483647 w 551"/>
              <a:gd name="T61" fmla="*/ 2147483647 h 518"/>
              <a:gd name="T62" fmla="*/ 2147483647 w 551"/>
              <a:gd name="T63" fmla="*/ 2147483647 h 518"/>
              <a:gd name="T64" fmla="*/ 2147483647 w 551"/>
              <a:gd name="T65" fmla="*/ 2147483647 h 518"/>
              <a:gd name="T66" fmla="*/ 2147483647 w 551"/>
              <a:gd name="T67" fmla="*/ 2147483647 h 518"/>
              <a:gd name="T68" fmla="*/ 2147483647 w 551"/>
              <a:gd name="T69" fmla="*/ 2147483647 h 518"/>
              <a:gd name="T70" fmla="*/ 2147483647 w 551"/>
              <a:gd name="T71" fmla="*/ 2147483647 h 518"/>
              <a:gd name="T72" fmla="*/ 2147483647 w 551"/>
              <a:gd name="T73" fmla="*/ 2147483647 h 518"/>
              <a:gd name="T74" fmla="*/ 2147483647 w 551"/>
              <a:gd name="T75" fmla="*/ 2147483647 h 518"/>
              <a:gd name="T76" fmla="*/ 2147483647 w 551"/>
              <a:gd name="T77" fmla="*/ 2147483647 h 518"/>
              <a:gd name="T78" fmla="*/ 2147483647 w 551"/>
              <a:gd name="T79" fmla="*/ 2147483647 h 518"/>
              <a:gd name="T80" fmla="*/ 2147483647 w 551"/>
              <a:gd name="T81" fmla="*/ 2147483647 h 518"/>
              <a:gd name="T82" fmla="*/ 2147483647 w 551"/>
              <a:gd name="T83" fmla="*/ 2147483647 h 518"/>
              <a:gd name="T84" fmla="*/ 2147483647 w 551"/>
              <a:gd name="T85" fmla="*/ 2147483647 h 518"/>
              <a:gd name="T86" fmla="*/ 2147483647 w 551"/>
              <a:gd name="T87" fmla="*/ 2147483647 h 518"/>
              <a:gd name="T88" fmla="*/ 2147483647 w 551"/>
              <a:gd name="T89" fmla="*/ 2147483647 h 518"/>
              <a:gd name="T90" fmla="*/ 2147483647 w 551"/>
              <a:gd name="T91" fmla="*/ 2147483647 h 518"/>
              <a:gd name="T92" fmla="*/ 2147483647 w 551"/>
              <a:gd name="T93" fmla="*/ 2147483647 h 518"/>
              <a:gd name="T94" fmla="*/ 2147483647 w 551"/>
              <a:gd name="T95" fmla="*/ 2147483647 h 51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551"/>
              <a:gd name="T145" fmla="*/ 0 h 518"/>
              <a:gd name="T146" fmla="*/ 551 w 551"/>
              <a:gd name="T147" fmla="*/ 518 h 51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551" h="518">
                <a:moveTo>
                  <a:pt x="13" y="98"/>
                </a:moveTo>
                <a:lnTo>
                  <a:pt x="11" y="130"/>
                </a:lnTo>
                <a:lnTo>
                  <a:pt x="11" y="150"/>
                </a:lnTo>
                <a:lnTo>
                  <a:pt x="0" y="165"/>
                </a:lnTo>
                <a:lnTo>
                  <a:pt x="22" y="191"/>
                </a:lnTo>
                <a:lnTo>
                  <a:pt x="24" y="198"/>
                </a:lnTo>
                <a:lnTo>
                  <a:pt x="19" y="215"/>
                </a:lnTo>
                <a:lnTo>
                  <a:pt x="20" y="226"/>
                </a:lnTo>
                <a:lnTo>
                  <a:pt x="31" y="241"/>
                </a:lnTo>
                <a:lnTo>
                  <a:pt x="30" y="250"/>
                </a:lnTo>
                <a:lnTo>
                  <a:pt x="28" y="278"/>
                </a:lnTo>
                <a:lnTo>
                  <a:pt x="37" y="297"/>
                </a:lnTo>
                <a:lnTo>
                  <a:pt x="44" y="308"/>
                </a:lnTo>
                <a:lnTo>
                  <a:pt x="39" y="315"/>
                </a:lnTo>
                <a:lnTo>
                  <a:pt x="39" y="326"/>
                </a:lnTo>
                <a:lnTo>
                  <a:pt x="33" y="332"/>
                </a:lnTo>
                <a:lnTo>
                  <a:pt x="33" y="339"/>
                </a:lnTo>
                <a:lnTo>
                  <a:pt x="48" y="341"/>
                </a:lnTo>
                <a:lnTo>
                  <a:pt x="59" y="345"/>
                </a:lnTo>
                <a:lnTo>
                  <a:pt x="63" y="352"/>
                </a:lnTo>
                <a:lnTo>
                  <a:pt x="63" y="365"/>
                </a:lnTo>
                <a:lnTo>
                  <a:pt x="78" y="380"/>
                </a:lnTo>
                <a:lnTo>
                  <a:pt x="92" y="386"/>
                </a:lnTo>
                <a:lnTo>
                  <a:pt x="95" y="399"/>
                </a:lnTo>
                <a:lnTo>
                  <a:pt x="112" y="421"/>
                </a:lnTo>
                <a:lnTo>
                  <a:pt x="127" y="408"/>
                </a:lnTo>
                <a:lnTo>
                  <a:pt x="140" y="404"/>
                </a:lnTo>
                <a:lnTo>
                  <a:pt x="149" y="406"/>
                </a:lnTo>
                <a:lnTo>
                  <a:pt x="175" y="434"/>
                </a:lnTo>
                <a:lnTo>
                  <a:pt x="181" y="436"/>
                </a:lnTo>
                <a:lnTo>
                  <a:pt x="212" y="450"/>
                </a:lnTo>
                <a:lnTo>
                  <a:pt x="219" y="452"/>
                </a:lnTo>
                <a:lnTo>
                  <a:pt x="232" y="449"/>
                </a:lnTo>
                <a:lnTo>
                  <a:pt x="247" y="447"/>
                </a:lnTo>
                <a:lnTo>
                  <a:pt x="260" y="452"/>
                </a:lnTo>
                <a:lnTo>
                  <a:pt x="277" y="467"/>
                </a:lnTo>
                <a:lnTo>
                  <a:pt x="284" y="475"/>
                </a:lnTo>
                <a:lnTo>
                  <a:pt x="292" y="469"/>
                </a:lnTo>
                <a:lnTo>
                  <a:pt x="301" y="467"/>
                </a:lnTo>
                <a:lnTo>
                  <a:pt x="314" y="478"/>
                </a:lnTo>
                <a:lnTo>
                  <a:pt x="329" y="490"/>
                </a:lnTo>
                <a:lnTo>
                  <a:pt x="340" y="498"/>
                </a:lnTo>
                <a:lnTo>
                  <a:pt x="355" y="503"/>
                </a:lnTo>
                <a:lnTo>
                  <a:pt x="362" y="501"/>
                </a:lnTo>
                <a:lnTo>
                  <a:pt x="369" y="494"/>
                </a:lnTo>
                <a:lnTo>
                  <a:pt x="379" y="490"/>
                </a:lnTo>
                <a:lnTo>
                  <a:pt x="397" y="496"/>
                </a:lnTo>
                <a:lnTo>
                  <a:pt x="482" y="518"/>
                </a:lnTo>
                <a:lnTo>
                  <a:pt x="495" y="507"/>
                </a:lnTo>
                <a:lnTo>
                  <a:pt x="486" y="490"/>
                </a:lnTo>
                <a:lnTo>
                  <a:pt x="477" y="462"/>
                </a:lnTo>
                <a:lnTo>
                  <a:pt x="536" y="408"/>
                </a:lnTo>
                <a:lnTo>
                  <a:pt x="547" y="395"/>
                </a:lnTo>
                <a:lnTo>
                  <a:pt x="551" y="374"/>
                </a:lnTo>
                <a:lnTo>
                  <a:pt x="542" y="347"/>
                </a:lnTo>
                <a:lnTo>
                  <a:pt x="532" y="324"/>
                </a:lnTo>
                <a:lnTo>
                  <a:pt x="516" y="298"/>
                </a:lnTo>
                <a:lnTo>
                  <a:pt x="505" y="287"/>
                </a:lnTo>
                <a:lnTo>
                  <a:pt x="503" y="271"/>
                </a:lnTo>
                <a:lnTo>
                  <a:pt x="505" y="254"/>
                </a:lnTo>
                <a:lnTo>
                  <a:pt x="510" y="237"/>
                </a:lnTo>
                <a:lnTo>
                  <a:pt x="503" y="226"/>
                </a:lnTo>
                <a:lnTo>
                  <a:pt x="494" y="219"/>
                </a:lnTo>
                <a:lnTo>
                  <a:pt x="503" y="208"/>
                </a:lnTo>
                <a:lnTo>
                  <a:pt x="518" y="187"/>
                </a:lnTo>
                <a:lnTo>
                  <a:pt x="523" y="182"/>
                </a:lnTo>
                <a:lnTo>
                  <a:pt x="520" y="146"/>
                </a:lnTo>
                <a:lnTo>
                  <a:pt x="514" y="128"/>
                </a:lnTo>
                <a:lnTo>
                  <a:pt x="508" y="109"/>
                </a:lnTo>
                <a:lnTo>
                  <a:pt x="508" y="91"/>
                </a:lnTo>
                <a:lnTo>
                  <a:pt x="497" y="74"/>
                </a:lnTo>
                <a:lnTo>
                  <a:pt x="482" y="59"/>
                </a:lnTo>
                <a:lnTo>
                  <a:pt x="466" y="57"/>
                </a:lnTo>
                <a:lnTo>
                  <a:pt x="418" y="56"/>
                </a:lnTo>
                <a:lnTo>
                  <a:pt x="392" y="54"/>
                </a:lnTo>
                <a:lnTo>
                  <a:pt x="344" y="50"/>
                </a:lnTo>
                <a:lnTo>
                  <a:pt x="325" y="41"/>
                </a:lnTo>
                <a:lnTo>
                  <a:pt x="305" y="39"/>
                </a:lnTo>
                <a:lnTo>
                  <a:pt x="294" y="43"/>
                </a:lnTo>
                <a:lnTo>
                  <a:pt x="281" y="52"/>
                </a:lnTo>
                <a:lnTo>
                  <a:pt x="269" y="48"/>
                </a:lnTo>
                <a:lnTo>
                  <a:pt x="258" y="37"/>
                </a:lnTo>
                <a:lnTo>
                  <a:pt x="245" y="37"/>
                </a:lnTo>
                <a:lnTo>
                  <a:pt x="240" y="32"/>
                </a:lnTo>
                <a:lnTo>
                  <a:pt x="236" y="15"/>
                </a:lnTo>
                <a:lnTo>
                  <a:pt x="219" y="2"/>
                </a:lnTo>
                <a:lnTo>
                  <a:pt x="207" y="0"/>
                </a:lnTo>
                <a:lnTo>
                  <a:pt x="184" y="6"/>
                </a:lnTo>
                <a:lnTo>
                  <a:pt x="166" y="11"/>
                </a:lnTo>
                <a:lnTo>
                  <a:pt x="151" y="20"/>
                </a:lnTo>
                <a:lnTo>
                  <a:pt x="125" y="35"/>
                </a:lnTo>
                <a:lnTo>
                  <a:pt x="99" y="43"/>
                </a:lnTo>
                <a:lnTo>
                  <a:pt x="76" y="52"/>
                </a:lnTo>
                <a:lnTo>
                  <a:pt x="52" y="63"/>
                </a:lnTo>
                <a:lnTo>
                  <a:pt x="39" y="78"/>
                </a:lnTo>
                <a:lnTo>
                  <a:pt x="24" y="91"/>
                </a:lnTo>
                <a:lnTo>
                  <a:pt x="13" y="98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3" name="Freeform 56"/>
          <p:cNvSpPr>
            <a:spLocks/>
          </p:cNvSpPr>
          <p:nvPr/>
        </p:nvSpPr>
        <p:spPr bwMode="auto">
          <a:xfrm>
            <a:off x="2737347" y="3556234"/>
            <a:ext cx="608610" cy="347785"/>
          </a:xfrm>
          <a:custGeom>
            <a:avLst/>
            <a:gdLst>
              <a:gd name="T0" fmla="*/ 2147483647 w 403"/>
              <a:gd name="T1" fmla="*/ 2147483647 h 220"/>
              <a:gd name="T2" fmla="*/ 2147483647 w 403"/>
              <a:gd name="T3" fmla="*/ 2147483647 h 220"/>
              <a:gd name="T4" fmla="*/ 2147483647 w 403"/>
              <a:gd name="T5" fmla="*/ 2147483647 h 220"/>
              <a:gd name="T6" fmla="*/ 2147483647 w 403"/>
              <a:gd name="T7" fmla="*/ 2147483647 h 220"/>
              <a:gd name="T8" fmla="*/ 2147483647 w 403"/>
              <a:gd name="T9" fmla="*/ 2147483647 h 220"/>
              <a:gd name="T10" fmla="*/ 2147483647 w 403"/>
              <a:gd name="T11" fmla="*/ 2147483647 h 220"/>
              <a:gd name="T12" fmla="*/ 2147483647 w 403"/>
              <a:gd name="T13" fmla="*/ 2147483647 h 220"/>
              <a:gd name="T14" fmla="*/ 2147483647 w 403"/>
              <a:gd name="T15" fmla="*/ 2147483647 h 220"/>
              <a:gd name="T16" fmla="*/ 0 w 403"/>
              <a:gd name="T17" fmla="*/ 2147483647 h 220"/>
              <a:gd name="T18" fmla="*/ 2147483647 w 403"/>
              <a:gd name="T19" fmla="*/ 2147483647 h 220"/>
              <a:gd name="T20" fmla="*/ 2147483647 w 403"/>
              <a:gd name="T21" fmla="*/ 2147483647 h 220"/>
              <a:gd name="T22" fmla="*/ 2147483647 w 403"/>
              <a:gd name="T23" fmla="*/ 2147483647 h 220"/>
              <a:gd name="T24" fmla="*/ 2147483647 w 403"/>
              <a:gd name="T25" fmla="*/ 2147483647 h 220"/>
              <a:gd name="T26" fmla="*/ 2147483647 w 403"/>
              <a:gd name="T27" fmla="*/ 0 h 220"/>
              <a:gd name="T28" fmla="*/ 2147483647 w 403"/>
              <a:gd name="T29" fmla="*/ 2147483647 h 220"/>
              <a:gd name="T30" fmla="*/ 2147483647 w 403"/>
              <a:gd name="T31" fmla="*/ 2147483647 h 220"/>
              <a:gd name="T32" fmla="*/ 2147483647 w 403"/>
              <a:gd name="T33" fmla="*/ 2147483647 h 220"/>
              <a:gd name="T34" fmla="*/ 2147483647 w 403"/>
              <a:gd name="T35" fmla="*/ 2147483647 h 220"/>
              <a:gd name="T36" fmla="*/ 2147483647 w 403"/>
              <a:gd name="T37" fmla="*/ 2147483647 h 220"/>
              <a:gd name="T38" fmla="*/ 2147483647 w 403"/>
              <a:gd name="T39" fmla="*/ 2147483647 h 220"/>
              <a:gd name="T40" fmla="*/ 2147483647 w 403"/>
              <a:gd name="T41" fmla="*/ 2147483647 h 220"/>
              <a:gd name="T42" fmla="*/ 2147483647 w 403"/>
              <a:gd name="T43" fmla="*/ 2147483647 h 220"/>
              <a:gd name="T44" fmla="*/ 2147483647 w 403"/>
              <a:gd name="T45" fmla="*/ 2147483647 h 220"/>
              <a:gd name="T46" fmla="*/ 2147483647 w 403"/>
              <a:gd name="T47" fmla="*/ 2147483647 h 220"/>
              <a:gd name="T48" fmla="*/ 2147483647 w 403"/>
              <a:gd name="T49" fmla="*/ 2147483647 h 220"/>
              <a:gd name="T50" fmla="*/ 2147483647 w 403"/>
              <a:gd name="T51" fmla="*/ 2147483647 h 220"/>
              <a:gd name="T52" fmla="*/ 2147483647 w 403"/>
              <a:gd name="T53" fmla="*/ 2147483647 h 220"/>
              <a:gd name="T54" fmla="*/ 2147483647 w 403"/>
              <a:gd name="T55" fmla="*/ 2147483647 h 220"/>
              <a:gd name="T56" fmla="*/ 2147483647 w 403"/>
              <a:gd name="T57" fmla="*/ 2147483647 h 220"/>
              <a:gd name="T58" fmla="*/ 2147483647 w 403"/>
              <a:gd name="T59" fmla="*/ 2147483647 h 220"/>
              <a:gd name="T60" fmla="*/ 2147483647 w 403"/>
              <a:gd name="T61" fmla="*/ 2147483647 h 220"/>
              <a:gd name="T62" fmla="*/ 2147483647 w 403"/>
              <a:gd name="T63" fmla="*/ 2147483647 h 220"/>
              <a:gd name="T64" fmla="*/ 2147483647 w 403"/>
              <a:gd name="T65" fmla="*/ 2147483647 h 220"/>
              <a:gd name="T66" fmla="*/ 2147483647 w 403"/>
              <a:gd name="T67" fmla="*/ 2147483647 h 220"/>
              <a:gd name="T68" fmla="*/ 2147483647 w 403"/>
              <a:gd name="T69" fmla="*/ 2147483647 h 220"/>
              <a:gd name="T70" fmla="*/ 2147483647 w 403"/>
              <a:gd name="T71" fmla="*/ 2147483647 h 220"/>
              <a:gd name="T72" fmla="*/ 2147483647 w 403"/>
              <a:gd name="T73" fmla="*/ 2147483647 h 220"/>
              <a:gd name="T74" fmla="*/ 2147483647 w 403"/>
              <a:gd name="T75" fmla="*/ 2147483647 h 220"/>
              <a:gd name="T76" fmla="*/ 2147483647 w 403"/>
              <a:gd name="T77" fmla="*/ 2147483647 h 220"/>
              <a:gd name="T78" fmla="*/ 2147483647 w 403"/>
              <a:gd name="T79" fmla="*/ 2147483647 h 220"/>
              <a:gd name="T80" fmla="*/ 2147483647 w 403"/>
              <a:gd name="T81" fmla="*/ 2147483647 h 220"/>
              <a:gd name="T82" fmla="*/ 2147483647 w 403"/>
              <a:gd name="T83" fmla="*/ 2147483647 h 220"/>
              <a:gd name="T84" fmla="*/ 2147483647 w 403"/>
              <a:gd name="T85" fmla="*/ 2147483647 h 220"/>
              <a:gd name="T86" fmla="*/ 2147483647 w 403"/>
              <a:gd name="T87" fmla="*/ 2147483647 h 220"/>
              <a:gd name="T88" fmla="*/ 2147483647 w 403"/>
              <a:gd name="T89" fmla="*/ 2147483647 h 220"/>
              <a:gd name="T90" fmla="*/ 2147483647 w 403"/>
              <a:gd name="T91" fmla="*/ 2147483647 h 220"/>
              <a:gd name="T92" fmla="*/ 2147483647 w 403"/>
              <a:gd name="T93" fmla="*/ 2147483647 h 220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03"/>
              <a:gd name="T142" fmla="*/ 0 h 220"/>
              <a:gd name="T143" fmla="*/ 403 w 403"/>
              <a:gd name="T144" fmla="*/ 220 h 220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03" h="220">
                <a:moveTo>
                  <a:pt x="99" y="211"/>
                </a:moveTo>
                <a:lnTo>
                  <a:pt x="96" y="199"/>
                </a:lnTo>
                <a:lnTo>
                  <a:pt x="83" y="192"/>
                </a:lnTo>
                <a:lnTo>
                  <a:pt x="36" y="149"/>
                </a:lnTo>
                <a:lnTo>
                  <a:pt x="33" y="126"/>
                </a:lnTo>
                <a:lnTo>
                  <a:pt x="12" y="123"/>
                </a:lnTo>
                <a:lnTo>
                  <a:pt x="13" y="102"/>
                </a:lnTo>
                <a:lnTo>
                  <a:pt x="6" y="82"/>
                </a:lnTo>
                <a:lnTo>
                  <a:pt x="0" y="71"/>
                </a:lnTo>
                <a:lnTo>
                  <a:pt x="4" y="59"/>
                </a:lnTo>
                <a:lnTo>
                  <a:pt x="19" y="59"/>
                </a:lnTo>
                <a:lnTo>
                  <a:pt x="45" y="53"/>
                </a:lnTo>
                <a:lnTo>
                  <a:pt x="126" y="11"/>
                </a:lnTo>
                <a:lnTo>
                  <a:pt x="143" y="0"/>
                </a:lnTo>
                <a:lnTo>
                  <a:pt x="154" y="13"/>
                </a:lnTo>
                <a:lnTo>
                  <a:pt x="171" y="6"/>
                </a:lnTo>
                <a:lnTo>
                  <a:pt x="187" y="7"/>
                </a:lnTo>
                <a:lnTo>
                  <a:pt x="197" y="14"/>
                </a:lnTo>
                <a:lnTo>
                  <a:pt x="197" y="33"/>
                </a:lnTo>
                <a:lnTo>
                  <a:pt x="227" y="52"/>
                </a:lnTo>
                <a:lnTo>
                  <a:pt x="229" y="65"/>
                </a:lnTo>
                <a:lnTo>
                  <a:pt x="240" y="80"/>
                </a:lnTo>
                <a:lnTo>
                  <a:pt x="248" y="86"/>
                </a:lnTo>
                <a:lnTo>
                  <a:pt x="253" y="80"/>
                </a:lnTo>
                <a:lnTo>
                  <a:pt x="274" y="69"/>
                </a:lnTo>
                <a:lnTo>
                  <a:pt x="283" y="71"/>
                </a:lnTo>
                <a:lnTo>
                  <a:pt x="309" y="100"/>
                </a:lnTo>
                <a:lnTo>
                  <a:pt x="315" y="99"/>
                </a:lnTo>
                <a:lnTo>
                  <a:pt x="342" y="115"/>
                </a:lnTo>
                <a:lnTo>
                  <a:pt x="382" y="113"/>
                </a:lnTo>
                <a:lnTo>
                  <a:pt x="403" y="126"/>
                </a:lnTo>
                <a:lnTo>
                  <a:pt x="359" y="151"/>
                </a:lnTo>
                <a:lnTo>
                  <a:pt x="357" y="181"/>
                </a:lnTo>
                <a:lnTo>
                  <a:pt x="330" y="206"/>
                </a:lnTo>
                <a:lnTo>
                  <a:pt x="301" y="205"/>
                </a:lnTo>
                <a:lnTo>
                  <a:pt x="285" y="212"/>
                </a:lnTo>
                <a:lnTo>
                  <a:pt x="265" y="220"/>
                </a:lnTo>
                <a:lnTo>
                  <a:pt x="240" y="204"/>
                </a:lnTo>
                <a:lnTo>
                  <a:pt x="224" y="212"/>
                </a:lnTo>
                <a:lnTo>
                  <a:pt x="209" y="215"/>
                </a:lnTo>
                <a:lnTo>
                  <a:pt x="197" y="196"/>
                </a:lnTo>
                <a:lnTo>
                  <a:pt x="162" y="197"/>
                </a:lnTo>
                <a:lnTo>
                  <a:pt x="151" y="205"/>
                </a:lnTo>
                <a:lnTo>
                  <a:pt x="143" y="213"/>
                </a:lnTo>
                <a:lnTo>
                  <a:pt x="128" y="213"/>
                </a:lnTo>
                <a:lnTo>
                  <a:pt x="112" y="216"/>
                </a:lnTo>
                <a:lnTo>
                  <a:pt x="99" y="211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4" name="Freeform 57"/>
          <p:cNvSpPr>
            <a:spLocks/>
          </p:cNvSpPr>
          <p:nvPr/>
        </p:nvSpPr>
        <p:spPr bwMode="auto">
          <a:xfrm>
            <a:off x="2797755" y="4202799"/>
            <a:ext cx="549712" cy="564361"/>
          </a:xfrm>
          <a:custGeom>
            <a:avLst/>
            <a:gdLst>
              <a:gd name="T0" fmla="*/ 2147483647 w 364"/>
              <a:gd name="T1" fmla="*/ 2147483647 h 357"/>
              <a:gd name="T2" fmla="*/ 2147483647 w 364"/>
              <a:gd name="T3" fmla="*/ 2147483647 h 357"/>
              <a:gd name="T4" fmla="*/ 2147483647 w 364"/>
              <a:gd name="T5" fmla="*/ 2147483647 h 357"/>
              <a:gd name="T6" fmla="*/ 2147483647 w 364"/>
              <a:gd name="T7" fmla="*/ 2147483647 h 357"/>
              <a:gd name="T8" fmla="*/ 2147483647 w 364"/>
              <a:gd name="T9" fmla="*/ 2147483647 h 357"/>
              <a:gd name="T10" fmla="*/ 2147483647 w 364"/>
              <a:gd name="T11" fmla="*/ 2147483647 h 357"/>
              <a:gd name="T12" fmla="*/ 2147483647 w 364"/>
              <a:gd name="T13" fmla="*/ 2147483647 h 357"/>
              <a:gd name="T14" fmla="*/ 2147483647 w 364"/>
              <a:gd name="T15" fmla="*/ 2147483647 h 357"/>
              <a:gd name="T16" fmla="*/ 2147483647 w 364"/>
              <a:gd name="T17" fmla="*/ 2147483647 h 357"/>
              <a:gd name="T18" fmla="*/ 2147483647 w 364"/>
              <a:gd name="T19" fmla="*/ 2147483647 h 357"/>
              <a:gd name="T20" fmla="*/ 2147483647 w 364"/>
              <a:gd name="T21" fmla="*/ 2147483647 h 357"/>
              <a:gd name="T22" fmla="*/ 2147483647 w 364"/>
              <a:gd name="T23" fmla="*/ 2147483647 h 357"/>
              <a:gd name="T24" fmla="*/ 2147483647 w 364"/>
              <a:gd name="T25" fmla="*/ 2147483647 h 357"/>
              <a:gd name="T26" fmla="*/ 2147483647 w 364"/>
              <a:gd name="T27" fmla="*/ 2147483647 h 357"/>
              <a:gd name="T28" fmla="*/ 2147483647 w 364"/>
              <a:gd name="T29" fmla="*/ 2147483647 h 357"/>
              <a:gd name="T30" fmla="*/ 2147483647 w 364"/>
              <a:gd name="T31" fmla="*/ 2147483647 h 357"/>
              <a:gd name="T32" fmla="*/ 2147483647 w 364"/>
              <a:gd name="T33" fmla="*/ 2147483647 h 357"/>
              <a:gd name="T34" fmla="*/ 2147483647 w 364"/>
              <a:gd name="T35" fmla="*/ 2147483647 h 357"/>
              <a:gd name="T36" fmla="*/ 2147483647 w 364"/>
              <a:gd name="T37" fmla="*/ 2147483647 h 357"/>
              <a:gd name="T38" fmla="*/ 2147483647 w 364"/>
              <a:gd name="T39" fmla="*/ 2147483647 h 357"/>
              <a:gd name="T40" fmla="*/ 2147483647 w 364"/>
              <a:gd name="T41" fmla="*/ 2147483647 h 357"/>
              <a:gd name="T42" fmla="*/ 2147483647 w 364"/>
              <a:gd name="T43" fmla="*/ 2147483647 h 357"/>
              <a:gd name="T44" fmla="*/ 2147483647 w 364"/>
              <a:gd name="T45" fmla="*/ 2147483647 h 357"/>
              <a:gd name="T46" fmla="*/ 2147483647 w 364"/>
              <a:gd name="T47" fmla="*/ 2147483647 h 357"/>
              <a:gd name="T48" fmla="*/ 2147483647 w 364"/>
              <a:gd name="T49" fmla="*/ 2147483647 h 357"/>
              <a:gd name="T50" fmla="*/ 2147483647 w 364"/>
              <a:gd name="T51" fmla="*/ 2147483647 h 357"/>
              <a:gd name="T52" fmla="*/ 2147483647 w 364"/>
              <a:gd name="T53" fmla="*/ 2147483647 h 357"/>
              <a:gd name="T54" fmla="*/ 2147483647 w 364"/>
              <a:gd name="T55" fmla="*/ 2147483647 h 357"/>
              <a:gd name="T56" fmla="*/ 2147483647 w 364"/>
              <a:gd name="T57" fmla="*/ 2147483647 h 357"/>
              <a:gd name="T58" fmla="*/ 2147483647 w 364"/>
              <a:gd name="T59" fmla="*/ 2147483647 h 357"/>
              <a:gd name="T60" fmla="*/ 2147483647 w 364"/>
              <a:gd name="T61" fmla="*/ 2147483647 h 357"/>
              <a:gd name="T62" fmla="*/ 2147483647 w 364"/>
              <a:gd name="T63" fmla="*/ 2147483647 h 357"/>
              <a:gd name="T64" fmla="*/ 2147483647 w 364"/>
              <a:gd name="T65" fmla="*/ 2147483647 h 357"/>
              <a:gd name="T66" fmla="*/ 2147483647 w 364"/>
              <a:gd name="T67" fmla="*/ 2147483647 h 357"/>
              <a:gd name="T68" fmla="*/ 2147483647 w 364"/>
              <a:gd name="T69" fmla="*/ 2147483647 h 357"/>
              <a:gd name="T70" fmla="*/ 2147483647 w 364"/>
              <a:gd name="T71" fmla="*/ 2147483647 h 357"/>
              <a:gd name="T72" fmla="*/ 2147483647 w 364"/>
              <a:gd name="T73" fmla="*/ 2147483647 h 357"/>
              <a:gd name="T74" fmla="*/ 2147483647 w 364"/>
              <a:gd name="T75" fmla="*/ 2147483647 h 357"/>
              <a:gd name="T76" fmla="*/ 2147483647 w 364"/>
              <a:gd name="T77" fmla="*/ 2147483647 h 357"/>
              <a:gd name="T78" fmla="*/ 2147483647 w 364"/>
              <a:gd name="T79" fmla="*/ 0 h 357"/>
              <a:gd name="T80" fmla="*/ 2147483647 w 364"/>
              <a:gd name="T81" fmla="*/ 2147483647 h 357"/>
              <a:gd name="T82" fmla="*/ 2147483647 w 364"/>
              <a:gd name="T83" fmla="*/ 2147483647 h 357"/>
              <a:gd name="T84" fmla="*/ 2147483647 w 364"/>
              <a:gd name="T85" fmla="*/ 2147483647 h 357"/>
              <a:gd name="T86" fmla="*/ 2147483647 w 364"/>
              <a:gd name="T87" fmla="*/ 2147483647 h 357"/>
              <a:gd name="T88" fmla="*/ 0 w 364"/>
              <a:gd name="T89" fmla="*/ 2147483647 h 357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64"/>
              <a:gd name="T136" fmla="*/ 0 h 357"/>
              <a:gd name="T137" fmla="*/ 364 w 364"/>
              <a:gd name="T138" fmla="*/ 357 h 357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64" h="357">
                <a:moveTo>
                  <a:pt x="0" y="80"/>
                </a:moveTo>
                <a:lnTo>
                  <a:pt x="7" y="102"/>
                </a:lnTo>
                <a:lnTo>
                  <a:pt x="15" y="119"/>
                </a:lnTo>
                <a:lnTo>
                  <a:pt x="22" y="130"/>
                </a:lnTo>
                <a:lnTo>
                  <a:pt x="31" y="132"/>
                </a:lnTo>
                <a:lnTo>
                  <a:pt x="41" y="126"/>
                </a:lnTo>
                <a:lnTo>
                  <a:pt x="46" y="115"/>
                </a:lnTo>
                <a:lnTo>
                  <a:pt x="56" y="98"/>
                </a:lnTo>
                <a:lnTo>
                  <a:pt x="69" y="108"/>
                </a:lnTo>
                <a:lnTo>
                  <a:pt x="82" y="111"/>
                </a:lnTo>
                <a:lnTo>
                  <a:pt x="91" y="117"/>
                </a:lnTo>
                <a:lnTo>
                  <a:pt x="89" y="135"/>
                </a:lnTo>
                <a:lnTo>
                  <a:pt x="89" y="147"/>
                </a:lnTo>
                <a:lnTo>
                  <a:pt x="102" y="167"/>
                </a:lnTo>
                <a:lnTo>
                  <a:pt x="117" y="184"/>
                </a:lnTo>
                <a:lnTo>
                  <a:pt x="115" y="189"/>
                </a:lnTo>
                <a:lnTo>
                  <a:pt x="98" y="189"/>
                </a:lnTo>
                <a:lnTo>
                  <a:pt x="106" y="199"/>
                </a:lnTo>
                <a:lnTo>
                  <a:pt x="156" y="256"/>
                </a:lnTo>
                <a:lnTo>
                  <a:pt x="161" y="260"/>
                </a:lnTo>
                <a:lnTo>
                  <a:pt x="176" y="260"/>
                </a:lnTo>
                <a:lnTo>
                  <a:pt x="188" y="263"/>
                </a:lnTo>
                <a:lnTo>
                  <a:pt x="210" y="273"/>
                </a:lnTo>
                <a:lnTo>
                  <a:pt x="229" y="291"/>
                </a:lnTo>
                <a:lnTo>
                  <a:pt x="233" y="299"/>
                </a:lnTo>
                <a:lnTo>
                  <a:pt x="240" y="314"/>
                </a:lnTo>
                <a:lnTo>
                  <a:pt x="246" y="313"/>
                </a:lnTo>
                <a:lnTo>
                  <a:pt x="251" y="313"/>
                </a:lnTo>
                <a:lnTo>
                  <a:pt x="266" y="319"/>
                </a:lnTo>
                <a:lnTo>
                  <a:pt x="275" y="326"/>
                </a:lnTo>
                <a:lnTo>
                  <a:pt x="303" y="357"/>
                </a:lnTo>
                <a:lnTo>
                  <a:pt x="291" y="325"/>
                </a:lnTo>
                <a:lnTo>
                  <a:pt x="284" y="313"/>
                </a:lnTo>
                <a:lnTo>
                  <a:pt x="290" y="301"/>
                </a:lnTo>
                <a:lnTo>
                  <a:pt x="286" y="291"/>
                </a:lnTo>
                <a:lnTo>
                  <a:pt x="272" y="275"/>
                </a:lnTo>
                <a:lnTo>
                  <a:pt x="246" y="245"/>
                </a:lnTo>
                <a:lnTo>
                  <a:pt x="229" y="232"/>
                </a:lnTo>
                <a:lnTo>
                  <a:pt x="223" y="226"/>
                </a:lnTo>
                <a:lnTo>
                  <a:pt x="214" y="228"/>
                </a:lnTo>
                <a:lnTo>
                  <a:pt x="201" y="217"/>
                </a:lnTo>
                <a:lnTo>
                  <a:pt x="199" y="217"/>
                </a:lnTo>
                <a:lnTo>
                  <a:pt x="192" y="210"/>
                </a:lnTo>
                <a:lnTo>
                  <a:pt x="188" y="197"/>
                </a:lnTo>
                <a:lnTo>
                  <a:pt x="184" y="184"/>
                </a:lnTo>
                <a:lnTo>
                  <a:pt x="169" y="165"/>
                </a:lnTo>
                <a:lnTo>
                  <a:pt x="139" y="134"/>
                </a:lnTo>
                <a:lnTo>
                  <a:pt x="137" y="126"/>
                </a:lnTo>
                <a:lnTo>
                  <a:pt x="139" y="122"/>
                </a:lnTo>
                <a:lnTo>
                  <a:pt x="154" y="119"/>
                </a:lnTo>
                <a:lnTo>
                  <a:pt x="196" y="132"/>
                </a:lnTo>
                <a:lnTo>
                  <a:pt x="223" y="102"/>
                </a:lnTo>
                <a:lnTo>
                  <a:pt x="246" y="121"/>
                </a:lnTo>
                <a:lnTo>
                  <a:pt x="255" y="122"/>
                </a:lnTo>
                <a:lnTo>
                  <a:pt x="260" y="130"/>
                </a:lnTo>
                <a:lnTo>
                  <a:pt x="268" y="122"/>
                </a:lnTo>
                <a:lnTo>
                  <a:pt x="283" y="122"/>
                </a:lnTo>
                <a:lnTo>
                  <a:pt x="296" y="124"/>
                </a:lnTo>
                <a:lnTo>
                  <a:pt x="314" y="115"/>
                </a:lnTo>
                <a:lnTo>
                  <a:pt x="333" y="122"/>
                </a:lnTo>
                <a:lnTo>
                  <a:pt x="344" y="132"/>
                </a:lnTo>
                <a:lnTo>
                  <a:pt x="357" y="135"/>
                </a:lnTo>
                <a:lnTo>
                  <a:pt x="358" y="126"/>
                </a:lnTo>
                <a:lnTo>
                  <a:pt x="364" y="111"/>
                </a:lnTo>
                <a:lnTo>
                  <a:pt x="357" y="104"/>
                </a:lnTo>
                <a:lnTo>
                  <a:pt x="345" y="91"/>
                </a:lnTo>
                <a:lnTo>
                  <a:pt x="344" y="78"/>
                </a:lnTo>
                <a:lnTo>
                  <a:pt x="344" y="69"/>
                </a:lnTo>
                <a:lnTo>
                  <a:pt x="345" y="58"/>
                </a:lnTo>
                <a:lnTo>
                  <a:pt x="329" y="54"/>
                </a:lnTo>
                <a:lnTo>
                  <a:pt x="321" y="52"/>
                </a:lnTo>
                <a:lnTo>
                  <a:pt x="313" y="58"/>
                </a:lnTo>
                <a:lnTo>
                  <a:pt x="303" y="65"/>
                </a:lnTo>
                <a:lnTo>
                  <a:pt x="294" y="65"/>
                </a:lnTo>
                <a:lnTo>
                  <a:pt x="279" y="50"/>
                </a:lnTo>
                <a:lnTo>
                  <a:pt x="266" y="43"/>
                </a:lnTo>
                <a:lnTo>
                  <a:pt x="253" y="45"/>
                </a:lnTo>
                <a:lnTo>
                  <a:pt x="242" y="33"/>
                </a:lnTo>
                <a:lnTo>
                  <a:pt x="212" y="2"/>
                </a:lnTo>
                <a:lnTo>
                  <a:pt x="199" y="0"/>
                </a:lnTo>
                <a:lnTo>
                  <a:pt x="178" y="26"/>
                </a:lnTo>
                <a:lnTo>
                  <a:pt x="157" y="24"/>
                </a:lnTo>
                <a:lnTo>
                  <a:pt x="148" y="33"/>
                </a:lnTo>
                <a:lnTo>
                  <a:pt x="145" y="45"/>
                </a:lnTo>
                <a:lnTo>
                  <a:pt x="106" y="87"/>
                </a:lnTo>
                <a:lnTo>
                  <a:pt x="80" y="80"/>
                </a:lnTo>
                <a:lnTo>
                  <a:pt x="54" y="74"/>
                </a:lnTo>
                <a:lnTo>
                  <a:pt x="41" y="80"/>
                </a:lnTo>
                <a:lnTo>
                  <a:pt x="24" y="87"/>
                </a:lnTo>
                <a:lnTo>
                  <a:pt x="0" y="80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55" name="Group 58"/>
          <p:cNvGrpSpPr>
            <a:grpSpLocks/>
          </p:cNvGrpSpPr>
          <p:nvPr/>
        </p:nvGrpSpPr>
        <p:grpSpPr bwMode="auto">
          <a:xfrm>
            <a:off x="3439589" y="4833555"/>
            <a:ext cx="884976" cy="965894"/>
            <a:chOff x="2546" y="3453"/>
            <a:chExt cx="586" cy="611"/>
          </a:xfrm>
          <a:solidFill>
            <a:schemeClr val="accent5"/>
          </a:solidFill>
        </p:grpSpPr>
        <p:sp>
          <p:nvSpPr>
            <p:cNvPr id="79" name="Freeform 59"/>
            <p:cNvSpPr>
              <a:spLocks/>
            </p:cNvSpPr>
            <p:nvPr/>
          </p:nvSpPr>
          <p:spPr bwMode="auto">
            <a:xfrm>
              <a:off x="2559" y="3773"/>
              <a:ext cx="24" cy="25"/>
            </a:xfrm>
            <a:custGeom>
              <a:avLst/>
              <a:gdLst>
                <a:gd name="T0" fmla="*/ 18 w 24"/>
                <a:gd name="T1" fmla="*/ 0 h 25"/>
                <a:gd name="T2" fmla="*/ 24 w 24"/>
                <a:gd name="T3" fmla="*/ 7 h 25"/>
                <a:gd name="T4" fmla="*/ 22 w 24"/>
                <a:gd name="T5" fmla="*/ 16 h 25"/>
                <a:gd name="T6" fmla="*/ 24 w 24"/>
                <a:gd name="T7" fmla="*/ 23 h 25"/>
                <a:gd name="T8" fmla="*/ 18 w 24"/>
                <a:gd name="T9" fmla="*/ 25 h 25"/>
                <a:gd name="T10" fmla="*/ 7 w 24"/>
                <a:gd name="T11" fmla="*/ 23 h 25"/>
                <a:gd name="T12" fmla="*/ 0 w 24"/>
                <a:gd name="T13" fmla="*/ 14 h 25"/>
                <a:gd name="T14" fmla="*/ 18 w 24"/>
                <a:gd name="T15" fmla="*/ 0 h 2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"/>
                <a:gd name="T25" fmla="*/ 0 h 25"/>
                <a:gd name="T26" fmla="*/ 24 w 24"/>
                <a:gd name="T27" fmla="*/ 25 h 2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" h="25">
                  <a:moveTo>
                    <a:pt x="18" y="0"/>
                  </a:moveTo>
                  <a:lnTo>
                    <a:pt x="24" y="7"/>
                  </a:lnTo>
                  <a:lnTo>
                    <a:pt x="22" y="16"/>
                  </a:lnTo>
                  <a:lnTo>
                    <a:pt x="24" y="23"/>
                  </a:lnTo>
                  <a:lnTo>
                    <a:pt x="18" y="25"/>
                  </a:lnTo>
                  <a:lnTo>
                    <a:pt x="7" y="23"/>
                  </a:lnTo>
                  <a:lnTo>
                    <a:pt x="0" y="14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80" name="Freeform 60"/>
            <p:cNvSpPr>
              <a:spLocks/>
            </p:cNvSpPr>
            <p:nvPr/>
          </p:nvSpPr>
          <p:spPr bwMode="auto">
            <a:xfrm>
              <a:off x="2608" y="3783"/>
              <a:ext cx="184" cy="163"/>
            </a:xfrm>
            <a:custGeom>
              <a:avLst/>
              <a:gdLst>
                <a:gd name="T0" fmla="*/ 26 w 184"/>
                <a:gd name="T1" fmla="*/ 7 h 163"/>
                <a:gd name="T2" fmla="*/ 17 w 184"/>
                <a:gd name="T3" fmla="*/ 11 h 163"/>
                <a:gd name="T4" fmla="*/ 20 w 184"/>
                <a:gd name="T5" fmla="*/ 20 h 163"/>
                <a:gd name="T6" fmla="*/ 11 w 184"/>
                <a:gd name="T7" fmla="*/ 31 h 163"/>
                <a:gd name="T8" fmla="*/ 4 w 184"/>
                <a:gd name="T9" fmla="*/ 30 h 163"/>
                <a:gd name="T10" fmla="*/ 0 w 184"/>
                <a:gd name="T11" fmla="*/ 35 h 163"/>
                <a:gd name="T12" fmla="*/ 2 w 184"/>
                <a:gd name="T13" fmla="*/ 46 h 163"/>
                <a:gd name="T14" fmla="*/ 32 w 184"/>
                <a:gd name="T15" fmla="*/ 57 h 163"/>
                <a:gd name="T16" fmla="*/ 39 w 184"/>
                <a:gd name="T17" fmla="*/ 82 h 163"/>
                <a:gd name="T18" fmla="*/ 48 w 184"/>
                <a:gd name="T19" fmla="*/ 113 h 163"/>
                <a:gd name="T20" fmla="*/ 59 w 184"/>
                <a:gd name="T21" fmla="*/ 130 h 163"/>
                <a:gd name="T22" fmla="*/ 72 w 184"/>
                <a:gd name="T23" fmla="*/ 119 h 163"/>
                <a:gd name="T24" fmla="*/ 89 w 184"/>
                <a:gd name="T25" fmla="*/ 141 h 163"/>
                <a:gd name="T26" fmla="*/ 106 w 184"/>
                <a:gd name="T27" fmla="*/ 163 h 163"/>
                <a:gd name="T28" fmla="*/ 113 w 184"/>
                <a:gd name="T29" fmla="*/ 146 h 163"/>
                <a:gd name="T30" fmla="*/ 108 w 184"/>
                <a:gd name="T31" fmla="*/ 135 h 163"/>
                <a:gd name="T32" fmla="*/ 115 w 184"/>
                <a:gd name="T33" fmla="*/ 130 h 163"/>
                <a:gd name="T34" fmla="*/ 141 w 184"/>
                <a:gd name="T35" fmla="*/ 150 h 163"/>
                <a:gd name="T36" fmla="*/ 149 w 184"/>
                <a:gd name="T37" fmla="*/ 144 h 163"/>
                <a:gd name="T38" fmla="*/ 151 w 184"/>
                <a:gd name="T39" fmla="*/ 137 h 163"/>
                <a:gd name="T40" fmla="*/ 138 w 184"/>
                <a:gd name="T41" fmla="*/ 111 h 163"/>
                <a:gd name="T42" fmla="*/ 138 w 184"/>
                <a:gd name="T43" fmla="*/ 106 h 163"/>
                <a:gd name="T44" fmla="*/ 126 w 184"/>
                <a:gd name="T45" fmla="*/ 85 h 163"/>
                <a:gd name="T46" fmla="*/ 121 w 184"/>
                <a:gd name="T47" fmla="*/ 70 h 163"/>
                <a:gd name="T48" fmla="*/ 126 w 184"/>
                <a:gd name="T49" fmla="*/ 69 h 163"/>
                <a:gd name="T50" fmla="*/ 141 w 184"/>
                <a:gd name="T51" fmla="*/ 72 h 163"/>
                <a:gd name="T52" fmla="*/ 158 w 184"/>
                <a:gd name="T53" fmla="*/ 87 h 163"/>
                <a:gd name="T54" fmla="*/ 167 w 184"/>
                <a:gd name="T55" fmla="*/ 76 h 163"/>
                <a:gd name="T56" fmla="*/ 182 w 184"/>
                <a:gd name="T57" fmla="*/ 78 h 163"/>
                <a:gd name="T58" fmla="*/ 184 w 184"/>
                <a:gd name="T59" fmla="*/ 74 h 163"/>
                <a:gd name="T60" fmla="*/ 165 w 184"/>
                <a:gd name="T61" fmla="*/ 50 h 163"/>
                <a:gd name="T62" fmla="*/ 151 w 184"/>
                <a:gd name="T63" fmla="*/ 52 h 163"/>
                <a:gd name="T64" fmla="*/ 147 w 184"/>
                <a:gd name="T65" fmla="*/ 44 h 163"/>
                <a:gd name="T66" fmla="*/ 138 w 184"/>
                <a:gd name="T67" fmla="*/ 26 h 163"/>
                <a:gd name="T68" fmla="*/ 130 w 184"/>
                <a:gd name="T69" fmla="*/ 33 h 163"/>
                <a:gd name="T70" fmla="*/ 112 w 184"/>
                <a:gd name="T71" fmla="*/ 26 h 163"/>
                <a:gd name="T72" fmla="*/ 100 w 184"/>
                <a:gd name="T73" fmla="*/ 7 h 163"/>
                <a:gd name="T74" fmla="*/ 78 w 184"/>
                <a:gd name="T75" fmla="*/ 9 h 163"/>
                <a:gd name="T76" fmla="*/ 61 w 184"/>
                <a:gd name="T77" fmla="*/ 11 h 163"/>
                <a:gd name="T78" fmla="*/ 50 w 184"/>
                <a:gd name="T79" fmla="*/ 0 h 163"/>
                <a:gd name="T80" fmla="*/ 41 w 184"/>
                <a:gd name="T81" fmla="*/ 6 h 163"/>
                <a:gd name="T82" fmla="*/ 26 w 184"/>
                <a:gd name="T83" fmla="*/ 7 h 16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4"/>
                <a:gd name="T127" fmla="*/ 0 h 163"/>
                <a:gd name="T128" fmla="*/ 184 w 184"/>
                <a:gd name="T129" fmla="*/ 163 h 16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4" h="163">
                  <a:moveTo>
                    <a:pt x="26" y="7"/>
                  </a:moveTo>
                  <a:lnTo>
                    <a:pt x="17" y="11"/>
                  </a:lnTo>
                  <a:lnTo>
                    <a:pt x="20" y="20"/>
                  </a:lnTo>
                  <a:lnTo>
                    <a:pt x="11" y="31"/>
                  </a:lnTo>
                  <a:lnTo>
                    <a:pt x="4" y="30"/>
                  </a:lnTo>
                  <a:lnTo>
                    <a:pt x="0" y="35"/>
                  </a:lnTo>
                  <a:lnTo>
                    <a:pt x="2" y="46"/>
                  </a:lnTo>
                  <a:lnTo>
                    <a:pt x="32" y="57"/>
                  </a:lnTo>
                  <a:lnTo>
                    <a:pt x="39" y="82"/>
                  </a:lnTo>
                  <a:lnTo>
                    <a:pt x="48" y="113"/>
                  </a:lnTo>
                  <a:lnTo>
                    <a:pt x="59" y="130"/>
                  </a:lnTo>
                  <a:lnTo>
                    <a:pt x="72" y="119"/>
                  </a:lnTo>
                  <a:lnTo>
                    <a:pt x="89" y="141"/>
                  </a:lnTo>
                  <a:lnTo>
                    <a:pt x="106" y="163"/>
                  </a:lnTo>
                  <a:lnTo>
                    <a:pt x="113" y="146"/>
                  </a:lnTo>
                  <a:lnTo>
                    <a:pt x="108" y="135"/>
                  </a:lnTo>
                  <a:lnTo>
                    <a:pt x="115" y="130"/>
                  </a:lnTo>
                  <a:lnTo>
                    <a:pt x="141" y="150"/>
                  </a:lnTo>
                  <a:lnTo>
                    <a:pt x="149" y="144"/>
                  </a:lnTo>
                  <a:lnTo>
                    <a:pt x="151" y="137"/>
                  </a:lnTo>
                  <a:lnTo>
                    <a:pt x="138" y="111"/>
                  </a:lnTo>
                  <a:lnTo>
                    <a:pt x="138" y="106"/>
                  </a:lnTo>
                  <a:lnTo>
                    <a:pt x="126" y="85"/>
                  </a:lnTo>
                  <a:lnTo>
                    <a:pt x="121" y="70"/>
                  </a:lnTo>
                  <a:lnTo>
                    <a:pt x="126" y="69"/>
                  </a:lnTo>
                  <a:lnTo>
                    <a:pt x="141" y="72"/>
                  </a:lnTo>
                  <a:lnTo>
                    <a:pt x="158" y="87"/>
                  </a:lnTo>
                  <a:lnTo>
                    <a:pt x="167" y="76"/>
                  </a:lnTo>
                  <a:lnTo>
                    <a:pt x="182" y="78"/>
                  </a:lnTo>
                  <a:lnTo>
                    <a:pt x="184" y="74"/>
                  </a:lnTo>
                  <a:lnTo>
                    <a:pt x="165" y="50"/>
                  </a:lnTo>
                  <a:lnTo>
                    <a:pt x="151" y="52"/>
                  </a:lnTo>
                  <a:lnTo>
                    <a:pt x="147" y="44"/>
                  </a:lnTo>
                  <a:lnTo>
                    <a:pt x="138" y="26"/>
                  </a:lnTo>
                  <a:lnTo>
                    <a:pt x="130" y="33"/>
                  </a:lnTo>
                  <a:lnTo>
                    <a:pt x="112" y="26"/>
                  </a:lnTo>
                  <a:lnTo>
                    <a:pt x="100" y="7"/>
                  </a:lnTo>
                  <a:lnTo>
                    <a:pt x="78" y="9"/>
                  </a:lnTo>
                  <a:lnTo>
                    <a:pt x="61" y="11"/>
                  </a:lnTo>
                  <a:lnTo>
                    <a:pt x="50" y="0"/>
                  </a:lnTo>
                  <a:lnTo>
                    <a:pt x="41" y="6"/>
                  </a:lnTo>
                  <a:lnTo>
                    <a:pt x="26" y="7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81" name="Freeform 61"/>
            <p:cNvSpPr>
              <a:spLocks/>
            </p:cNvSpPr>
            <p:nvPr/>
          </p:nvSpPr>
          <p:spPr bwMode="auto">
            <a:xfrm>
              <a:off x="2546" y="3453"/>
              <a:ext cx="430" cy="386"/>
            </a:xfrm>
            <a:custGeom>
              <a:avLst/>
              <a:gdLst>
                <a:gd name="T0" fmla="*/ 78 w 430"/>
                <a:gd name="T1" fmla="*/ 102 h 386"/>
                <a:gd name="T2" fmla="*/ 55 w 430"/>
                <a:gd name="T3" fmla="*/ 167 h 386"/>
                <a:gd name="T4" fmla="*/ 44 w 430"/>
                <a:gd name="T5" fmla="*/ 182 h 386"/>
                <a:gd name="T6" fmla="*/ 24 w 430"/>
                <a:gd name="T7" fmla="*/ 200 h 386"/>
                <a:gd name="T8" fmla="*/ 0 w 430"/>
                <a:gd name="T9" fmla="*/ 204 h 386"/>
                <a:gd name="T10" fmla="*/ 31 w 430"/>
                <a:gd name="T11" fmla="*/ 260 h 386"/>
                <a:gd name="T12" fmla="*/ 57 w 430"/>
                <a:gd name="T13" fmla="*/ 260 h 386"/>
                <a:gd name="T14" fmla="*/ 48 w 430"/>
                <a:gd name="T15" fmla="*/ 278 h 386"/>
                <a:gd name="T16" fmla="*/ 57 w 430"/>
                <a:gd name="T17" fmla="*/ 308 h 386"/>
                <a:gd name="T18" fmla="*/ 76 w 430"/>
                <a:gd name="T19" fmla="*/ 330 h 386"/>
                <a:gd name="T20" fmla="*/ 91 w 430"/>
                <a:gd name="T21" fmla="*/ 317 h 386"/>
                <a:gd name="T22" fmla="*/ 107 w 430"/>
                <a:gd name="T23" fmla="*/ 319 h 386"/>
                <a:gd name="T24" fmla="*/ 159 w 430"/>
                <a:gd name="T25" fmla="*/ 325 h 386"/>
                <a:gd name="T26" fmla="*/ 190 w 430"/>
                <a:gd name="T27" fmla="*/ 341 h 386"/>
                <a:gd name="T28" fmla="*/ 207 w 430"/>
                <a:gd name="T29" fmla="*/ 362 h 386"/>
                <a:gd name="T30" fmla="*/ 229 w 430"/>
                <a:gd name="T31" fmla="*/ 353 h 386"/>
                <a:gd name="T32" fmla="*/ 271 w 430"/>
                <a:gd name="T33" fmla="*/ 386 h 386"/>
                <a:gd name="T34" fmla="*/ 278 w 430"/>
                <a:gd name="T35" fmla="*/ 367 h 386"/>
                <a:gd name="T36" fmla="*/ 277 w 430"/>
                <a:gd name="T37" fmla="*/ 336 h 386"/>
                <a:gd name="T38" fmla="*/ 259 w 430"/>
                <a:gd name="T39" fmla="*/ 323 h 386"/>
                <a:gd name="T40" fmla="*/ 215 w 430"/>
                <a:gd name="T41" fmla="*/ 295 h 386"/>
                <a:gd name="T42" fmla="*/ 189 w 430"/>
                <a:gd name="T43" fmla="*/ 286 h 386"/>
                <a:gd name="T44" fmla="*/ 179 w 430"/>
                <a:gd name="T45" fmla="*/ 273 h 386"/>
                <a:gd name="T46" fmla="*/ 194 w 430"/>
                <a:gd name="T47" fmla="*/ 258 h 386"/>
                <a:gd name="T48" fmla="*/ 183 w 430"/>
                <a:gd name="T49" fmla="*/ 236 h 386"/>
                <a:gd name="T50" fmla="*/ 202 w 430"/>
                <a:gd name="T51" fmla="*/ 245 h 386"/>
                <a:gd name="T52" fmla="*/ 215 w 430"/>
                <a:gd name="T53" fmla="*/ 238 h 386"/>
                <a:gd name="T54" fmla="*/ 190 w 430"/>
                <a:gd name="T55" fmla="*/ 202 h 386"/>
                <a:gd name="T56" fmla="*/ 170 w 430"/>
                <a:gd name="T57" fmla="*/ 160 h 386"/>
                <a:gd name="T58" fmla="*/ 165 w 430"/>
                <a:gd name="T59" fmla="*/ 134 h 386"/>
                <a:gd name="T60" fmla="*/ 176 w 430"/>
                <a:gd name="T61" fmla="*/ 117 h 386"/>
                <a:gd name="T62" fmla="*/ 185 w 430"/>
                <a:gd name="T63" fmla="*/ 139 h 386"/>
                <a:gd name="T64" fmla="*/ 190 w 430"/>
                <a:gd name="T65" fmla="*/ 147 h 386"/>
                <a:gd name="T66" fmla="*/ 227 w 430"/>
                <a:gd name="T67" fmla="*/ 176 h 386"/>
                <a:gd name="T68" fmla="*/ 231 w 430"/>
                <a:gd name="T69" fmla="*/ 156 h 386"/>
                <a:gd name="T70" fmla="*/ 257 w 430"/>
                <a:gd name="T71" fmla="*/ 176 h 386"/>
                <a:gd name="T72" fmla="*/ 246 w 430"/>
                <a:gd name="T73" fmla="*/ 152 h 386"/>
                <a:gd name="T74" fmla="*/ 257 w 430"/>
                <a:gd name="T75" fmla="*/ 141 h 386"/>
                <a:gd name="T76" fmla="*/ 288 w 430"/>
                <a:gd name="T77" fmla="*/ 148 h 386"/>
                <a:gd name="T78" fmla="*/ 275 w 430"/>
                <a:gd name="T79" fmla="*/ 130 h 386"/>
                <a:gd name="T80" fmla="*/ 246 w 430"/>
                <a:gd name="T81" fmla="*/ 113 h 386"/>
                <a:gd name="T82" fmla="*/ 248 w 430"/>
                <a:gd name="T83" fmla="*/ 98 h 386"/>
                <a:gd name="T84" fmla="*/ 299 w 430"/>
                <a:gd name="T85" fmla="*/ 87 h 386"/>
                <a:gd name="T86" fmla="*/ 350 w 430"/>
                <a:gd name="T87" fmla="*/ 82 h 386"/>
                <a:gd name="T88" fmla="*/ 378 w 430"/>
                <a:gd name="T89" fmla="*/ 87 h 386"/>
                <a:gd name="T90" fmla="*/ 406 w 430"/>
                <a:gd name="T91" fmla="*/ 76 h 386"/>
                <a:gd name="T92" fmla="*/ 428 w 430"/>
                <a:gd name="T93" fmla="*/ 48 h 386"/>
                <a:gd name="T94" fmla="*/ 428 w 430"/>
                <a:gd name="T95" fmla="*/ 6 h 386"/>
                <a:gd name="T96" fmla="*/ 408 w 430"/>
                <a:gd name="T97" fmla="*/ 0 h 386"/>
                <a:gd name="T98" fmla="*/ 402 w 430"/>
                <a:gd name="T99" fmla="*/ 20 h 386"/>
                <a:gd name="T100" fmla="*/ 389 w 430"/>
                <a:gd name="T101" fmla="*/ 35 h 386"/>
                <a:gd name="T102" fmla="*/ 371 w 430"/>
                <a:gd name="T103" fmla="*/ 45 h 386"/>
                <a:gd name="T104" fmla="*/ 338 w 430"/>
                <a:gd name="T105" fmla="*/ 33 h 386"/>
                <a:gd name="T106" fmla="*/ 306 w 430"/>
                <a:gd name="T107" fmla="*/ 20 h 386"/>
                <a:gd name="T108" fmla="*/ 271 w 430"/>
                <a:gd name="T109" fmla="*/ 45 h 386"/>
                <a:gd name="T110" fmla="*/ 231 w 430"/>
                <a:gd name="T111" fmla="*/ 56 h 386"/>
                <a:gd name="T112" fmla="*/ 202 w 430"/>
                <a:gd name="T113" fmla="*/ 61 h 386"/>
                <a:gd name="T114" fmla="*/ 183 w 430"/>
                <a:gd name="T115" fmla="*/ 78 h 386"/>
                <a:gd name="T116" fmla="*/ 153 w 430"/>
                <a:gd name="T117" fmla="*/ 82 h 386"/>
                <a:gd name="T118" fmla="*/ 126 w 430"/>
                <a:gd name="T119" fmla="*/ 97 h 386"/>
                <a:gd name="T120" fmla="*/ 98 w 430"/>
                <a:gd name="T121" fmla="*/ 97 h 38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30"/>
                <a:gd name="T184" fmla="*/ 0 h 386"/>
                <a:gd name="T185" fmla="*/ 430 w 430"/>
                <a:gd name="T186" fmla="*/ 386 h 38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30" h="386">
                  <a:moveTo>
                    <a:pt x="87" y="95"/>
                  </a:moveTo>
                  <a:lnTo>
                    <a:pt x="78" y="102"/>
                  </a:lnTo>
                  <a:lnTo>
                    <a:pt x="68" y="135"/>
                  </a:lnTo>
                  <a:lnTo>
                    <a:pt x="55" y="167"/>
                  </a:lnTo>
                  <a:lnTo>
                    <a:pt x="50" y="171"/>
                  </a:lnTo>
                  <a:lnTo>
                    <a:pt x="44" y="182"/>
                  </a:lnTo>
                  <a:lnTo>
                    <a:pt x="37" y="193"/>
                  </a:lnTo>
                  <a:lnTo>
                    <a:pt x="24" y="200"/>
                  </a:lnTo>
                  <a:lnTo>
                    <a:pt x="13" y="204"/>
                  </a:lnTo>
                  <a:lnTo>
                    <a:pt x="0" y="204"/>
                  </a:lnTo>
                  <a:lnTo>
                    <a:pt x="17" y="241"/>
                  </a:lnTo>
                  <a:lnTo>
                    <a:pt x="31" y="260"/>
                  </a:lnTo>
                  <a:lnTo>
                    <a:pt x="44" y="260"/>
                  </a:lnTo>
                  <a:lnTo>
                    <a:pt x="57" y="260"/>
                  </a:lnTo>
                  <a:lnTo>
                    <a:pt x="61" y="269"/>
                  </a:lnTo>
                  <a:lnTo>
                    <a:pt x="48" y="278"/>
                  </a:lnTo>
                  <a:lnTo>
                    <a:pt x="48" y="290"/>
                  </a:lnTo>
                  <a:lnTo>
                    <a:pt x="57" y="308"/>
                  </a:lnTo>
                  <a:lnTo>
                    <a:pt x="68" y="323"/>
                  </a:lnTo>
                  <a:lnTo>
                    <a:pt x="76" y="330"/>
                  </a:lnTo>
                  <a:lnTo>
                    <a:pt x="80" y="319"/>
                  </a:lnTo>
                  <a:lnTo>
                    <a:pt x="91" y="317"/>
                  </a:lnTo>
                  <a:lnTo>
                    <a:pt x="104" y="328"/>
                  </a:lnTo>
                  <a:lnTo>
                    <a:pt x="107" y="319"/>
                  </a:lnTo>
                  <a:lnTo>
                    <a:pt x="128" y="321"/>
                  </a:lnTo>
                  <a:lnTo>
                    <a:pt x="159" y="325"/>
                  </a:lnTo>
                  <a:lnTo>
                    <a:pt x="181" y="332"/>
                  </a:lnTo>
                  <a:lnTo>
                    <a:pt x="190" y="341"/>
                  </a:lnTo>
                  <a:lnTo>
                    <a:pt x="200" y="354"/>
                  </a:lnTo>
                  <a:lnTo>
                    <a:pt x="207" y="362"/>
                  </a:lnTo>
                  <a:lnTo>
                    <a:pt x="216" y="354"/>
                  </a:lnTo>
                  <a:lnTo>
                    <a:pt x="229" y="353"/>
                  </a:lnTo>
                  <a:lnTo>
                    <a:pt x="248" y="366"/>
                  </a:lnTo>
                  <a:lnTo>
                    <a:pt x="271" y="386"/>
                  </a:lnTo>
                  <a:lnTo>
                    <a:pt x="277" y="382"/>
                  </a:lnTo>
                  <a:lnTo>
                    <a:pt x="278" y="367"/>
                  </a:lnTo>
                  <a:lnTo>
                    <a:pt x="278" y="351"/>
                  </a:lnTo>
                  <a:lnTo>
                    <a:pt x="277" y="336"/>
                  </a:lnTo>
                  <a:lnTo>
                    <a:pt x="266" y="319"/>
                  </a:lnTo>
                  <a:lnTo>
                    <a:pt x="259" y="323"/>
                  </a:lnTo>
                  <a:lnTo>
                    <a:pt x="242" y="315"/>
                  </a:lnTo>
                  <a:lnTo>
                    <a:pt x="215" y="295"/>
                  </a:lnTo>
                  <a:lnTo>
                    <a:pt x="207" y="288"/>
                  </a:lnTo>
                  <a:lnTo>
                    <a:pt x="189" y="286"/>
                  </a:lnTo>
                  <a:lnTo>
                    <a:pt x="179" y="280"/>
                  </a:lnTo>
                  <a:lnTo>
                    <a:pt x="179" y="273"/>
                  </a:lnTo>
                  <a:lnTo>
                    <a:pt x="190" y="262"/>
                  </a:lnTo>
                  <a:lnTo>
                    <a:pt x="194" y="258"/>
                  </a:lnTo>
                  <a:lnTo>
                    <a:pt x="187" y="249"/>
                  </a:lnTo>
                  <a:lnTo>
                    <a:pt x="183" y="236"/>
                  </a:lnTo>
                  <a:lnTo>
                    <a:pt x="187" y="230"/>
                  </a:lnTo>
                  <a:lnTo>
                    <a:pt x="202" y="245"/>
                  </a:lnTo>
                  <a:lnTo>
                    <a:pt x="215" y="251"/>
                  </a:lnTo>
                  <a:lnTo>
                    <a:pt x="215" y="238"/>
                  </a:lnTo>
                  <a:lnTo>
                    <a:pt x="207" y="223"/>
                  </a:lnTo>
                  <a:lnTo>
                    <a:pt x="190" y="202"/>
                  </a:lnTo>
                  <a:lnTo>
                    <a:pt x="172" y="174"/>
                  </a:lnTo>
                  <a:lnTo>
                    <a:pt x="170" y="160"/>
                  </a:lnTo>
                  <a:lnTo>
                    <a:pt x="168" y="147"/>
                  </a:lnTo>
                  <a:lnTo>
                    <a:pt x="165" y="134"/>
                  </a:lnTo>
                  <a:lnTo>
                    <a:pt x="163" y="121"/>
                  </a:lnTo>
                  <a:lnTo>
                    <a:pt x="176" y="117"/>
                  </a:lnTo>
                  <a:lnTo>
                    <a:pt x="174" y="126"/>
                  </a:lnTo>
                  <a:lnTo>
                    <a:pt x="185" y="139"/>
                  </a:lnTo>
                  <a:lnTo>
                    <a:pt x="192" y="139"/>
                  </a:lnTo>
                  <a:lnTo>
                    <a:pt x="190" y="147"/>
                  </a:lnTo>
                  <a:lnTo>
                    <a:pt x="226" y="182"/>
                  </a:lnTo>
                  <a:lnTo>
                    <a:pt x="227" y="176"/>
                  </a:lnTo>
                  <a:lnTo>
                    <a:pt x="220" y="160"/>
                  </a:lnTo>
                  <a:lnTo>
                    <a:pt x="231" y="156"/>
                  </a:lnTo>
                  <a:lnTo>
                    <a:pt x="248" y="163"/>
                  </a:lnTo>
                  <a:lnTo>
                    <a:pt x="257" y="176"/>
                  </a:lnTo>
                  <a:lnTo>
                    <a:pt x="259" y="167"/>
                  </a:lnTo>
                  <a:lnTo>
                    <a:pt x="246" y="152"/>
                  </a:lnTo>
                  <a:lnTo>
                    <a:pt x="248" y="145"/>
                  </a:lnTo>
                  <a:lnTo>
                    <a:pt x="257" y="141"/>
                  </a:lnTo>
                  <a:lnTo>
                    <a:pt x="282" y="152"/>
                  </a:lnTo>
                  <a:lnTo>
                    <a:pt x="288" y="148"/>
                  </a:lnTo>
                  <a:lnTo>
                    <a:pt x="286" y="137"/>
                  </a:lnTo>
                  <a:lnTo>
                    <a:pt x="275" y="130"/>
                  </a:lnTo>
                  <a:lnTo>
                    <a:pt x="257" y="122"/>
                  </a:lnTo>
                  <a:lnTo>
                    <a:pt x="246" y="113"/>
                  </a:lnTo>
                  <a:lnTo>
                    <a:pt x="244" y="106"/>
                  </a:lnTo>
                  <a:lnTo>
                    <a:pt x="248" y="98"/>
                  </a:lnTo>
                  <a:lnTo>
                    <a:pt x="273" y="95"/>
                  </a:lnTo>
                  <a:lnTo>
                    <a:pt x="299" y="87"/>
                  </a:lnTo>
                  <a:lnTo>
                    <a:pt x="317" y="89"/>
                  </a:lnTo>
                  <a:lnTo>
                    <a:pt x="350" y="82"/>
                  </a:lnTo>
                  <a:lnTo>
                    <a:pt x="356" y="78"/>
                  </a:lnTo>
                  <a:lnTo>
                    <a:pt x="378" y="87"/>
                  </a:lnTo>
                  <a:lnTo>
                    <a:pt x="397" y="97"/>
                  </a:lnTo>
                  <a:lnTo>
                    <a:pt x="406" y="76"/>
                  </a:lnTo>
                  <a:lnTo>
                    <a:pt x="423" y="54"/>
                  </a:lnTo>
                  <a:lnTo>
                    <a:pt x="428" y="48"/>
                  </a:lnTo>
                  <a:lnTo>
                    <a:pt x="430" y="9"/>
                  </a:lnTo>
                  <a:lnTo>
                    <a:pt x="428" y="6"/>
                  </a:lnTo>
                  <a:lnTo>
                    <a:pt x="419" y="0"/>
                  </a:lnTo>
                  <a:lnTo>
                    <a:pt x="408" y="0"/>
                  </a:lnTo>
                  <a:lnTo>
                    <a:pt x="402" y="6"/>
                  </a:lnTo>
                  <a:lnTo>
                    <a:pt x="402" y="20"/>
                  </a:lnTo>
                  <a:lnTo>
                    <a:pt x="404" y="32"/>
                  </a:lnTo>
                  <a:lnTo>
                    <a:pt x="389" y="35"/>
                  </a:lnTo>
                  <a:lnTo>
                    <a:pt x="378" y="43"/>
                  </a:lnTo>
                  <a:lnTo>
                    <a:pt x="371" y="45"/>
                  </a:lnTo>
                  <a:lnTo>
                    <a:pt x="347" y="39"/>
                  </a:lnTo>
                  <a:lnTo>
                    <a:pt x="338" y="33"/>
                  </a:lnTo>
                  <a:lnTo>
                    <a:pt x="325" y="41"/>
                  </a:lnTo>
                  <a:lnTo>
                    <a:pt x="306" y="20"/>
                  </a:lnTo>
                  <a:lnTo>
                    <a:pt x="286" y="35"/>
                  </a:lnTo>
                  <a:lnTo>
                    <a:pt x="271" y="45"/>
                  </a:lnTo>
                  <a:lnTo>
                    <a:pt x="255" y="52"/>
                  </a:lnTo>
                  <a:lnTo>
                    <a:pt x="231" y="56"/>
                  </a:lnTo>
                  <a:lnTo>
                    <a:pt x="215" y="61"/>
                  </a:lnTo>
                  <a:lnTo>
                    <a:pt x="202" y="61"/>
                  </a:lnTo>
                  <a:lnTo>
                    <a:pt x="196" y="63"/>
                  </a:lnTo>
                  <a:lnTo>
                    <a:pt x="183" y="78"/>
                  </a:lnTo>
                  <a:lnTo>
                    <a:pt x="172" y="78"/>
                  </a:lnTo>
                  <a:lnTo>
                    <a:pt x="153" y="82"/>
                  </a:lnTo>
                  <a:lnTo>
                    <a:pt x="135" y="80"/>
                  </a:lnTo>
                  <a:lnTo>
                    <a:pt x="126" y="97"/>
                  </a:lnTo>
                  <a:lnTo>
                    <a:pt x="111" y="98"/>
                  </a:lnTo>
                  <a:lnTo>
                    <a:pt x="98" y="97"/>
                  </a:lnTo>
                  <a:lnTo>
                    <a:pt x="87" y="95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82" name="Freeform 62"/>
            <p:cNvSpPr>
              <a:spLocks/>
            </p:cNvSpPr>
            <p:nvPr/>
          </p:nvSpPr>
          <p:spPr bwMode="auto">
            <a:xfrm>
              <a:off x="2760" y="3718"/>
              <a:ext cx="107" cy="87"/>
            </a:xfrm>
            <a:custGeom>
              <a:avLst/>
              <a:gdLst>
                <a:gd name="T0" fmla="*/ 9 w 107"/>
                <a:gd name="T1" fmla="*/ 0 h 87"/>
                <a:gd name="T2" fmla="*/ 0 w 107"/>
                <a:gd name="T3" fmla="*/ 7 h 87"/>
                <a:gd name="T4" fmla="*/ 11 w 107"/>
                <a:gd name="T5" fmla="*/ 26 h 87"/>
                <a:gd name="T6" fmla="*/ 24 w 107"/>
                <a:gd name="T7" fmla="*/ 30 h 87"/>
                <a:gd name="T8" fmla="*/ 39 w 107"/>
                <a:gd name="T9" fmla="*/ 46 h 87"/>
                <a:gd name="T10" fmla="*/ 52 w 107"/>
                <a:gd name="T11" fmla="*/ 54 h 87"/>
                <a:gd name="T12" fmla="*/ 74 w 107"/>
                <a:gd name="T13" fmla="*/ 70 h 87"/>
                <a:gd name="T14" fmla="*/ 87 w 107"/>
                <a:gd name="T15" fmla="*/ 76 h 87"/>
                <a:gd name="T16" fmla="*/ 103 w 107"/>
                <a:gd name="T17" fmla="*/ 87 h 87"/>
                <a:gd name="T18" fmla="*/ 107 w 107"/>
                <a:gd name="T19" fmla="*/ 81 h 87"/>
                <a:gd name="T20" fmla="*/ 74 w 107"/>
                <a:gd name="T21" fmla="*/ 56 h 87"/>
                <a:gd name="T22" fmla="*/ 72 w 107"/>
                <a:gd name="T23" fmla="*/ 44 h 87"/>
                <a:gd name="T24" fmla="*/ 68 w 107"/>
                <a:gd name="T25" fmla="*/ 33 h 87"/>
                <a:gd name="T26" fmla="*/ 54 w 107"/>
                <a:gd name="T27" fmla="*/ 20 h 87"/>
                <a:gd name="T28" fmla="*/ 50 w 107"/>
                <a:gd name="T29" fmla="*/ 22 h 87"/>
                <a:gd name="T30" fmla="*/ 32 w 107"/>
                <a:gd name="T31" fmla="*/ 9 h 87"/>
                <a:gd name="T32" fmla="*/ 22 w 107"/>
                <a:gd name="T33" fmla="*/ 4 h 87"/>
                <a:gd name="T34" fmla="*/ 9 w 107"/>
                <a:gd name="T35" fmla="*/ 0 h 8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7"/>
                <a:gd name="T55" fmla="*/ 0 h 87"/>
                <a:gd name="T56" fmla="*/ 107 w 107"/>
                <a:gd name="T57" fmla="*/ 87 h 8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7" h="87">
                  <a:moveTo>
                    <a:pt x="9" y="0"/>
                  </a:moveTo>
                  <a:lnTo>
                    <a:pt x="0" y="7"/>
                  </a:lnTo>
                  <a:lnTo>
                    <a:pt x="11" y="26"/>
                  </a:lnTo>
                  <a:lnTo>
                    <a:pt x="24" y="30"/>
                  </a:lnTo>
                  <a:lnTo>
                    <a:pt x="39" y="46"/>
                  </a:lnTo>
                  <a:lnTo>
                    <a:pt x="52" y="54"/>
                  </a:lnTo>
                  <a:lnTo>
                    <a:pt x="74" y="70"/>
                  </a:lnTo>
                  <a:lnTo>
                    <a:pt x="87" y="76"/>
                  </a:lnTo>
                  <a:lnTo>
                    <a:pt x="103" y="87"/>
                  </a:lnTo>
                  <a:lnTo>
                    <a:pt x="107" y="81"/>
                  </a:lnTo>
                  <a:lnTo>
                    <a:pt x="74" y="56"/>
                  </a:lnTo>
                  <a:lnTo>
                    <a:pt x="72" y="44"/>
                  </a:lnTo>
                  <a:lnTo>
                    <a:pt x="68" y="33"/>
                  </a:lnTo>
                  <a:lnTo>
                    <a:pt x="54" y="20"/>
                  </a:lnTo>
                  <a:lnTo>
                    <a:pt x="50" y="22"/>
                  </a:lnTo>
                  <a:lnTo>
                    <a:pt x="32" y="9"/>
                  </a:lnTo>
                  <a:lnTo>
                    <a:pt x="22" y="4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83" name="Freeform 63"/>
            <p:cNvSpPr>
              <a:spLocks/>
            </p:cNvSpPr>
            <p:nvPr/>
          </p:nvSpPr>
          <p:spPr bwMode="auto">
            <a:xfrm>
              <a:off x="2794" y="4010"/>
              <a:ext cx="201" cy="54"/>
            </a:xfrm>
            <a:custGeom>
              <a:avLst/>
              <a:gdLst>
                <a:gd name="T0" fmla="*/ 42 w 201"/>
                <a:gd name="T1" fmla="*/ 11 h 54"/>
                <a:gd name="T2" fmla="*/ 57 w 201"/>
                <a:gd name="T3" fmla="*/ 4 h 54"/>
                <a:gd name="T4" fmla="*/ 64 w 201"/>
                <a:gd name="T5" fmla="*/ 11 h 54"/>
                <a:gd name="T6" fmla="*/ 70 w 201"/>
                <a:gd name="T7" fmla="*/ 13 h 54"/>
                <a:gd name="T8" fmla="*/ 81 w 201"/>
                <a:gd name="T9" fmla="*/ 7 h 54"/>
                <a:gd name="T10" fmla="*/ 88 w 201"/>
                <a:gd name="T11" fmla="*/ 4 h 54"/>
                <a:gd name="T12" fmla="*/ 120 w 201"/>
                <a:gd name="T13" fmla="*/ 7 h 54"/>
                <a:gd name="T14" fmla="*/ 151 w 201"/>
                <a:gd name="T15" fmla="*/ 6 h 54"/>
                <a:gd name="T16" fmla="*/ 160 w 201"/>
                <a:gd name="T17" fmla="*/ 15 h 54"/>
                <a:gd name="T18" fmla="*/ 160 w 201"/>
                <a:gd name="T19" fmla="*/ 20 h 54"/>
                <a:gd name="T20" fmla="*/ 182 w 201"/>
                <a:gd name="T21" fmla="*/ 17 h 54"/>
                <a:gd name="T22" fmla="*/ 194 w 201"/>
                <a:gd name="T23" fmla="*/ 19 h 54"/>
                <a:gd name="T24" fmla="*/ 201 w 201"/>
                <a:gd name="T25" fmla="*/ 26 h 54"/>
                <a:gd name="T26" fmla="*/ 194 w 201"/>
                <a:gd name="T27" fmla="*/ 35 h 54"/>
                <a:gd name="T28" fmla="*/ 175 w 201"/>
                <a:gd name="T29" fmla="*/ 34 h 54"/>
                <a:gd name="T30" fmla="*/ 162 w 201"/>
                <a:gd name="T31" fmla="*/ 41 h 54"/>
                <a:gd name="T32" fmla="*/ 140 w 201"/>
                <a:gd name="T33" fmla="*/ 41 h 54"/>
                <a:gd name="T34" fmla="*/ 118 w 201"/>
                <a:gd name="T35" fmla="*/ 50 h 54"/>
                <a:gd name="T36" fmla="*/ 99 w 201"/>
                <a:gd name="T37" fmla="*/ 54 h 54"/>
                <a:gd name="T38" fmla="*/ 84 w 201"/>
                <a:gd name="T39" fmla="*/ 45 h 54"/>
                <a:gd name="T40" fmla="*/ 64 w 201"/>
                <a:gd name="T41" fmla="*/ 34 h 54"/>
                <a:gd name="T42" fmla="*/ 44 w 201"/>
                <a:gd name="T43" fmla="*/ 34 h 54"/>
                <a:gd name="T44" fmla="*/ 17 w 201"/>
                <a:gd name="T45" fmla="*/ 28 h 54"/>
                <a:gd name="T46" fmla="*/ 7 w 201"/>
                <a:gd name="T47" fmla="*/ 20 h 54"/>
                <a:gd name="T48" fmla="*/ 0 w 201"/>
                <a:gd name="T49" fmla="*/ 6 h 54"/>
                <a:gd name="T50" fmla="*/ 4 w 201"/>
                <a:gd name="T51" fmla="*/ 0 h 54"/>
                <a:gd name="T52" fmla="*/ 27 w 201"/>
                <a:gd name="T53" fmla="*/ 4 h 54"/>
                <a:gd name="T54" fmla="*/ 42 w 201"/>
                <a:gd name="T55" fmla="*/ 11 h 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01"/>
                <a:gd name="T85" fmla="*/ 0 h 54"/>
                <a:gd name="T86" fmla="*/ 201 w 201"/>
                <a:gd name="T87" fmla="*/ 54 h 5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01" h="54">
                  <a:moveTo>
                    <a:pt x="42" y="11"/>
                  </a:moveTo>
                  <a:lnTo>
                    <a:pt x="57" y="4"/>
                  </a:lnTo>
                  <a:lnTo>
                    <a:pt x="64" y="11"/>
                  </a:lnTo>
                  <a:lnTo>
                    <a:pt x="70" y="13"/>
                  </a:lnTo>
                  <a:lnTo>
                    <a:pt x="81" y="7"/>
                  </a:lnTo>
                  <a:lnTo>
                    <a:pt x="88" y="4"/>
                  </a:lnTo>
                  <a:lnTo>
                    <a:pt x="120" y="7"/>
                  </a:lnTo>
                  <a:lnTo>
                    <a:pt x="151" y="6"/>
                  </a:lnTo>
                  <a:lnTo>
                    <a:pt x="160" y="15"/>
                  </a:lnTo>
                  <a:lnTo>
                    <a:pt x="160" y="20"/>
                  </a:lnTo>
                  <a:lnTo>
                    <a:pt x="182" y="17"/>
                  </a:lnTo>
                  <a:lnTo>
                    <a:pt x="194" y="19"/>
                  </a:lnTo>
                  <a:lnTo>
                    <a:pt x="201" y="26"/>
                  </a:lnTo>
                  <a:lnTo>
                    <a:pt x="194" y="35"/>
                  </a:lnTo>
                  <a:lnTo>
                    <a:pt x="175" y="34"/>
                  </a:lnTo>
                  <a:lnTo>
                    <a:pt x="162" y="41"/>
                  </a:lnTo>
                  <a:lnTo>
                    <a:pt x="140" y="41"/>
                  </a:lnTo>
                  <a:lnTo>
                    <a:pt x="118" y="50"/>
                  </a:lnTo>
                  <a:lnTo>
                    <a:pt x="99" y="54"/>
                  </a:lnTo>
                  <a:lnTo>
                    <a:pt x="84" y="45"/>
                  </a:lnTo>
                  <a:lnTo>
                    <a:pt x="64" y="34"/>
                  </a:lnTo>
                  <a:lnTo>
                    <a:pt x="44" y="34"/>
                  </a:lnTo>
                  <a:lnTo>
                    <a:pt x="17" y="28"/>
                  </a:lnTo>
                  <a:lnTo>
                    <a:pt x="7" y="20"/>
                  </a:lnTo>
                  <a:lnTo>
                    <a:pt x="0" y="6"/>
                  </a:lnTo>
                  <a:lnTo>
                    <a:pt x="4" y="0"/>
                  </a:lnTo>
                  <a:lnTo>
                    <a:pt x="27" y="4"/>
                  </a:lnTo>
                  <a:lnTo>
                    <a:pt x="42" y="11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84" name="Freeform 64"/>
            <p:cNvSpPr>
              <a:spLocks/>
            </p:cNvSpPr>
            <p:nvPr/>
          </p:nvSpPr>
          <p:spPr bwMode="auto">
            <a:xfrm>
              <a:off x="2880" y="3615"/>
              <a:ext cx="30" cy="28"/>
            </a:xfrm>
            <a:custGeom>
              <a:avLst/>
              <a:gdLst>
                <a:gd name="T0" fmla="*/ 30 w 30"/>
                <a:gd name="T1" fmla="*/ 0 h 28"/>
                <a:gd name="T2" fmla="*/ 11 w 30"/>
                <a:gd name="T3" fmla="*/ 0 h 28"/>
                <a:gd name="T4" fmla="*/ 2 w 30"/>
                <a:gd name="T5" fmla="*/ 6 h 28"/>
                <a:gd name="T6" fmla="*/ 0 w 30"/>
                <a:gd name="T7" fmla="*/ 15 h 28"/>
                <a:gd name="T8" fmla="*/ 0 w 30"/>
                <a:gd name="T9" fmla="*/ 26 h 28"/>
                <a:gd name="T10" fmla="*/ 9 w 30"/>
                <a:gd name="T11" fmla="*/ 28 h 28"/>
                <a:gd name="T12" fmla="*/ 26 w 30"/>
                <a:gd name="T13" fmla="*/ 17 h 28"/>
                <a:gd name="T14" fmla="*/ 30 w 30"/>
                <a:gd name="T15" fmla="*/ 0 h 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0"/>
                <a:gd name="T25" fmla="*/ 0 h 28"/>
                <a:gd name="T26" fmla="*/ 30 w 30"/>
                <a:gd name="T27" fmla="*/ 28 h 2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0" h="28">
                  <a:moveTo>
                    <a:pt x="30" y="0"/>
                  </a:moveTo>
                  <a:lnTo>
                    <a:pt x="11" y="0"/>
                  </a:lnTo>
                  <a:lnTo>
                    <a:pt x="2" y="6"/>
                  </a:lnTo>
                  <a:lnTo>
                    <a:pt x="0" y="15"/>
                  </a:lnTo>
                  <a:lnTo>
                    <a:pt x="0" y="26"/>
                  </a:lnTo>
                  <a:lnTo>
                    <a:pt x="9" y="28"/>
                  </a:lnTo>
                  <a:lnTo>
                    <a:pt x="26" y="17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85" name="Freeform 65"/>
            <p:cNvSpPr>
              <a:spLocks/>
            </p:cNvSpPr>
            <p:nvPr/>
          </p:nvSpPr>
          <p:spPr bwMode="auto">
            <a:xfrm>
              <a:off x="3084" y="3878"/>
              <a:ext cx="41" cy="22"/>
            </a:xfrm>
            <a:custGeom>
              <a:avLst/>
              <a:gdLst>
                <a:gd name="T0" fmla="*/ 41 w 41"/>
                <a:gd name="T1" fmla="*/ 6 h 22"/>
                <a:gd name="T2" fmla="*/ 22 w 41"/>
                <a:gd name="T3" fmla="*/ 22 h 22"/>
                <a:gd name="T4" fmla="*/ 9 w 41"/>
                <a:gd name="T5" fmla="*/ 22 h 22"/>
                <a:gd name="T6" fmla="*/ 0 w 41"/>
                <a:gd name="T7" fmla="*/ 15 h 22"/>
                <a:gd name="T8" fmla="*/ 6 w 41"/>
                <a:gd name="T9" fmla="*/ 2 h 22"/>
                <a:gd name="T10" fmla="*/ 26 w 41"/>
                <a:gd name="T11" fmla="*/ 0 h 22"/>
                <a:gd name="T12" fmla="*/ 41 w 41"/>
                <a:gd name="T13" fmla="*/ 6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22"/>
                <a:gd name="T23" fmla="*/ 41 w 41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22">
                  <a:moveTo>
                    <a:pt x="41" y="6"/>
                  </a:moveTo>
                  <a:lnTo>
                    <a:pt x="22" y="22"/>
                  </a:lnTo>
                  <a:lnTo>
                    <a:pt x="9" y="22"/>
                  </a:lnTo>
                  <a:lnTo>
                    <a:pt x="0" y="15"/>
                  </a:lnTo>
                  <a:lnTo>
                    <a:pt x="6" y="2"/>
                  </a:lnTo>
                  <a:lnTo>
                    <a:pt x="26" y="0"/>
                  </a:lnTo>
                  <a:lnTo>
                    <a:pt x="41" y="6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86" name="Freeform 66"/>
            <p:cNvSpPr>
              <a:spLocks/>
            </p:cNvSpPr>
            <p:nvPr/>
          </p:nvSpPr>
          <p:spPr bwMode="auto">
            <a:xfrm>
              <a:off x="3090" y="3928"/>
              <a:ext cx="42" cy="34"/>
            </a:xfrm>
            <a:custGeom>
              <a:avLst/>
              <a:gdLst>
                <a:gd name="T0" fmla="*/ 42 w 42"/>
                <a:gd name="T1" fmla="*/ 0 h 34"/>
                <a:gd name="T2" fmla="*/ 42 w 42"/>
                <a:gd name="T3" fmla="*/ 11 h 34"/>
                <a:gd name="T4" fmla="*/ 16 w 42"/>
                <a:gd name="T5" fmla="*/ 29 h 34"/>
                <a:gd name="T6" fmla="*/ 5 w 42"/>
                <a:gd name="T7" fmla="*/ 34 h 34"/>
                <a:gd name="T8" fmla="*/ 0 w 42"/>
                <a:gd name="T9" fmla="*/ 32 h 34"/>
                <a:gd name="T10" fmla="*/ 4 w 42"/>
                <a:gd name="T11" fmla="*/ 20 h 34"/>
                <a:gd name="T12" fmla="*/ 22 w 42"/>
                <a:gd name="T13" fmla="*/ 6 h 34"/>
                <a:gd name="T14" fmla="*/ 42 w 42"/>
                <a:gd name="T15" fmla="*/ 0 h 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34"/>
                <a:gd name="T26" fmla="*/ 42 w 42"/>
                <a:gd name="T27" fmla="*/ 34 h 3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34">
                  <a:moveTo>
                    <a:pt x="42" y="0"/>
                  </a:moveTo>
                  <a:lnTo>
                    <a:pt x="42" y="11"/>
                  </a:lnTo>
                  <a:lnTo>
                    <a:pt x="16" y="29"/>
                  </a:lnTo>
                  <a:lnTo>
                    <a:pt x="5" y="34"/>
                  </a:lnTo>
                  <a:lnTo>
                    <a:pt x="0" y="32"/>
                  </a:lnTo>
                  <a:lnTo>
                    <a:pt x="4" y="20"/>
                  </a:lnTo>
                  <a:lnTo>
                    <a:pt x="22" y="6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87" name="Freeform 67"/>
            <p:cNvSpPr>
              <a:spLocks/>
            </p:cNvSpPr>
            <p:nvPr/>
          </p:nvSpPr>
          <p:spPr bwMode="auto">
            <a:xfrm>
              <a:off x="2936" y="3663"/>
              <a:ext cx="52" cy="37"/>
            </a:xfrm>
            <a:custGeom>
              <a:avLst/>
              <a:gdLst>
                <a:gd name="T0" fmla="*/ 28 w 52"/>
                <a:gd name="T1" fmla="*/ 0 h 37"/>
                <a:gd name="T2" fmla="*/ 52 w 52"/>
                <a:gd name="T3" fmla="*/ 26 h 37"/>
                <a:gd name="T4" fmla="*/ 48 w 52"/>
                <a:gd name="T5" fmla="*/ 33 h 37"/>
                <a:gd name="T6" fmla="*/ 35 w 52"/>
                <a:gd name="T7" fmla="*/ 37 h 37"/>
                <a:gd name="T8" fmla="*/ 33 w 52"/>
                <a:gd name="T9" fmla="*/ 28 h 37"/>
                <a:gd name="T10" fmla="*/ 28 w 52"/>
                <a:gd name="T11" fmla="*/ 24 h 37"/>
                <a:gd name="T12" fmla="*/ 20 w 52"/>
                <a:gd name="T13" fmla="*/ 28 h 37"/>
                <a:gd name="T14" fmla="*/ 11 w 52"/>
                <a:gd name="T15" fmla="*/ 22 h 37"/>
                <a:gd name="T16" fmla="*/ 7 w 52"/>
                <a:gd name="T17" fmla="*/ 17 h 37"/>
                <a:gd name="T18" fmla="*/ 13 w 52"/>
                <a:gd name="T19" fmla="*/ 13 h 37"/>
                <a:gd name="T20" fmla="*/ 2 w 52"/>
                <a:gd name="T21" fmla="*/ 19 h 37"/>
                <a:gd name="T22" fmla="*/ 0 w 52"/>
                <a:gd name="T23" fmla="*/ 13 h 37"/>
                <a:gd name="T24" fmla="*/ 15 w 52"/>
                <a:gd name="T25" fmla="*/ 7 h 37"/>
                <a:gd name="T26" fmla="*/ 28 w 52"/>
                <a:gd name="T27" fmla="*/ 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2"/>
                <a:gd name="T43" fmla="*/ 0 h 37"/>
                <a:gd name="T44" fmla="*/ 52 w 52"/>
                <a:gd name="T45" fmla="*/ 37 h 3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2" h="37">
                  <a:moveTo>
                    <a:pt x="28" y="0"/>
                  </a:moveTo>
                  <a:lnTo>
                    <a:pt x="52" y="26"/>
                  </a:lnTo>
                  <a:lnTo>
                    <a:pt x="48" y="33"/>
                  </a:lnTo>
                  <a:lnTo>
                    <a:pt x="35" y="37"/>
                  </a:lnTo>
                  <a:lnTo>
                    <a:pt x="33" y="28"/>
                  </a:lnTo>
                  <a:lnTo>
                    <a:pt x="28" y="24"/>
                  </a:lnTo>
                  <a:lnTo>
                    <a:pt x="20" y="28"/>
                  </a:lnTo>
                  <a:lnTo>
                    <a:pt x="11" y="22"/>
                  </a:lnTo>
                  <a:lnTo>
                    <a:pt x="7" y="17"/>
                  </a:lnTo>
                  <a:lnTo>
                    <a:pt x="13" y="1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15" y="7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</p:grpSp>
      <p:grpSp>
        <p:nvGrpSpPr>
          <p:cNvPr id="56" name="Group 68"/>
          <p:cNvGrpSpPr>
            <a:grpSpLocks/>
          </p:cNvGrpSpPr>
          <p:nvPr/>
        </p:nvGrpSpPr>
        <p:grpSpPr bwMode="auto">
          <a:xfrm>
            <a:off x="1234702" y="3385504"/>
            <a:ext cx="1153790" cy="1432243"/>
            <a:chOff x="1086" y="2537"/>
            <a:chExt cx="764" cy="906"/>
          </a:xfrm>
          <a:solidFill>
            <a:schemeClr val="accent4"/>
          </a:solidFill>
        </p:grpSpPr>
        <p:sp>
          <p:nvSpPr>
            <p:cNvPr id="77" name="Freeform 69"/>
            <p:cNvSpPr>
              <a:spLocks/>
            </p:cNvSpPr>
            <p:nvPr/>
          </p:nvSpPr>
          <p:spPr bwMode="auto">
            <a:xfrm>
              <a:off x="1782" y="3321"/>
              <a:ext cx="68" cy="122"/>
            </a:xfrm>
            <a:custGeom>
              <a:avLst/>
              <a:gdLst>
                <a:gd name="T0" fmla="*/ 68 w 68"/>
                <a:gd name="T1" fmla="*/ 0 h 122"/>
                <a:gd name="T2" fmla="*/ 46 w 68"/>
                <a:gd name="T3" fmla="*/ 26 h 122"/>
                <a:gd name="T4" fmla="*/ 20 w 68"/>
                <a:gd name="T5" fmla="*/ 26 h 122"/>
                <a:gd name="T6" fmla="*/ 0 w 68"/>
                <a:gd name="T7" fmla="*/ 41 h 122"/>
                <a:gd name="T8" fmla="*/ 4 w 68"/>
                <a:gd name="T9" fmla="*/ 62 h 122"/>
                <a:gd name="T10" fmla="*/ 4 w 68"/>
                <a:gd name="T11" fmla="*/ 96 h 122"/>
                <a:gd name="T12" fmla="*/ 20 w 68"/>
                <a:gd name="T13" fmla="*/ 122 h 122"/>
                <a:gd name="T14" fmla="*/ 38 w 68"/>
                <a:gd name="T15" fmla="*/ 115 h 122"/>
                <a:gd name="T16" fmla="*/ 42 w 68"/>
                <a:gd name="T17" fmla="*/ 100 h 122"/>
                <a:gd name="T18" fmla="*/ 61 w 68"/>
                <a:gd name="T19" fmla="*/ 66 h 122"/>
                <a:gd name="T20" fmla="*/ 61 w 68"/>
                <a:gd name="T21" fmla="*/ 48 h 122"/>
                <a:gd name="T22" fmla="*/ 68 w 68"/>
                <a:gd name="T23" fmla="*/ 0 h 1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8"/>
                <a:gd name="T37" fmla="*/ 0 h 122"/>
                <a:gd name="T38" fmla="*/ 68 w 68"/>
                <a:gd name="T39" fmla="*/ 122 h 1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8" h="122">
                  <a:moveTo>
                    <a:pt x="68" y="0"/>
                  </a:moveTo>
                  <a:lnTo>
                    <a:pt x="46" y="26"/>
                  </a:lnTo>
                  <a:lnTo>
                    <a:pt x="20" y="26"/>
                  </a:lnTo>
                  <a:lnTo>
                    <a:pt x="0" y="41"/>
                  </a:lnTo>
                  <a:lnTo>
                    <a:pt x="4" y="62"/>
                  </a:lnTo>
                  <a:lnTo>
                    <a:pt x="4" y="96"/>
                  </a:lnTo>
                  <a:lnTo>
                    <a:pt x="20" y="122"/>
                  </a:lnTo>
                  <a:lnTo>
                    <a:pt x="38" y="115"/>
                  </a:lnTo>
                  <a:lnTo>
                    <a:pt x="42" y="100"/>
                  </a:lnTo>
                  <a:lnTo>
                    <a:pt x="61" y="66"/>
                  </a:lnTo>
                  <a:lnTo>
                    <a:pt x="61" y="48"/>
                  </a:lnTo>
                  <a:lnTo>
                    <a:pt x="68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78" name="Freeform 70"/>
            <p:cNvSpPr>
              <a:spLocks/>
            </p:cNvSpPr>
            <p:nvPr/>
          </p:nvSpPr>
          <p:spPr bwMode="auto">
            <a:xfrm>
              <a:off x="1086" y="2537"/>
              <a:ext cx="764" cy="746"/>
            </a:xfrm>
            <a:custGeom>
              <a:avLst/>
              <a:gdLst>
                <a:gd name="T0" fmla="*/ 11 w 764"/>
                <a:gd name="T1" fmla="*/ 145 h 746"/>
                <a:gd name="T2" fmla="*/ 13 w 764"/>
                <a:gd name="T3" fmla="*/ 174 h 746"/>
                <a:gd name="T4" fmla="*/ 74 w 764"/>
                <a:gd name="T5" fmla="*/ 221 h 746"/>
                <a:gd name="T6" fmla="*/ 122 w 764"/>
                <a:gd name="T7" fmla="*/ 250 h 746"/>
                <a:gd name="T8" fmla="*/ 117 w 764"/>
                <a:gd name="T9" fmla="*/ 290 h 746"/>
                <a:gd name="T10" fmla="*/ 145 w 764"/>
                <a:gd name="T11" fmla="*/ 349 h 746"/>
                <a:gd name="T12" fmla="*/ 158 w 764"/>
                <a:gd name="T13" fmla="*/ 429 h 746"/>
                <a:gd name="T14" fmla="*/ 132 w 764"/>
                <a:gd name="T15" fmla="*/ 429 h 746"/>
                <a:gd name="T16" fmla="*/ 115 w 764"/>
                <a:gd name="T17" fmla="*/ 470 h 746"/>
                <a:gd name="T18" fmla="*/ 98 w 764"/>
                <a:gd name="T19" fmla="*/ 511 h 746"/>
                <a:gd name="T20" fmla="*/ 57 w 764"/>
                <a:gd name="T21" fmla="*/ 583 h 746"/>
                <a:gd name="T22" fmla="*/ 59 w 764"/>
                <a:gd name="T23" fmla="*/ 618 h 746"/>
                <a:gd name="T24" fmla="*/ 161 w 764"/>
                <a:gd name="T25" fmla="*/ 685 h 746"/>
                <a:gd name="T26" fmla="*/ 249 w 764"/>
                <a:gd name="T27" fmla="*/ 726 h 746"/>
                <a:gd name="T28" fmla="*/ 325 w 764"/>
                <a:gd name="T29" fmla="*/ 746 h 746"/>
                <a:gd name="T30" fmla="*/ 353 w 764"/>
                <a:gd name="T31" fmla="*/ 689 h 746"/>
                <a:gd name="T32" fmla="*/ 422 w 764"/>
                <a:gd name="T33" fmla="*/ 664 h 746"/>
                <a:gd name="T34" fmla="*/ 472 w 764"/>
                <a:gd name="T35" fmla="*/ 690 h 746"/>
                <a:gd name="T36" fmla="*/ 541 w 764"/>
                <a:gd name="T37" fmla="*/ 726 h 746"/>
                <a:gd name="T38" fmla="*/ 604 w 764"/>
                <a:gd name="T39" fmla="*/ 711 h 746"/>
                <a:gd name="T40" fmla="*/ 650 w 764"/>
                <a:gd name="T41" fmla="*/ 663 h 746"/>
                <a:gd name="T42" fmla="*/ 622 w 764"/>
                <a:gd name="T43" fmla="*/ 642 h 746"/>
                <a:gd name="T44" fmla="*/ 617 w 764"/>
                <a:gd name="T45" fmla="*/ 574 h 746"/>
                <a:gd name="T46" fmla="*/ 635 w 764"/>
                <a:gd name="T47" fmla="*/ 511 h 746"/>
                <a:gd name="T48" fmla="*/ 635 w 764"/>
                <a:gd name="T49" fmla="*/ 453 h 746"/>
                <a:gd name="T50" fmla="*/ 602 w 764"/>
                <a:gd name="T51" fmla="*/ 455 h 746"/>
                <a:gd name="T52" fmla="*/ 587 w 764"/>
                <a:gd name="T53" fmla="*/ 446 h 746"/>
                <a:gd name="T54" fmla="*/ 622 w 764"/>
                <a:gd name="T55" fmla="*/ 405 h 746"/>
                <a:gd name="T56" fmla="*/ 676 w 764"/>
                <a:gd name="T57" fmla="*/ 353 h 746"/>
                <a:gd name="T58" fmla="*/ 705 w 764"/>
                <a:gd name="T59" fmla="*/ 327 h 746"/>
                <a:gd name="T60" fmla="*/ 727 w 764"/>
                <a:gd name="T61" fmla="*/ 277 h 746"/>
                <a:gd name="T62" fmla="*/ 764 w 764"/>
                <a:gd name="T63" fmla="*/ 234 h 746"/>
                <a:gd name="T64" fmla="*/ 720 w 764"/>
                <a:gd name="T65" fmla="*/ 213 h 746"/>
                <a:gd name="T66" fmla="*/ 667 w 764"/>
                <a:gd name="T67" fmla="*/ 195 h 746"/>
                <a:gd name="T68" fmla="*/ 631 w 764"/>
                <a:gd name="T69" fmla="*/ 163 h 746"/>
                <a:gd name="T70" fmla="*/ 581 w 764"/>
                <a:gd name="T71" fmla="*/ 119 h 746"/>
                <a:gd name="T72" fmla="*/ 539 w 764"/>
                <a:gd name="T73" fmla="*/ 76 h 746"/>
                <a:gd name="T74" fmla="*/ 509 w 764"/>
                <a:gd name="T75" fmla="*/ 30 h 746"/>
                <a:gd name="T76" fmla="*/ 444 w 764"/>
                <a:gd name="T77" fmla="*/ 2 h 746"/>
                <a:gd name="T78" fmla="*/ 416 w 764"/>
                <a:gd name="T79" fmla="*/ 35 h 746"/>
                <a:gd name="T80" fmla="*/ 318 w 764"/>
                <a:gd name="T81" fmla="*/ 87 h 746"/>
                <a:gd name="T82" fmla="*/ 266 w 764"/>
                <a:gd name="T83" fmla="*/ 104 h 746"/>
                <a:gd name="T84" fmla="*/ 220 w 764"/>
                <a:gd name="T85" fmla="*/ 78 h 746"/>
                <a:gd name="T86" fmla="*/ 199 w 764"/>
                <a:gd name="T87" fmla="*/ 56 h 746"/>
                <a:gd name="T88" fmla="*/ 205 w 764"/>
                <a:gd name="T89" fmla="*/ 83 h 746"/>
                <a:gd name="T90" fmla="*/ 198 w 764"/>
                <a:gd name="T91" fmla="*/ 113 h 746"/>
                <a:gd name="T92" fmla="*/ 182 w 764"/>
                <a:gd name="T93" fmla="*/ 137 h 746"/>
                <a:gd name="T94" fmla="*/ 141 w 764"/>
                <a:gd name="T95" fmla="*/ 126 h 746"/>
                <a:gd name="T96" fmla="*/ 93 w 764"/>
                <a:gd name="T97" fmla="*/ 96 h 746"/>
                <a:gd name="T98" fmla="*/ 59 w 764"/>
                <a:gd name="T99" fmla="*/ 108 h 74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64"/>
                <a:gd name="T151" fmla="*/ 0 h 746"/>
                <a:gd name="T152" fmla="*/ 764 w 764"/>
                <a:gd name="T153" fmla="*/ 746 h 74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64" h="746">
                  <a:moveTo>
                    <a:pt x="13" y="106"/>
                  </a:moveTo>
                  <a:lnTo>
                    <a:pt x="20" y="124"/>
                  </a:lnTo>
                  <a:lnTo>
                    <a:pt x="13" y="139"/>
                  </a:lnTo>
                  <a:lnTo>
                    <a:pt x="11" y="145"/>
                  </a:lnTo>
                  <a:lnTo>
                    <a:pt x="0" y="141"/>
                  </a:lnTo>
                  <a:lnTo>
                    <a:pt x="4" y="150"/>
                  </a:lnTo>
                  <a:lnTo>
                    <a:pt x="4" y="159"/>
                  </a:lnTo>
                  <a:lnTo>
                    <a:pt x="13" y="174"/>
                  </a:lnTo>
                  <a:lnTo>
                    <a:pt x="30" y="169"/>
                  </a:lnTo>
                  <a:lnTo>
                    <a:pt x="52" y="193"/>
                  </a:lnTo>
                  <a:lnTo>
                    <a:pt x="61" y="209"/>
                  </a:lnTo>
                  <a:lnTo>
                    <a:pt x="74" y="221"/>
                  </a:lnTo>
                  <a:lnTo>
                    <a:pt x="91" y="221"/>
                  </a:lnTo>
                  <a:lnTo>
                    <a:pt x="98" y="235"/>
                  </a:lnTo>
                  <a:lnTo>
                    <a:pt x="113" y="248"/>
                  </a:lnTo>
                  <a:lnTo>
                    <a:pt x="122" y="250"/>
                  </a:lnTo>
                  <a:lnTo>
                    <a:pt x="124" y="256"/>
                  </a:lnTo>
                  <a:lnTo>
                    <a:pt x="119" y="268"/>
                  </a:lnTo>
                  <a:lnTo>
                    <a:pt x="119" y="279"/>
                  </a:lnTo>
                  <a:lnTo>
                    <a:pt x="117" y="290"/>
                  </a:lnTo>
                  <a:lnTo>
                    <a:pt x="113" y="309"/>
                  </a:lnTo>
                  <a:lnTo>
                    <a:pt x="128" y="327"/>
                  </a:lnTo>
                  <a:lnTo>
                    <a:pt x="145" y="340"/>
                  </a:lnTo>
                  <a:lnTo>
                    <a:pt x="145" y="349"/>
                  </a:lnTo>
                  <a:lnTo>
                    <a:pt x="143" y="381"/>
                  </a:lnTo>
                  <a:lnTo>
                    <a:pt x="139" y="407"/>
                  </a:lnTo>
                  <a:lnTo>
                    <a:pt x="143" y="418"/>
                  </a:lnTo>
                  <a:lnTo>
                    <a:pt x="158" y="429"/>
                  </a:lnTo>
                  <a:lnTo>
                    <a:pt x="158" y="451"/>
                  </a:lnTo>
                  <a:lnTo>
                    <a:pt x="158" y="466"/>
                  </a:lnTo>
                  <a:lnTo>
                    <a:pt x="141" y="444"/>
                  </a:lnTo>
                  <a:lnTo>
                    <a:pt x="132" y="429"/>
                  </a:lnTo>
                  <a:lnTo>
                    <a:pt x="126" y="433"/>
                  </a:lnTo>
                  <a:lnTo>
                    <a:pt x="130" y="444"/>
                  </a:lnTo>
                  <a:lnTo>
                    <a:pt x="124" y="457"/>
                  </a:lnTo>
                  <a:lnTo>
                    <a:pt x="115" y="470"/>
                  </a:lnTo>
                  <a:lnTo>
                    <a:pt x="109" y="479"/>
                  </a:lnTo>
                  <a:lnTo>
                    <a:pt x="117" y="488"/>
                  </a:lnTo>
                  <a:lnTo>
                    <a:pt x="111" y="498"/>
                  </a:lnTo>
                  <a:lnTo>
                    <a:pt x="98" y="511"/>
                  </a:lnTo>
                  <a:lnTo>
                    <a:pt x="96" y="522"/>
                  </a:lnTo>
                  <a:lnTo>
                    <a:pt x="89" y="535"/>
                  </a:lnTo>
                  <a:lnTo>
                    <a:pt x="69" y="559"/>
                  </a:lnTo>
                  <a:lnTo>
                    <a:pt x="57" y="583"/>
                  </a:lnTo>
                  <a:lnTo>
                    <a:pt x="57" y="587"/>
                  </a:lnTo>
                  <a:lnTo>
                    <a:pt x="63" y="594"/>
                  </a:lnTo>
                  <a:lnTo>
                    <a:pt x="56" y="605"/>
                  </a:lnTo>
                  <a:lnTo>
                    <a:pt x="59" y="618"/>
                  </a:lnTo>
                  <a:lnTo>
                    <a:pt x="70" y="635"/>
                  </a:lnTo>
                  <a:lnTo>
                    <a:pt x="117" y="661"/>
                  </a:lnTo>
                  <a:lnTo>
                    <a:pt x="150" y="689"/>
                  </a:lnTo>
                  <a:lnTo>
                    <a:pt x="161" y="685"/>
                  </a:lnTo>
                  <a:lnTo>
                    <a:pt x="178" y="679"/>
                  </a:lnTo>
                  <a:lnTo>
                    <a:pt x="236" y="703"/>
                  </a:lnTo>
                  <a:lnTo>
                    <a:pt x="244" y="711"/>
                  </a:lnTo>
                  <a:lnTo>
                    <a:pt x="249" y="726"/>
                  </a:lnTo>
                  <a:lnTo>
                    <a:pt x="259" y="731"/>
                  </a:lnTo>
                  <a:lnTo>
                    <a:pt x="272" y="733"/>
                  </a:lnTo>
                  <a:lnTo>
                    <a:pt x="292" y="744"/>
                  </a:lnTo>
                  <a:lnTo>
                    <a:pt x="325" y="746"/>
                  </a:lnTo>
                  <a:lnTo>
                    <a:pt x="335" y="733"/>
                  </a:lnTo>
                  <a:lnTo>
                    <a:pt x="338" y="718"/>
                  </a:lnTo>
                  <a:lnTo>
                    <a:pt x="338" y="702"/>
                  </a:lnTo>
                  <a:lnTo>
                    <a:pt x="353" y="689"/>
                  </a:lnTo>
                  <a:lnTo>
                    <a:pt x="381" y="674"/>
                  </a:lnTo>
                  <a:lnTo>
                    <a:pt x="394" y="672"/>
                  </a:lnTo>
                  <a:lnTo>
                    <a:pt x="409" y="664"/>
                  </a:lnTo>
                  <a:lnTo>
                    <a:pt x="422" y="664"/>
                  </a:lnTo>
                  <a:lnTo>
                    <a:pt x="437" y="674"/>
                  </a:lnTo>
                  <a:lnTo>
                    <a:pt x="448" y="687"/>
                  </a:lnTo>
                  <a:lnTo>
                    <a:pt x="461" y="687"/>
                  </a:lnTo>
                  <a:lnTo>
                    <a:pt x="472" y="690"/>
                  </a:lnTo>
                  <a:lnTo>
                    <a:pt x="494" y="692"/>
                  </a:lnTo>
                  <a:lnTo>
                    <a:pt x="509" y="711"/>
                  </a:lnTo>
                  <a:lnTo>
                    <a:pt x="522" y="720"/>
                  </a:lnTo>
                  <a:lnTo>
                    <a:pt x="541" y="726"/>
                  </a:lnTo>
                  <a:lnTo>
                    <a:pt x="557" y="735"/>
                  </a:lnTo>
                  <a:lnTo>
                    <a:pt x="566" y="737"/>
                  </a:lnTo>
                  <a:lnTo>
                    <a:pt x="589" y="714"/>
                  </a:lnTo>
                  <a:lnTo>
                    <a:pt x="604" y="711"/>
                  </a:lnTo>
                  <a:lnTo>
                    <a:pt x="615" y="702"/>
                  </a:lnTo>
                  <a:lnTo>
                    <a:pt x="631" y="690"/>
                  </a:lnTo>
                  <a:lnTo>
                    <a:pt x="652" y="689"/>
                  </a:lnTo>
                  <a:lnTo>
                    <a:pt x="650" y="663"/>
                  </a:lnTo>
                  <a:lnTo>
                    <a:pt x="646" y="655"/>
                  </a:lnTo>
                  <a:lnTo>
                    <a:pt x="637" y="642"/>
                  </a:lnTo>
                  <a:lnTo>
                    <a:pt x="630" y="644"/>
                  </a:lnTo>
                  <a:lnTo>
                    <a:pt x="622" y="642"/>
                  </a:lnTo>
                  <a:lnTo>
                    <a:pt x="615" y="631"/>
                  </a:lnTo>
                  <a:lnTo>
                    <a:pt x="613" y="605"/>
                  </a:lnTo>
                  <a:lnTo>
                    <a:pt x="628" y="588"/>
                  </a:lnTo>
                  <a:lnTo>
                    <a:pt x="617" y="574"/>
                  </a:lnTo>
                  <a:lnTo>
                    <a:pt x="617" y="568"/>
                  </a:lnTo>
                  <a:lnTo>
                    <a:pt x="639" y="546"/>
                  </a:lnTo>
                  <a:lnTo>
                    <a:pt x="639" y="538"/>
                  </a:lnTo>
                  <a:lnTo>
                    <a:pt x="635" y="511"/>
                  </a:lnTo>
                  <a:lnTo>
                    <a:pt x="648" y="498"/>
                  </a:lnTo>
                  <a:lnTo>
                    <a:pt x="637" y="483"/>
                  </a:lnTo>
                  <a:lnTo>
                    <a:pt x="637" y="472"/>
                  </a:lnTo>
                  <a:lnTo>
                    <a:pt x="635" y="453"/>
                  </a:lnTo>
                  <a:lnTo>
                    <a:pt x="630" y="448"/>
                  </a:lnTo>
                  <a:lnTo>
                    <a:pt x="617" y="448"/>
                  </a:lnTo>
                  <a:lnTo>
                    <a:pt x="605" y="451"/>
                  </a:lnTo>
                  <a:lnTo>
                    <a:pt x="602" y="455"/>
                  </a:lnTo>
                  <a:lnTo>
                    <a:pt x="594" y="462"/>
                  </a:lnTo>
                  <a:lnTo>
                    <a:pt x="583" y="466"/>
                  </a:lnTo>
                  <a:lnTo>
                    <a:pt x="579" y="455"/>
                  </a:lnTo>
                  <a:lnTo>
                    <a:pt x="587" y="446"/>
                  </a:lnTo>
                  <a:lnTo>
                    <a:pt x="591" y="438"/>
                  </a:lnTo>
                  <a:lnTo>
                    <a:pt x="591" y="429"/>
                  </a:lnTo>
                  <a:lnTo>
                    <a:pt x="611" y="409"/>
                  </a:lnTo>
                  <a:lnTo>
                    <a:pt x="622" y="405"/>
                  </a:lnTo>
                  <a:lnTo>
                    <a:pt x="624" y="390"/>
                  </a:lnTo>
                  <a:lnTo>
                    <a:pt x="635" y="377"/>
                  </a:lnTo>
                  <a:lnTo>
                    <a:pt x="667" y="353"/>
                  </a:lnTo>
                  <a:lnTo>
                    <a:pt x="676" y="353"/>
                  </a:lnTo>
                  <a:lnTo>
                    <a:pt x="680" y="344"/>
                  </a:lnTo>
                  <a:lnTo>
                    <a:pt x="691" y="333"/>
                  </a:lnTo>
                  <a:lnTo>
                    <a:pt x="700" y="333"/>
                  </a:lnTo>
                  <a:lnTo>
                    <a:pt x="705" y="327"/>
                  </a:lnTo>
                  <a:lnTo>
                    <a:pt x="710" y="323"/>
                  </a:lnTo>
                  <a:lnTo>
                    <a:pt x="718" y="310"/>
                  </a:lnTo>
                  <a:lnTo>
                    <a:pt x="725" y="290"/>
                  </a:lnTo>
                  <a:lnTo>
                    <a:pt x="727" y="277"/>
                  </a:lnTo>
                  <a:lnTo>
                    <a:pt x="727" y="266"/>
                  </a:lnTo>
                  <a:lnTo>
                    <a:pt x="738" y="252"/>
                  </a:lnTo>
                  <a:lnTo>
                    <a:pt x="755" y="243"/>
                  </a:lnTo>
                  <a:lnTo>
                    <a:pt x="764" y="234"/>
                  </a:lnTo>
                  <a:lnTo>
                    <a:pt x="764" y="230"/>
                  </a:lnTo>
                  <a:lnTo>
                    <a:pt x="749" y="219"/>
                  </a:lnTo>
                  <a:lnTo>
                    <a:pt x="742" y="215"/>
                  </a:lnTo>
                  <a:lnTo>
                    <a:pt x="720" y="213"/>
                  </a:lnTo>
                  <a:lnTo>
                    <a:pt x="694" y="209"/>
                  </a:lnTo>
                  <a:lnTo>
                    <a:pt x="685" y="208"/>
                  </a:lnTo>
                  <a:lnTo>
                    <a:pt x="676" y="204"/>
                  </a:lnTo>
                  <a:lnTo>
                    <a:pt x="667" y="195"/>
                  </a:lnTo>
                  <a:lnTo>
                    <a:pt x="659" y="180"/>
                  </a:lnTo>
                  <a:lnTo>
                    <a:pt x="652" y="171"/>
                  </a:lnTo>
                  <a:lnTo>
                    <a:pt x="642" y="167"/>
                  </a:lnTo>
                  <a:lnTo>
                    <a:pt x="631" y="163"/>
                  </a:lnTo>
                  <a:lnTo>
                    <a:pt x="626" y="161"/>
                  </a:lnTo>
                  <a:lnTo>
                    <a:pt x="611" y="148"/>
                  </a:lnTo>
                  <a:lnTo>
                    <a:pt x="592" y="133"/>
                  </a:lnTo>
                  <a:lnTo>
                    <a:pt x="581" y="119"/>
                  </a:lnTo>
                  <a:lnTo>
                    <a:pt x="568" y="115"/>
                  </a:lnTo>
                  <a:lnTo>
                    <a:pt x="561" y="109"/>
                  </a:lnTo>
                  <a:lnTo>
                    <a:pt x="555" y="95"/>
                  </a:lnTo>
                  <a:lnTo>
                    <a:pt x="539" y="76"/>
                  </a:lnTo>
                  <a:lnTo>
                    <a:pt x="535" y="63"/>
                  </a:lnTo>
                  <a:lnTo>
                    <a:pt x="522" y="50"/>
                  </a:lnTo>
                  <a:lnTo>
                    <a:pt x="516" y="39"/>
                  </a:lnTo>
                  <a:lnTo>
                    <a:pt x="509" y="30"/>
                  </a:lnTo>
                  <a:lnTo>
                    <a:pt x="496" y="20"/>
                  </a:lnTo>
                  <a:lnTo>
                    <a:pt x="483" y="6"/>
                  </a:lnTo>
                  <a:lnTo>
                    <a:pt x="472" y="0"/>
                  </a:lnTo>
                  <a:lnTo>
                    <a:pt x="444" y="2"/>
                  </a:lnTo>
                  <a:lnTo>
                    <a:pt x="433" y="2"/>
                  </a:lnTo>
                  <a:lnTo>
                    <a:pt x="418" y="13"/>
                  </a:lnTo>
                  <a:lnTo>
                    <a:pt x="427" y="22"/>
                  </a:lnTo>
                  <a:lnTo>
                    <a:pt x="416" y="35"/>
                  </a:lnTo>
                  <a:lnTo>
                    <a:pt x="388" y="70"/>
                  </a:lnTo>
                  <a:lnTo>
                    <a:pt x="374" y="78"/>
                  </a:lnTo>
                  <a:lnTo>
                    <a:pt x="335" y="82"/>
                  </a:lnTo>
                  <a:lnTo>
                    <a:pt x="318" y="87"/>
                  </a:lnTo>
                  <a:lnTo>
                    <a:pt x="309" y="96"/>
                  </a:lnTo>
                  <a:lnTo>
                    <a:pt x="305" y="104"/>
                  </a:lnTo>
                  <a:lnTo>
                    <a:pt x="290" y="100"/>
                  </a:lnTo>
                  <a:lnTo>
                    <a:pt x="266" y="104"/>
                  </a:lnTo>
                  <a:lnTo>
                    <a:pt x="251" y="102"/>
                  </a:lnTo>
                  <a:lnTo>
                    <a:pt x="238" y="93"/>
                  </a:lnTo>
                  <a:lnTo>
                    <a:pt x="229" y="82"/>
                  </a:lnTo>
                  <a:lnTo>
                    <a:pt x="220" y="78"/>
                  </a:lnTo>
                  <a:lnTo>
                    <a:pt x="227" y="69"/>
                  </a:lnTo>
                  <a:lnTo>
                    <a:pt x="216" y="59"/>
                  </a:lnTo>
                  <a:lnTo>
                    <a:pt x="207" y="57"/>
                  </a:lnTo>
                  <a:lnTo>
                    <a:pt x="199" y="56"/>
                  </a:lnTo>
                  <a:lnTo>
                    <a:pt x="198" y="59"/>
                  </a:lnTo>
                  <a:lnTo>
                    <a:pt x="205" y="67"/>
                  </a:lnTo>
                  <a:lnTo>
                    <a:pt x="201" y="72"/>
                  </a:lnTo>
                  <a:lnTo>
                    <a:pt x="205" y="83"/>
                  </a:lnTo>
                  <a:lnTo>
                    <a:pt x="207" y="96"/>
                  </a:lnTo>
                  <a:lnTo>
                    <a:pt x="207" y="106"/>
                  </a:lnTo>
                  <a:lnTo>
                    <a:pt x="205" y="108"/>
                  </a:lnTo>
                  <a:lnTo>
                    <a:pt x="198" y="113"/>
                  </a:lnTo>
                  <a:lnTo>
                    <a:pt x="196" y="122"/>
                  </a:lnTo>
                  <a:lnTo>
                    <a:pt x="196" y="132"/>
                  </a:lnTo>
                  <a:lnTo>
                    <a:pt x="194" y="139"/>
                  </a:lnTo>
                  <a:lnTo>
                    <a:pt x="182" y="137"/>
                  </a:lnTo>
                  <a:lnTo>
                    <a:pt x="169" y="130"/>
                  </a:lnTo>
                  <a:lnTo>
                    <a:pt x="161" y="137"/>
                  </a:lnTo>
                  <a:lnTo>
                    <a:pt x="148" y="128"/>
                  </a:lnTo>
                  <a:lnTo>
                    <a:pt x="141" y="126"/>
                  </a:lnTo>
                  <a:lnTo>
                    <a:pt x="132" y="133"/>
                  </a:lnTo>
                  <a:lnTo>
                    <a:pt x="124" y="132"/>
                  </a:lnTo>
                  <a:lnTo>
                    <a:pt x="124" y="126"/>
                  </a:lnTo>
                  <a:lnTo>
                    <a:pt x="93" y="96"/>
                  </a:lnTo>
                  <a:lnTo>
                    <a:pt x="85" y="95"/>
                  </a:lnTo>
                  <a:lnTo>
                    <a:pt x="80" y="100"/>
                  </a:lnTo>
                  <a:lnTo>
                    <a:pt x="67" y="106"/>
                  </a:lnTo>
                  <a:lnTo>
                    <a:pt x="59" y="108"/>
                  </a:lnTo>
                  <a:lnTo>
                    <a:pt x="50" y="98"/>
                  </a:lnTo>
                  <a:lnTo>
                    <a:pt x="28" y="98"/>
                  </a:lnTo>
                  <a:lnTo>
                    <a:pt x="13" y="106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</p:grpSp>
      <p:grpSp>
        <p:nvGrpSpPr>
          <p:cNvPr id="57" name="Group 72"/>
          <p:cNvGrpSpPr>
            <a:grpSpLocks/>
          </p:cNvGrpSpPr>
          <p:nvPr/>
        </p:nvGrpSpPr>
        <p:grpSpPr bwMode="auto">
          <a:xfrm>
            <a:off x="1278867" y="2182483"/>
            <a:ext cx="682609" cy="1191955"/>
            <a:chOff x="1094" y="1776"/>
            <a:chExt cx="452" cy="754"/>
          </a:xfrm>
          <a:solidFill>
            <a:schemeClr val="accent3"/>
          </a:solidFill>
        </p:grpSpPr>
        <p:sp>
          <p:nvSpPr>
            <p:cNvPr id="71" name="Freeform 73"/>
            <p:cNvSpPr>
              <a:spLocks/>
            </p:cNvSpPr>
            <p:nvPr/>
          </p:nvSpPr>
          <p:spPr bwMode="auto">
            <a:xfrm>
              <a:off x="1094" y="1785"/>
              <a:ext cx="452" cy="745"/>
            </a:xfrm>
            <a:custGeom>
              <a:avLst/>
              <a:gdLst>
                <a:gd name="T0" fmla="*/ 147 w 452"/>
                <a:gd name="T1" fmla="*/ 515 h 745"/>
                <a:gd name="T2" fmla="*/ 97 w 452"/>
                <a:gd name="T3" fmla="*/ 549 h 745"/>
                <a:gd name="T4" fmla="*/ 84 w 452"/>
                <a:gd name="T5" fmla="*/ 580 h 745"/>
                <a:gd name="T6" fmla="*/ 113 w 452"/>
                <a:gd name="T7" fmla="*/ 597 h 745"/>
                <a:gd name="T8" fmla="*/ 137 w 452"/>
                <a:gd name="T9" fmla="*/ 608 h 745"/>
                <a:gd name="T10" fmla="*/ 181 w 452"/>
                <a:gd name="T11" fmla="*/ 617 h 745"/>
                <a:gd name="T12" fmla="*/ 152 w 452"/>
                <a:gd name="T13" fmla="*/ 651 h 745"/>
                <a:gd name="T14" fmla="*/ 87 w 452"/>
                <a:gd name="T15" fmla="*/ 632 h 745"/>
                <a:gd name="T16" fmla="*/ 41 w 452"/>
                <a:gd name="T17" fmla="*/ 671 h 745"/>
                <a:gd name="T18" fmla="*/ 2 w 452"/>
                <a:gd name="T19" fmla="*/ 691 h 745"/>
                <a:gd name="T20" fmla="*/ 22 w 452"/>
                <a:gd name="T21" fmla="*/ 708 h 745"/>
                <a:gd name="T22" fmla="*/ 59 w 452"/>
                <a:gd name="T23" fmla="*/ 702 h 745"/>
                <a:gd name="T24" fmla="*/ 110 w 452"/>
                <a:gd name="T25" fmla="*/ 723 h 745"/>
                <a:gd name="T26" fmla="*/ 148 w 452"/>
                <a:gd name="T27" fmla="*/ 689 h 745"/>
                <a:gd name="T28" fmla="*/ 183 w 452"/>
                <a:gd name="T29" fmla="*/ 710 h 745"/>
                <a:gd name="T30" fmla="*/ 231 w 452"/>
                <a:gd name="T31" fmla="*/ 717 h 745"/>
                <a:gd name="T32" fmla="*/ 266 w 452"/>
                <a:gd name="T33" fmla="*/ 714 h 745"/>
                <a:gd name="T34" fmla="*/ 315 w 452"/>
                <a:gd name="T35" fmla="*/ 734 h 745"/>
                <a:gd name="T36" fmla="*/ 357 w 452"/>
                <a:gd name="T37" fmla="*/ 738 h 745"/>
                <a:gd name="T38" fmla="*/ 398 w 452"/>
                <a:gd name="T39" fmla="*/ 723 h 745"/>
                <a:gd name="T40" fmla="*/ 381 w 452"/>
                <a:gd name="T41" fmla="*/ 689 h 745"/>
                <a:gd name="T42" fmla="*/ 383 w 452"/>
                <a:gd name="T43" fmla="*/ 667 h 745"/>
                <a:gd name="T44" fmla="*/ 437 w 452"/>
                <a:gd name="T45" fmla="*/ 632 h 745"/>
                <a:gd name="T46" fmla="*/ 452 w 452"/>
                <a:gd name="T47" fmla="*/ 584 h 745"/>
                <a:gd name="T48" fmla="*/ 413 w 452"/>
                <a:gd name="T49" fmla="*/ 558 h 745"/>
                <a:gd name="T50" fmla="*/ 385 w 452"/>
                <a:gd name="T51" fmla="*/ 556 h 745"/>
                <a:gd name="T52" fmla="*/ 394 w 452"/>
                <a:gd name="T53" fmla="*/ 510 h 745"/>
                <a:gd name="T54" fmla="*/ 394 w 452"/>
                <a:gd name="T55" fmla="*/ 447 h 745"/>
                <a:gd name="T56" fmla="*/ 354 w 452"/>
                <a:gd name="T57" fmla="*/ 374 h 745"/>
                <a:gd name="T58" fmla="*/ 354 w 452"/>
                <a:gd name="T59" fmla="*/ 317 h 745"/>
                <a:gd name="T60" fmla="*/ 341 w 452"/>
                <a:gd name="T61" fmla="*/ 272 h 745"/>
                <a:gd name="T62" fmla="*/ 298 w 452"/>
                <a:gd name="T63" fmla="*/ 248 h 745"/>
                <a:gd name="T64" fmla="*/ 294 w 452"/>
                <a:gd name="T65" fmla="*/ 230 h 745"/>
                <a:gd name="T66" fmla="*/ 331 w 452"/>
                <a:gd name="T67" fmla="*/ 235 h 745"/>
                <a:gd name="T68" fmla="*/ 389 w 452"/>
                <a:gd name="T69" fmla="*/ 165 h 745"/>
                <a:gd name="T70" fmla="*/ 385 w 452"/>
                <a:gd name="T71" fmla="*/ 120 h 745"/>
                <a:gd name="T72" fmla="*/ 331 w 452"/>
                <a:gd name="T73" fmla="*/ 98 h 745"/>
                <a:gd name="T74" fmla="*/ 302 w 452"/>
                <a:gd name="T75" fmla="*/ 100 h 745"/>
                <a:gd name="T76" fmla="*/ 318 w 452"/>
                <a:gd name="T77" fmla="*/ 72 h 745"/>
                <a:gd name="T78" fmla="*/ 376 w 452"/>
                <a:gd name="T79" fmla="*/ 37 h 745"/>
                <a:gd name="T80" fmla="*/ 339 w 452"/>
                <a:gd name="T81" fmla="*/ 13 h 745"/>
                <a:gd name="T82" fmla="*/ 278 w 452"/>
                <a:gd name="T83" fmla="*/ 22 h 745"/>
                <a:gd name="T84" fmla="*/ 250 w 452"/>
                <a:gd name="T85" fmla="*/ 48 h 745"/>
                <a:gd name="T86" fmla="*/ 231 w 452"/>
                <a:gd name="T87" fmla="*/ 83 h 745"/>
                <a:gd name="T88" fmla="*/ 183 w 452"/>
                <a:gd name="T89" fmla="*/ 143 h 745"/>
                <a:gd name="T90" fmla="*/ 214 w 452"/>
                <a:gd name="T91" fmla="*/ 155 h 745"/>
                <a:gd name="T92" fmla="*/ 169 w 452"/>
                <a:gd name="T93" fmla="*/ 230 h 745"/>
                <a:gd name="T94" fmla="*/ 185 w 452"/>
                <a:gd name="T95" fmla="*/ 241 h 745"/>
                <a:gd name="T96" fmla="*/ 213 w 452"/>
                <a:gd name="T97" fmla="*/ 257 h 745"/>
                <a:gd name="T98" fmla="*/ 181 w 452"/>
                <a:gd name="T99" fmla="*/ 302 h 745"/>
                <a:gd name="T100" fmla="*/ 226 w 452"/>
                <a:gd name="T101" fmla="*/ 331 h 745"/>
                <a:gd name="T102" fmla="*/ 253 w 452"/>
                <a:gd name="T103" fmla="*/ 341 h 745"/>
                <a:gd name="T104" fmla="*/ 244 w 452"/>
                <a:gd name="T105" fmla="*/ 405 h 745"/>
                <a:gd name="T106" fmla="*/ 242 w 452"/>
                <a:gd name="T107" fmla="*/ 449 h 745"/>
                <a:gd name="T108" fmla="*/ 222 w 452"/>
                <a:gd name="T109" fmla="*/ 469 h 74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52"/>
                <a:gd name="T166" fmla="*/ 0 h 745"/>
                <a:gd name="T167" fmla="*/ 452 w 452"/>
                <a:gd name="T168" fmla="*/ 745 h 74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52" h="745">
                  <a:moveTo>
                    <a:pt x="135" y="478"/>
                  </a:moveTo>
                  <a:lnTo>
                    <a:pt x="156" y="497"/>
                  </a:lnTo>
                  <a:lnTo>
                    <a:pt x="147" y="515"/>
                  </a:lnTo>
                  <a:lnTo>
                    <a:pt x="134" y="530"/>
                  </a:lnTo>
                  <a:lnTo>
                    <a:pt x="113" y="540"/>
                  </a:lnTo>
                  <a:lnTo>
                    <a:pt x="97" y="549"/>
                  </a:lnTo>
                  <a:lnTo>
                    <a:pt x="80" y="551"/>
                  </a:lnTo>
                  <a:lnTo>
                    <a:pt x="71" y="558"/>
                  </a:lnTo>
                  <a:lnTo>
                    <a:pt x="84" y="580"/>
                  </a:lnTo>
                  <a:lnTo>
                    <a:pt x="104" y="580"/>
                  </a:lnTo>
                  <a:lnTo>
                    <a:pt x="113" y="582"/>
                  </a:lnTo>
                  <a:lnTo>
                    <a:pt x="113" y="597"/>
                  </a:lnTo>
                  <a:lnTo>
                    <a:pt x="124" y="597"/>
                  </a:lnTo>
                  <a:lnTo>
                    <a:pt x="132" y="593"/>
                  </a:lnTo>
                  <a:lnTo>
                    <a:pt x="137" y="608"/>
                  </a:lnTo>
                  <a:lnTo>
                    <a:pt x="148" y="621"/>
                  </a:lnTo>
                  <a:lnTo>
                    <a:pt x="167" y="621"/>
                  </a:lnTo>
                  <a:lnTo>
                    <a:pt x="181" y="617"/>
                  </a:lnTo>
                  <a:lnTo>
                    <a:pt x="192" y="621"/>
                  </a:lnTo>
                  <a:lnTo>
                    <a:pt x="163" y="645"/>
                  </a:lnTo>
                  <a:lnTo>
                    <a:pt x="152" y="651"/>
                  </a:lnTo>
                  <a:lnTo>
                    <a:pt x="137" y="645"/>
                  </a:lnTo>
                  <a:lnTo>
                    <a:pt x="104" y="632"/>
                  </a:lnTo>
                  <a:lnTo>
                    <a:pt x="87" y="632"/>
                  </a:lnTo>
                  <a:lnTo>
                    <a:pt x="72" y="645"/>
                  </a:lnTo>
                  <a:lnTo>
                    <a:pt x="52" y="662"/>
                  </a:lnTo>
                  <a:lnTo>
                    <a:pt x="41" y="671"/>
                  </a:lnTo>
                  <a:lnTo>
                    <a:pt x="28" y="675"/>
                  </a:lnTo>
                  <a:lnTo>
                    <a:pt x="13" y="682"/>
                  </a:lnTo>
                  <a:lnTo>
                    <a:pt x="2" y="691"/>
                  </a:lnTo>
                  <a:lnTo>
                    <a:pt x="0" y="697"/>
                  </a:lnTo>
                  <a:lnTo>
                    <a:pt x="13" y="699"/>
                  </a:lnTo>
                  <a:lnTo>
                    <a:pt x="22" y="708"/>
                  </a:lnTo>
                  <a:lnTo>
                    <a:pt x="35" y="714"/>
                  </a:lnTo>
                  <a:lnTo>
                    <a:pt x="48" y="708"/>
                  </a:lnTo>
                  <a:lnTo>
                    <a:pt x="59" y="702"/>
                  </a:lnTo>
                  <a:lnTo>
                    <a:pt x="72" y="704"/>
                  </a:lnTo>
                  <a:lnTo>
                    <a:pt x="91" y="715"/>
                  </a:lnTo>
                  <a:lnTo>
                    <a:pt x="110" y="723"/>
                  </a:lnTo>
                  <a:lnTo>
                    <a:pt x="122" y="715"/>
                  </a:lnTo>
                  <a:lnTo>
                    <a:pt x="128" y="701"/>
                  </a:lnTo>
                  <a:lnTo>
                    <a:pt x="148" y="689"/>
                  </a:lnTo>
                  <a:lnTo>
                    <a:pt x="161" y="689"/>
                  </a:lnTo>
                  <a:lnTo>
                    <a:pt x="173" y="702"/>
                  </a:lnTo>
                  <a:lnTo>
                    <a:pt x="183" y="710"/>
                  </a:lnTo>
                  <a:lnTo>
                    <a:pt x="198" y="710"/>
                  </a:lnTo>
                  <a:lnTo>
                    <a:pt x="218" y="712"/>
                  </a:lnTo>
                  <a:lnTo>
                    <a:pt x="231" y="717"/>
                  </a:lnTo>
                  <a:lnTo>
                    <a:pt x="244" y="708"/>
                  </a:lnTo>
                  <a:lnTo>
                    <a:pt x="255" y="708"/>
                  </a:lnTo>
                  <a:lnTo>
                    <a:pt x="266" y="714"/>
                  </a:lnTo>
                  <a:lnTo>
                    <a:pt x="279" y="728"/>
                  </a:lnTo>
                  <a:lnTo>
                    <a:pt x="296" y="730"/>
                  </a:lnTo>
                  <a:lnTo>
                    <a:pt x="315" y="734"/>
                  </a:lnTo>
                  <a:lnTo>
                    <a:pt x="328" y="741"/>
                  </a:lnTo>
                  <a:lnTo>
                    <a:pt x="344" y="745"/>
                  </a:lnTo>
                  <a:lnTo>
                    <a:pt x="357" y="738"/>
                  </a:lnTo>
                  <a:lnTo>
                    <a:pt x="374" y="728"/>
                  </a:lnTo>
                  <a:lnTo>
                    <a:pt x="385" y="726"/>
                  </a:lnTo>
                  <a:lnTo>
                    <a:pt x="398" y="723"/>
                  </a:lnTo>
                  <a:lnTo>
                    <a:pt x="411" y="712"/>
                  </a:lnTo>
                  <a:lnTo>
                    <a:pt x="402" y="701"/>
                  </a:lnTo>
                  <a:lnTo>
                    <a:pt x="381" y="689"/>
                  </a:lnTo>
                  <a:lnTo>
                    <a:pt x="374" y="682"/>
                  </a:lnTo>
                  <a:lnTo>
                    <a:pt x="374" y="675"/>
                  </a:lnTo>
                  <a:lnTo>
                    <a:pt x="383" y="667"/>
                  </a:lnTo>
                  <a:lnTo>
                    <a:pt x="398" y="665"/>
                  </a:lnTo>
                  <a:lnTo>
                    <a:pt x="413" y="658"/>
                  </a:lnTo>
                  <a:lnTo>
                    <a:pt x="437" y="632"/>
                  </a:lnTo>
                  <a:lnTo>
                    <a:pt x="448" y="619"/>
                  </a:lnTo>
                  <a:lnTo>
                    <a:pt x="452" y="597"/>
                  </a:lnTo>
                  <a:lnTo>
                    <a:pt x="452" y="584"/>
                  </a:lnTo>
                  <a:lnTo>
                    <a:pt x="441" y="575"/>
                  </a:lnTo>
                  <a:lnTo>
                    <a:pt x="426" y="564"/>
                  </a:lnTo>
                  <a:lnTo>
                    <a:pt x="413" y="558"/>
                  </a:lnTo>
                  <a:lnTo>
                    <a:pt x="398" y="560"/>
                  </a:lnTo>
                  <a:lnTo>
                    <a:pt x="389" y="565"/>
                  </a:lnTo>
                  <a:lnTo>
                    <a:pt x="385" y="556"/>
                  </a:lnTo>
                  <a:lnTo>
                    <a:pt x="393" y="541"/>
                  </a:lnTo>
                  <a:lnTo>
                    <a:pt x="396" y="530"/>
                  </a:lnTo>
                  <a:lnTo>
                    <a:pt x="394" y="510"/>
                  </a:lnTo>
                  <a:lnTo>
                    <a:pt x="393" y="482"/>
                  </a:lnTo>
                  <a:lnTo>
                    <a:pt x="398" y="460"/>
                  </a:lnTo>
                  <a:lnTo>
                    <a:pt x="394" y="447"/>
                  </a:lnTo>
                  <a:lnTo>
                    <a:pt x="385" y="431"/>
                  </a:lnTo>
                  <a:lnTo>
                    <a:pt x="363" y="392"/>
                  </a:lnTo>
                  <a:lnTo>
                    <a:pt x="354" y="374"/>
                  </a:lnTo>
                  <a:lnTo>
                    <a:pt x="350" y="352"/>
                  </a:lnTo>
                  <a:lnTo>
                    <a:pt x="348" y="339"/>
                  </a:lnTo>
                  <a:lnTo>
                    <a:pt x="354" y="317"/>
                  </a:lnTo>
                  <a:lnTo>
                    <a:pt x="354" y="300"/>
                  </a:lnTo>
                  <a:lnTo>
                    <a:pt x="350" y="281"/>
                  </a:lnTo>
                  <a:lnTo>
                    <a:pt x="341" y="272"/>
                  </a:lnTo>
                  <a:lnTo>
                    <a:pt x="324" y="255"/>
                  </a:lnTo>
                  <a:lnTo>
                    <a:pt x="311" y="250"/>
                  </a:lnTo>
                  <a:lnTo>
                    <a:pt x="298" y="248"/>
                  </a:lnTo>
                  <a:lnTo>
                    <a:pt x="289" y="246"/>
                  </a:lnTo>
                  <a:lnTo>
                    <a:pt x="289" y="237"/>
                  </a:lnTo>
                  <a:lnTo>
                    <a:pt x="294" y="230"/>
                  </a:lnTo>
                  <a:lnTo>
                    <a:pt x="309" y="228"/>
                  </a:lnTo>
                  <a:lnTo>
                    <a:pt x="322" y="233"/>
                  </a:lnTo>
                  <a:lnTo>
                    <a:pt x="331" y="235"/>
                  </a:lnTo>
                  <a:lnTo>
                    <a:pt x="337" y="226"/>
                  </a:lnTo>
                  <a:lnTo>
                    <a:pt x="335" y="215"/>
                  </a:lnTo>
                  <a:lnTo>
                    <a:pt x="389" y="165"/>
                  </a:lnTo>
                  <a:lnTo>
                    <a:pt x="398" y="154"/>
                  </a:lnTo>
                  <a:lnTo>
                    <a:pt x="398" y="131"/>
                  </a:lnTo>
                  <a:lnTo>
                    <a:pt x="385" y="120"/>
                  </a:lnTo>
                  <a:lnTo>
                    <a:pt x="370" y="118"/>
                  </a:lnTo>
                  <a:lnTo>
                    <a:pt x="357" y="98"/>
                  </a:lnTo>
                  <a:lnTo>
                    <a:pt x="331" y="98"/>
                  </a:lnTo>
                  <a:lnTo>
                    <a:pt x="307" y="102"/>
                  </a:lnTo>
                  <a:lnTo>
                    <a:pt x="302" y="100"/>
                  </a:lnTo>
                  <a:lnTo>
                    <a:pt x="296" y="91"/>
                  </a:lnTo>
                  <a:lnTo>
                    <a:pt x="307" y="83"/>
                  </a:lnTo>
                  <a:lnTo>
                    <a:pt x="318" y="72"/>
                  </a:lnTo>
                  <a:lnTo>
                    <a:pt x="341" y="52"/>
                  </a:lnTo>
                  <a:lnTo>
                    <a:pt x="359" y="50"/>
                  </a:lnTo>
                  <a:lnTo>
                    <a:pt x="376" y="37"/>
                  </a:lnTo>
                  <a:lnTo>
                    <a:pt x="393" y="24"/>
                  </a:lnTo>
                  <a:lnTo>
                    <a:pt x="355" y="15"/>
                  </a:lnTo>
                  <a:lnTo>
                    <a:pt x="339" y="13"/>
                  </a:lnTo>
                  <a:lnTo>
                    <a:pt x="320" y="11"/>
                  </a:lnTo>
                  <a:lnTo>
                    <a:pt x="298" y="0"/>
                  </a:lnTo>
                  <a:lnTo>
                    <a:pt x="278" y="22"/>
                  </a:lnTo>
                  <a:lnTo>
                    <a:pt x="279" y="33"/>
                  </a:lnTo>
                  <a:lnTo>
                    <a:pt x="268" y="37"/>
                  </a:lnTo>
                  <a:lnTo>
                    <a:pt x="250" y="48"/>
                  </a:lnTo>
                  <a:lnTo>
                    <a:pt x="233" y="54"/>
                  </a:lnTo>
                  <a:lnTo>
                    <a:pt x="233" y="70"/>
                  </a:lnTo>
                  <a:lnTo>
                    <a:pt x="231" y="83"/>
                  </a:lnTo>
                  <a:lnTo>
                    <a:pt x="216" y="104"/>
                  </a:lnTo>
                  <a:lnTo>
                    <a:pt x="192" y="130"/>
                  </a:lnTo>
                  <a:lnTo>
                    <a:pt x="183" y="143"/>
                  </a:lnTo>
                  <a:lnTo>
                    <a:pt x="188" y="152"/>
                  </a:lnTo>
                  <a:lnTo>
                    <a:pt x="213" y="150"/>
                  </a:lnTo>
                  <a:lnTo>
                    <a:pt x="214" y="155"/>
                  </a:lnTo>
                  <a:lnTo>
                    <a:pt x="214" y="165"/>
                  </a:lnTo>
                  <a:lnTo>
                    <a:pt x="181" y="207"/>
                  </a:lnTo>
                  <a:lnTo>
                    <a:pt x="169" y="230"/>
                  </a:lnTo>
                  <a:lnTo>
                    <a:pt x="161" y="250"/>
                  </a:lnTo>
                  <a:lnTo>
                    <a:pt x="169" y="259"/>
                  </a:lnTo>
                  <a:lnTo>
                    <a:pt x="185" y="241"/>
                  </a:lnTo>
                  <a:lnTo>
                    <a:pt x="200" y="220"/>
                  </a:lnTo>
                  <a:lnTo>
                    <a:pt x="211" y="226"/>
                  </a:lnTo>
                  <a:lnTo>
                    <a:pt x="213" y="257"/>
                  </a:lnTo>
                  <a:lnTo>
                    <a:pt x="214" y="278"/>
                  </a:lnTo>
                  <a:lnTo>
                    <a:pt x="194" y="289"/>
                  </a:lnTo>
                  <a:lnTo>
                    <a:pt x="181" y="302"/>
                  </a:lnTo>
                  <a:lnTo>
                    <a:pt x="176" y="313"/>
                  </a:lnTo>
                  <a:lnTo>
                    <a:pt x="203" y="335"/>
                  </a:lnTo>
                  <a:lnTo>
                    <a:pt x="226" y="331"/>
                  </a:lnTo>
                  <a:lnTo>
                    <a:pt x="231" y="344"/>
                  </a:lnTo>
                  <a:lnTo>
                    <a:pt x="255" y="329"/>
                  </a:lnTo>
                  <a:lnTo>
                    <a:pt x="253" y="341"/>
                  </a:lnTo>
                  <a:lnTo>
                    <a:pt x="233" y="365"/>
                  </a:lnTo>
                  <a:lnTo>
                    <a:pt x="242" y="391"/>
                  </a:lnTo>
                  <a:lnTo>
                    <a:pt x="244" y="405"/>
                  </a:lnTo>
                  <a:lnTo>
                    <a:pt x="265" y="407"/>
                  </a:lnTo>
                  <a:lnTo>
                    <a:pt x="266" y="420"/>
                  </a:lnTo>
                  <a:lnTo>
                    <a:pt x="242" y="449"/>
                  </a:lnTo>
                  <a:lnTo>
                    <a:pt x="233" y="445"/>
                  </a:lnTo>
                  <a:lnTo>
                    <a:pt x="224" y="454"/>
                  </a:lnTo>
                  <a:lnTo>
                    <a:pt x="222" y="469"/>
                  </a:lnTo>
                  <a:lnTo>
                    <a:pt x="198" y="456"/>
                  </a:lnTo>
                  <a:lnTo>
                    <a:pt x="135" y="478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72" name="Freeform 74"/>
            <p:cNvSpPr>
              <a:spLocks/>
            </p:cNvSpPr>
            <p:nvPr/>
          </p:nvSpPr>
          <p:spPr bwMode="auto">
            <a:xfrm>
              <a:off x="1257" y="2146"/>
              <a:ext cx="38" cy="27"/>
            </a:xfrm>
            <a:custGeom>
              <a:avLst/>
              <a:gdLst>
                <a:gd name="T0" fmla="*/ 20 w 38"/>
                <a:gd name="T1" fmla="*/ 0 h 27"/>
                <a:gd name="T2" fmla="*/ 36 w 38"/>
                <a:gd name="T3" fmla="*/ 2 h 27"/>
                <a:gd name="T4" fmla="*/ 38 w 38"/>
                <a:gd name="T5" fmla="*/ 12 h 27"/>
                <a:gd name="T6" fmla="*/ 21 w 38"/>
                <a:gd name="T7" fmla="*/ 23 h 27"/>
                <a:gd name="T8" fmla="*/ 2 w 38"/>
                <a:gd name="T9" fmla="*/ 27 h 27"/>
                <a:gd name="T10" fmla="*/ 0 w 38"/>
                <a:gd name="T11" fmla="*/ 15 h 27"/>
                <a:gd name="T12" fmla="*/ 20 w 38"/>
                <a:gd name="T13" fmla="*/ 0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"/>
                <a:gd name="T22" fmla="*/ 0 h 27"/>
                <a:gd name="T23" fmla="*/ 38 w 38"/>
                <a:gd name="T24" fmla="*/ 27 h 2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" h="27">
                  <a:moveTo>
                    <a:pt x="20" y="0"/>
                  </a:moveTo>
                  <a:lnTo>
                    <a:pt x="36" y="2"/>
                  </a:lnTo>
                  <a:lnTo>
                    <a:pt x="38" y="12"/>
                  </a:lnTo>
                  <a:lnTo>
                    <a:pt x="21" y="23"/>
                  </a:lnTo>
                  <a:lnTo>
                    <a:pt x="2" y="27"/>
                  </a:lnTo>
                  <a:lnTo>
                    <a:pt x="0" y="15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73" name="Freeform 75"/>
            <p:cNvSpPr>
              <a:spLocks/>
            </p:cNvSpPr>
            <p:nvPr/>
          </p:nvSpPr>
          <p:spPr bwMode="auto">
            <a:xfrm>
              <a:off x="1231" y="1971"/>
              <a:ext cx="37" cy="27"/>
            </a:xfrm>
            <a:custGeom>
              <a:avLst/>
              <a:gdLst>
                <a:gd name="T0" fmla="*/ 31 w 37"/>
                <a:gd name="T1" fmla="*/ 0 h 27"/>
                <a:gd name="T2" fmla="*/ 37 w 37"/>
                <a:gd name="T3" fmla="*/ 13 h 27"/>
                <a:gd name="T4" fmla="*/ 19 w 37"/>
                <a:gd name="T5" fmla="*/ 23 h 27"/>
                <a:gd name="T6" fmla="*/ 4 w 37"/>
                <a:gd name="T7" fmla="*/ 27 h 27"/>
                <a:gd name="T8" fmla="*/ 0 w 37"/>
                <a:gd name="T9" fmla="*/ 14 h 27"/>
                <a:gd name="T10" fmla="*/ 7 w 37"/>
                <a:gd name="T11" fmla="*/ 5 h 27"/>
                <a:gd name="T12" fmla="*/ 31 w 37"/>
                <a:gd name="T13" fmla="*/ 0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27"/>
                <a:gd name="T23" fmla="*/ 37 w 37"/>
                <a:gd name="T24" fmla="*/ 27 h 2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27">
                  <a:moveTo>
                    <a:pt x="31" y="0"/>
                  </a:moveTo>
                  <a:lnTo>
                    <a:pt x="37" y="13"/>
                  </a:lnTo>
                  <a:lnTo>
                    <a:pt x="19" y="23"/>
                  </a:lnTo>
                  <a:lnTo>
                    <a:pt x="4" y="27"/>
                  </a:lnTo>
                  <a:lnTo>
                    <a:pt x="0" y="14"/>
                  </a:lnTo>
                  <a:lnTo>
                    <a:pt x="7" y="5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74" name="Freeform 76"/>
            <p:cNvSpPr>
              <a:spLocks/>
            </p:cNvSpPr>
            <p:nvPr/>
          </p:nvSpPr>
          <p:spPr bwMode="auto">
            <a:xfrm>
              <a:off x="1286" y="1835"/>
              <a:ext cx="20" cy="52"/>
            </a:xfrm>
            <a:custGeom>
              <a:avLst/>
              <a:gdLst>
                <a:gd name="T0" fmla="*/ 9 w 20"/>
                <a:gd name="T1" fmla="*/ 52 h 52"/>
                <a:gd name="T2" fmla="*/ 20 w 20"/>
                <a:gd name="T3" fmla="*/ 39 h 52"/>
                <a:gd name="T4" fmla="*/ 16 w 20"/>
                <a:gd name="T5" fmla="*/ 22 h 52"/>
                <a:gd name="T6" fmla="*/ 13 w 20"/>
                <a:gd name="T7" fmla="*/ 13 h 52"/>
                <a:gd name="T8" fmla="*/ 9 w 20"/>
                <a:gd name="T9" fmla="*/ 0 h 52"/>
                <a:gd name="T10" fmla="*/ 0 w 20"/>
                <a:gd name="T11" fmla="*/ 6 h 52"/>
                <a:gd name="T12" fmla="*/ 5 w 20"/>
                <a:gd name="T13" fmla="*/ 24 h 52"/>
                <a:gd name="T14" fmla="*/ 9 w 20"/>
                <a:gd name="T15" fmla="*/ 52 h 5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52"/>
                <a:gd name="T26" fmla="*/ 20 w 20"/>
                <a:gd name="T27" fmla="*/ 52 h 5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52">
                  <a:moveTo>
                    <a:pt x="9" y="52"/>
                  </a:moveTo>
                  <a:lnTo>
                    <a:pt x="20" y="39"/>
                  </a:lnTo>
                  <a:lnTo>
                    <a:pt x="16" y="22"/>
                  </a:lnTo>
                  <a:lnTo>
                    <a:pt x="13" y="13"/>
                  </a:lnTo>
                  <a:lnTo>
                    <a:pt x="9" y="0"/>
                  </a:lnTo>
                  <a:lnTo>
                    <a:pt x="0" y="6"/>
                  </a:lnTo>
                  <a:lnTo>
                    <a:pt x="5" y="24"/>
                  </a:lnTo>
                  <a:lnTo>
                    <a:pt x="9" y="52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75" name="Freeform 77"/>
            <p:cNvSpPr>
              <a:spLocks/>
            </p:cNvSpPr>
            <p:nvPr/>
          </p:nvSpPr>
          <p:spPr bwMode="auto">
            <a:xfrm>
              <a:off x="1138" y="2038"/>
              <a:ext cx="97" cy="99"/>
            </a:xfrm>
            <a:custGeom>
              <a:avLst/>
              <a:gdLst>
                <a:gd name="T0" fmla="*/ 34 w 97"/>
                <a:gd name="T1" fmla="*/ 0 h 99"/>
                <a:gd name="T2" fmla="*/ 56 w 97"/>
                <a:gd name="T3" fmla="*/ 0 h 99"/>
                <a:gd name="T4" fmla="*/ 73 w 97"/>
                <a:gd name="T5" fmla="*/ 4 h 99"/>
                <a:gd name="T6" fmla="*/ 84 w 97"/>
                <a:gd name="T7" fmla="*/ 20 h 99"/>
                <a:gd name="T8" fmla="*/ 95 w 97"/>
                <a:gd name="T9" fmla="*/ 46 h 99"/>
                <a:gd name="T10" fmla="*/ 97 w 97"/>
                <a:gd name="T11" fmla="*/ 68 h 99"/>
                <a:gd name="T12" fmla="*/ 86 w 97"/>
                <a:gd name="T13" fmla="*/ 79 h 99"/>
                <a:gd name="T14" fmla="*/ 82 w 97"/>
                <a:gd name="T15" fmla="*/ 94 h 99"/>
                <a:gd name="T16" fmla="*/ 71 w 97"/>
                <a:gd name="T17" fmla="*/ 99 h 99"/>
                <a:gd name="T18" fmla="*/ 60 w 97"/>
                <a:gd name="T19" fmla="*/ 86 h 99"/>
                <a:gd name="T20" fmla="*/ 50 w 97"/>
                <a:gd name="T21" fmla="*/ 62 h 99"/>
                <a:gd name="T22" fmla="*/ 43 w 97"/>
                <a:gd name="T23" fmla="*/ 53 h 99"/>
                <a:gd name="T24" fmla="*/ 24 w 97"/>
                <a:gd name="T25" fmla="*/ 51 h 99"/>
                <a:gd name="T26" fmla="*/ 0 w 97"/>
                <a:gd name="T27" fmla="*/ 26 h 99"/>
                <a:gd name="T28" fmla="*/ 34 w 97"/>
                <a:gd name="T29" fmla="*/ 0 h 9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7"/>
                <a:gd name="T46" fmla="*/ 0 h 99"/>
                <a:gd name="T47" fmla="*/ 97 w 97"/>
                <a:gd name="T48" fmla="*/ 99 h 9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7" h="99">
                  <a:moveTo>
                    <a:pt x="34" y="0"/>
                  </a:moveTo>
                  <a:lnTo>
                    <a:pt x="56" y="0"/>
                  </a:lnTo>
                  <a:lnTo>
                    <a:pt x="73" y="4"/>
                  </a:lnTo>
                  <a:lnTo>
                    <a:pt x="84" y="20"/>
                  </a:lnTo>
                  <a:lnTo>
                    <a:pt x="95" y="46"/>
                  </a:lnTo>
                  <a:lnTo>
                    <a:pt x="97" y="68"/>
                  </a:lnTo>
                  <a:lnTo>
                    <a:pt x="86" y="79"/>
                  </a:lnTo>
                  <a:lnTo>
                    <a:pt x="82" y="94"/>
                  </a:lnTo>
                  <a:lnTo>
                    <a:pt x="71" y="99"/>
                  </a:lnTo>
                  <a:lnTo>
                    <a:pt x="60" y="86"/>
                  </a:lnTo>
                  <a:lnTo>
                    <a:pt x="50" y="62"/>
                  </a:lnTo>
                  <a:lnTo>
                    <a:pt x="43" y="53"/>
                  </a:lnTo>
                  <a:lnTo>
                    <a:pt x="24" y="51"/>
                  </a:lnTo>
                  <a:lnTo>
                    <a:pt x="0" y="26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76" name="Freeform 78"/>
            <p:cNvSpPr>
              <a:spLocks/>
            </p:cNvSpPr>
            <p:nvPr/>
          </p:nvSpPr>
          <p:spPr bwMode="auto">
            <a:xfrm>
              <a:off x="1282" y="1776"/>
              <a:ext cx="50" cy="37"/>
            </a:xfrm>
            <a:custGeom>
              <a:avLst/>
              <a:gdLst>
                <a:gd name="T0" fmla="*/ 44 w 50"/>
                <a:gd name="T1" fmla="*/ 0 h 37"/>
                <a:gd name="T2" fmla="*/ 50 w 50"/>
                <a:gd name="T3" fmla="*/ 9 h 37"/>
                <a:gd name="T4" fmla="*/ 31 w 50"/>
                <a:gd name="T5" fmla="*/ 20 h 37"/>
                <a:gd name="T6" fmla="*/ 13 w 50"/>
                <a:gd name="T7" fmla="*/ 37 h 37"/>
                <a:gd name="T8" fmla="*/ 2 w 50"/>
                <a:gd name="T9" fmla="*/ 33 h 37"/>
                <a:gd name="T10" fmla="*/ 0 w 50"/>
                <a:gd name="T11" fmla="*/ 13 h 37"/>
                <a:gd name="T12" fmla="*/ 0 w 50"/>
                <a:gd name="T13" fmla="*/ 6 h 37"/>
                <a:gd name="T14" fmla="*/ 30 w 50"/>
                <a:gd name="T15" fmla="*/ 0 h 37"/>
                <a:gd name="T16" fmla="*/ 44 w 50"/>
                <a:gd name="T17" fmla="*/ 0 h 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0"/>
                <a:gd name="T28" fmla="*/ 0 h 37"/>
                <a:gd name="T29" fmla="*/ 50 w 50"/>
                <a:gd name="T30" fmla="*/ 37 h 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0" h="37">
                  <a:moveTo>
                    <a:pt x="44" y="0"/>
                  </a:moveTo>
                  <a:lnTo>
                    <a:pt x="50" y="9"/>
                  </a:lnTo>
                  <a:lnTo>
                    <a:pt x="31" y="20"/>
                  </a:lnTo>
                  <a:lnTo>
                    <a:pt x="13" y="37"/>
                  </a:lnTo>
                  <a:lnTo>
                    <a:pt x="2" y="33"/>
                  </a:lnTo>
                  <a:lnTo>
                    <a:pt x="0" y="13"/>
                  </a:lnTo>
                  <a:lnTo>
                    <a:pt x="0" y="6"/>
                  </a:lnTo>
                  <a:lnTo>
                    <a:pt x="30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</p:grpSp>
      <p:sp>
        <p:nvSpPr>
          <p:cNvPr id="58" name="Freeform 106"/>
          <p:cNvSpPr>
            <a:spLocks/>
          </p:cNvSpPr>
          <p:nvPr/>
        </p:nvSpPr>
        <p:spPr bwMode="auto">
          <a:xfrm>
            <a:off x="3136040" y="3760163"/>
            <a:ext cx="531589" cy="248193"/>
          </a:xfrm>
          <a:custGeom>
            <a:avLst/>
            <a:gdLst>
              <a:gd name="T0" fmla="*/ 2147483647 w 352"/>
              <a:gd name="T1" fmla="*/ 2147483647 h 157"/>
              <a:gd name="T2" fmla="*/ 2147483647 w 352"/>
              <a:gd name="T3" fmla="*/ 0 h 157"/>
              <a:gd name="T4" fmla="*/ 2147483647 w 352"/>
              <a:gd name="T5" fmla="*/ 0 h 157"/>
              <a:gd name="T6" fmla="*/ 2147483647 w 352"/>
              <a:gd name="T7" fmla="*/ 2147483647 h 157"/>
              <a:gd name="T8" fmla="*/ 2147483647 w 352"/>
              <a:gd name="T9" fmla="*/ 2147483647 h 157"/>
              <a:gd name="T10" fmla="*/ 2147483647 w 352"/>
              <a:gd name="T11" fmla="*/ 2147483647 h 157"/>
              <a:gd name="T12" fmla="*/ 2147483647 w 352"/>
              <a:gd name="T13" fmla="*/ 2147483647 h 157"/>
              <a:gd name="T14" fmla="*/ 2147483647 w 352"/>
              <a:gd name="T15" fmla="*/ 2147483647 h 157"/>
              <a:gd name="T16" fmla="*/ 2147483647 w 352"/>
              <a:gd name="T17" fmla="*/ 2147483647 h 157"/>
              <a:gd name="T18" fmla="*/ 2147483647 w 352"/>
              <a:gd name="T19" fmla="*/ 2147483647 h 157"/>
              <a:gd name="T20" fmla="*/ 2147483647 w 352"/>
              <a:gd name="T21" fmla="*/ 2147483647 h 157"/>
              <a:gd name="T22" fmla="*/ 2147483647 w 352"/>
              <a:gd name="T23" fmla="*/ 2147483647 h 157"/>
              <a:gd name="T24" fmla="*/ 2147483647 w 352"/>
              <a:gd name="T25" fmla="*/ 2147483647 h 157"/>
              <a:gd name="T26" fmla="*/ 2147483647 w 352"/>
              <a:gd name="T27" fmla="*/ 2147483647 h 157"/>
              <a:gd name="T28" fmla="*/ 2147483647 w 352"/>
              <a:gd name="T29" fmla="*/ 2147483647 h 157"/>
              <a:gd name="T30" fmla="*/ 2147483647 w 352"/>
              <a:gd name="T31" fmla="*/ 2147483647 h 157"/>
              <a:gd name="T32" fmla="*/ 2147483647 w 352"/>
              <a:gd name="T33" fmla="*/ 2147483647 h 157"/>
              <a:gd name="T34" fmla="*/ 2147483647 w 352"/>
              <a:gd name="T35" fmla="*/ 2147483647 h 157"/>
              <a:gd name="T36" fmla="*/ 2147483647 w 352"/>
              <a:gd name="T37" fmla="*/ 2147483647 h 157"/>
              <a:gd name="T38" fmla="*/ 2147483647 w 352"/>
              <a:gd name="T39" fmla="*/ 2147483647 h 157"/>
              <a:gd name="T40" fmla="*/ 2147483647 w 352"/>
              <a:gd name="T41" fmla="*/ 2147483647 h 157"/>
              <a:gd name="T42" fmla="*/ 2147483647 w 352"/>
              <a:gd name="T43" fmla="*/ 2147483647 h 157"/>
              <a:gd name="T44" fmla="*/ 2147483647 w 352"/>
              <a:gd name="T45" fmla="*/ 2147483647 h 157"/>
              <a:gd name="T46" fmla="*/ 2147483647 w 352"/>
              <a:gd name="T47" fmla="*/ 2147483647 h 157"/>
              <a:gd name="T48" fmla="*/ 2147483647 w 352"/>
              <a:gd name="T49" fmla="*/ 2147483647 h 157"/>
              <a:gd name="T50" fmla="*/ 2147483647 w 352"/>
              <a:gd name="T51" fmla="*/ 2147483647 h 157"/>
              <a:gd name="T52" fmla="*/ 2147483647 w 352"/>
              <a:gd name="T53" fmla="*/ 2147483647 h 157"/>
              <a:gd name="T54" fmla="*/ 2147483647 w 352"/>
              <a:gd name="T55" fmla="*/ 2147483647 h 157"/>
              <a:gd name="T56" fmla="*/ 2147483647 w 352"/>
              <a:gd name="T57" fmla="*/ 2147483647 h 157"/>
              <a:gd name="T58" fmla="*/ 2147483647 w 352"/>
              <a:gd name="T59" fmla="*/ 2147483647 h 157"/>
              <a:gd name="T60" fmla="*/ 2147483647 w 352"/>
              <a:gd name="T61" fmla="*/ 2147483647 h 157"/>
              <a:gd name="T62" fmla="*/ 2147483647 w 352"/>
              <a:gd name="T63" fmla="*/ 2147483647 h 157"/>
              <a:gd name="T64" fmla="*/ 2147483647 w 352"/>
              <a:gd name="T65" fmla="*/ 2147483647 h 157"/>
              <a:gd name="T66" fmla="*/ 2147483647 w 352"/>
              <a:gd name="T67" fmla="*/ 2147483647 h 157"/>
              <a:gd name="T68" fmla="*/ 2147483647 w 352"/>
              <a:gd name="T69" fmla="*/ 2147483647 h 157"/>
              <a:gd name="T70" fmla="*/ 2147483647 w 352"/>
              <a:gd name="T71" fmla="*/ 2147483647 h 157"/>
              <a:gd name="T72" fmla="*/ 2147483647 w 352"/>
              <a:gd name="T73" fmla="*/ 2147483647 h 157"/>
              <a:gd name="T74" fmla="*/ 0 w 352"/>
              <a:gd name="T75" fmla="*/ 2147483647 h 157"/>
              <a:gd name="T76" fmla="*/ 0 w 352"/>
              <a:gd name="T77" fmla="*/ 2147483647 h 157"/>
              <a:gd name="T78" fmla="*/ 2147483647 w 352"/>
              <a:gd name="T79" fmla="*/ 2147483647 h 157"/>
              <a:gd name="T80" fmla="*/ 2147483647 w 352"/>
              <a:gd name="T81" fmla="*/ 2147483647 h 157"/>
              <a:gd name="T82" fmla="*/ 2147483647 w 352"/>
              <a:gd name="T83" fmla="*/ 2147483647 h 157"/>
              <a:gd name="T84" fmla="*/ 2147483647 w 352"/>
              <a:gd name="T85" fmla="*/ 2147483647 h 157"/>
              <a:gd name="T86" fmla="*/ 2147483647 w 352"/>
              <a:gd name="T87" fmla="*/ 2147483647 h 15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2"/>
              <a:gd name="T133" fmla="*/ 0 h 157"/>
              <a:gd name="T134" fmla="*/ 352 w 352"/>
              <a:gd name="T135" fmla="*/ 157 h 157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2" h="157">
                <a:moveTo>
                  <a:pt x="120" y="8"/>
                </a:moveTo>
                <a:lnTo>
                  <a:pt x="132" y="0"/>
                </a:lnTo>
                <a:lnTo>
                  <a:pt x="146" y="0"/>
                </a:lnTo>
                <a:lnTo>
                  <a:pt x="152" y="11"/>
                </a:lnTo>
                <a:lnTo>
                  <a:pt x="165" y="2"/>
                </a:lnTo>
                <a:lnTo>
                  <a:pt x="178" y="6"/>
                </a:lnTo>
                <a:lnTo>
                  <a:pt x="198" y="27"/>
                </a:lnTo>
                <a:lnTo>
                  <a:pt x="220" y="36"/>
                </a:lnTo>
                <a:lnTo>
                  <a:pt x="228" y="38"/>
                </a:lnTo>
                <a:lnTo>
                  <a:pt x="239" y="29"/>
                </a:lnTo>
                <a:lnTo>
                  <a:pt x="250" y="25"/>
                </a:lnTo>
                <a:lnTo>
                  <a:pt x="280" y="33"/>
                </a:lnTo>
                <a:lnTo>
                  <a:pt x="320" y="42"/>
                </a:lnTo>
                <a:lnTo>
                  <a:pt x="352" y="51"/>
                </a:lnTo>
                <a:lnTo>
                  <a:pt x="341" y="64"/>
                </a:lnTo>
                <a:lnTo>
                  <a:pt x="320" y="85"/>
                </a:lnTo>
                <a:lnTo>
                  <a:pt x="315" y="92"/>
                </a:lnTo>
                <a:lnTo>
                  <a:pt x="317" y="107"/>
                </a:lnTo>
                <a:lnTo>
                  <a:pt x="302" y="107"/>
                </a:lnTo>
                <a:lnTo>
                  <a:pt x="287" y="96"/>
                </a:lnTo>
                <a:lnTo>
                  <a:pt x="272" y="92"/>
                </a:lnTo>
                <a:lnTo>
                  <a:pt x="233" y="101"/>
                </a:lnTo>
                <a:lnTo>
                  <a:pt x="223" y="110"/>
                </a:lnTo>
                <a:lnTo>
                  <a:pt x="212" y="124"/>
                </a:lnTo>
                <a:lnTo>
                  <a:pt x="191" y="137"/>
                </a:lnTo>
                <a:lnTo>
                  <a:pt x="179" y="137"/>
                </a:lnTo>
                <a:lnTo>
                  <a:pt x="166" y="126"/>
                </a:lnTo>
                <a:lnTo>
                  <a:pt x="155" y="126"/>
                </a:lnTo>
                <a:lnTo>
                  <a:pt x="115" y="145"/>
                </a:lnTo>
                <a:lnTo>
                  <a:pt x="96" y="155"/>
                </a:lnTo>
                <a:lnTo>
                  <a:pt x="82" y="157"/>
                </a:lnTo>
                <a:lnTo>
                  <a:pt x="50" y="155"/>
                </a:lnTo>
                <a:lnTo>
                  <a:pt x="37" y="155"/>
                </a:lnTo>
                <a:lnTo>
                  <a:pt x="27" y="140"/>
                </a:lnTo>
                <a:lnTo>
                  <a:pt x="22" y="135"/>
                </a:lnTo>
                <a:lnTo>
                  <a:pt x="11" y="129"/>
                </a:lnTo>
                <a:lnTo>
                  <a:pt x="5" y="122"/>
                </a:lnTo>
                <a:lnTo>
                  <a:pt x="0" y="107"/>
                </a:lnTo>
                <a:lnTo>
                  <a:pt x="0" y="90"/>
                </a:lnTo>
                <a:lnTo>
                  <a:pt x="34" y="76"/>
                </a:lnTo>
                <a:lnTo>
                  <a:pt x="72" y="76"/>
                </a:lnTo>
                <a:lnTo>
                  <a:pt x="95" y="55"/>
                </a:lnTo>
                <a:lnTo>
                  <a:pt x="98" y="19"/>
                </a:lnTo>
                <a:lnTo>
                  <a:pt x="120" y="8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9" name="Freeform 107"/>
          <p:cNvSpPr>
            <a:spLocks/>
          </p:cNvSpPr>
          <p:nvPr/>
        </p:nvSpPr>
        <p:spPr bwMode="auto">
          <a:xfrm>
            <a:off x="3004652" y="4364045"/>
            <a:ext cx="359427" cy="349366"/>
          </a:xfrm>
          <a:custGeom>
            <a:avLst/>
            <a:gdLst>
              <a:gd name="T0" fmla="*/ 2147483647 w 238"/>
              <a:gd name="T1" fmla="*/ 2147483647 h 221"/>
              <a:gd name="T2" fmla="*/ 2147483647 w 238"/>
              <a:gd name="T3" fmla="*/ 2147483647 h 221"/>
              <a:gd name="T4" fmla="*/ 2147483647 w 238"/>
              <a:gd name="T5" fmla="*/ 2147483647 h 221"/>
              <a:gd name="T6" fmla="*/ 2147483647 w 238"/>
              <a:gd name="T7" fmla="*/ 2147483647 h 221"/>
              <a:gd name="T8" fmla="*/ 2147483647 w 238"/>
              <a:gd name="T9" fmla="*/ 2147483647 h 221"/>
              <a:gd name="T10" fmla="*/ 2147483647 w 238"/>
              <a:gd name="T11" fmla="*/ 2147483647 h 221"/>
              <a:gd name="T12" fmla="*/ 2147483647 w 238"/>
              <a:gd name="T13" fmla="*/ 2147483647 h 221"/>
              <a:gd name="T14" fmla="*/ 2147483647 w 238"/>
              <a:gd name="T15" fmla="*/ 2147483647 h 221"/>
              <a:gd name="T16" fmla="*/ 2147483647 w 238"/>
              <a:gd name="T17" fmla="*/ 2147483647 h 221"/>
              <a:gd name="T18" fmla="*/ 2147483647 w 238"/>
              <a:gd name="T19" fmla="*/ 0 h 221"/>
              <a:gd name="T20" fmla="*/ 2147483647 w 238"/>
              <a:gd name="T21" fmla="*/ 2147483647 h 221"/>
              <a:gd name="T22" fmla="*/ 2147483647 w 238"/>
              <a:gd name="T23" fmla="*/ 2147483647 h 221"/>
              <a:gd name="T24" fmla="*/ 0 w 238"/>
              <a:gd name="T25" fmla="*/ 2147483647 h 221"/>
              <a:gd name="T26" fmla="*/ 0 w 238"/>
              <a:gd name="T27" fmla="*/ 2147483647 h 221"/>
              <a:gd name="T28" fmla="*/ 2147483647 w 238"/>
              <a:gd name="T29" fmla="*/ 2147483647 h 221"/>
              <a:gd name="T30" fmla="*/ 2147483647 w 238"/>
              <a:gd name="T31" fmla="*/ 2147483647 h 221"/>
              <a:gd name="T32" fmla="*/ 2147483647 w 238"/>
              <a:gd name="T33" fmla="*/ 2147483647 h 221"/>
              <a:gd name="T34" fmla="*/ 2147483647 w 238"/>
              <a:gd name="T35" fmla="*/ 2147483647 h 221"/>
              <a:gd name="T36" fmla="*/ 2147483647 w 238"/>
              <a:gd name="T37" fmla="*/ 2147483647 h 221"/>
              <a:gd name="T38" fmla="*/ 2147483647 w 238"/>
              <a:gd name="T39" fmla="*/ 2147483647 h 221"/>
              <a:gd name="T40" fmla="*/ 2147483647 w 238"/>
              <a:gd name="T41" fmla="*/ 2147483647 h 221"/>
              <a:gd name="T42" fmla="*/ 2147483647 w 238"/>
              <a:gd name="T43" fmla="*/ 2147483647 h 221"/>
              <a:gd name="T44" fmla="*/ 2147483647 w 238"/>
              <a:gd name="T45" fmla="*/ 2147483647 h 221"/>
              <a:gd name="T46" fmla="*/ 2147483647 w 238"/>
              <a:gd name="T47" fmla="*/ 2147483647 h 221"/>
              <a:gd name="T48" fmla="*/ 2147483647 w 238"/>
              <a:gd name="T49" fmla="*/ 2147483647 h 221"/>
              <a:gd name="T50" fmla="*/ 2147483647 w 238"/>
              <a:gd name="T51" fmla="*/ 2147483647 h 221"/>
              <a:gd name="T52" fmla="*/ 2147483647 w 238"/>
              <a:gd name="T53" fmla="*/ 2147483647 h 221"/>
              <a:gd name="T54" fmla="*/ 2147483647 w 238"/>
              <a:gd name="T55" fmla="*/ 2147483647 h 221"/>
              <a:gd name="T56" fmla="*/ 2147483647 w 238"/>
              <a:gd name="T57" fmla="*/ 2147483647 h 221"/>
              <a:gd name="T58" fmla="*/ 2147483647 w 238"/>
              <a:gd name="T59" fmla="*/ 2147483647 h 221"/>
              <a:gd name="T60" fmla="*/ 2147483647 w 238"/>
              <a:gd name="T61" fmla="*/ 2147483647 h 221"/>
              <a:gd name="T62" fmla="*/ 2147483647 w 238"/>
              <a:gd name="T63" fmla="*/ 2147483647 h 221"/>
              <a:gd name="T64" fmla="*/ 2147483647 w 238"/>
              <a:gd name="T65" fmla="*/ 2147483647 h 221"/>
              <a:gd name="T66" fmla="*/ 2147483647 w 238"/>
              <a:gd name="T67" fmla="*/ 2147483647 h 22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38"/>
              <a:gd name="T103" fmla="*/ 0 h 221"/>
              <a:gd name="T104" fmla="*/ 238 w 238"/>
              <a:gd name="T105" fmla="*/ 221 h 22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38" h="221">
                <a:moveTo>
                  <a:pt x="220" y="31"/>
                </a:moveTo>
                <a:lnTo>
                  <a:pt x="208" y="31"/>
                </a:lnTo>
                <a:lnTo>
                  <a:pt x="195" y="22"/>
                </a:lnTo>
                <a:lnTo>
                  <a:pt x="178" y="13"/>
                </a:lnTo>
                <a:lnTo>
                  <a:pt x="157" y="24"/>
                </a:lnTo>
                <a:lnTo>
                  <a:pt x="138" y="19"/>
                </a:lnTo>
                <a:lnTo>
                  <a:pt x="121" y="27"/>
                </a:lnTo>
                <a:lnTo>
                  <a:pt x="120" y="19"/>
                </a:lnTo>
                <a:lnTo>
                  <a:pt x="105" y="18"/>
                </a:lnTo>
                <a:lnTo>
                  <a:pt x="87" y="0"/>
                </a:lnTo>
                <a:lnTo>
                  <a:pt x="60" y="30"/>
                </a:lnTo>
                <a:lnTo>
                  <a:pt x="17" y="16"/>
                </a:lnTo>
                <a:lnTo>
                  <a:pt x="0" y="21"/>
                </a:lnTo>
                <a:lnTo>
                  <a:pt x="0" y="31"/>
                </a:lnTo>
                <a:lnTo>
                  <a:pt x="46" y="78"/>
                </a:lnTo>
                <a:lnTo>
                  <a:pt x="57" y="109"/>
                </a:lnTo>
                <a:lnTo>
                  <a:pt x="81" y="127"/>
                </a:lnTo>
                <a:lnTo>
                  <a:pt x="91" y="124"/>
                </a:lnTo>
                <a:lnTo>
                  <a:pt x="150" y="187"/>
                </a:lnTo>
                <a:lnTo>
                  <a:pt x="154" y="201"/>
                </a:lnTo>
                <a:lnTo>
                  <a:pt x="150" y="211"/>
                </a:lnTo>
                <a:lnTo>
                  <a:pt x="154" y="221"/>
                </a:lnTo>
                <a:lnTo>
                  <a:pt x="171" y="212"/>
                </a:lnTo>
                <a:lnTo>
                  <a:pt x="184" y="207"/>
                </a:lnTo>
                <a:lnTo>
                  <a:pt x="184" y="186"/>
                </a:lnTo>
                <a:lnTo>
                  <a:pt x="201" y="172"/>
                </a:lnTo>
                <a:lnTo>
                  <a:pt x="208" y="157"/>
                </a:lnTo>
                <a:lnTo>
                  <a:pt x="226" y="150"/>
                </a:lnTo>
                <a:lnTo>
                  <a:pt x="229" y="132"/>
                </a:lnTo>
                <a:lnTo>
                  <a:pt x="226" y="115"/>
                </a:lnTo>
                <a:lnTo>
                  <a:pt x="235" y="108"/>
                </a:lnTo>
                <a:lnTo>
                  <a:pt x="219" y="85"/>
                </a:lnTo>
                <a:lnTo>
                  <a:pt x="238" y="52"/>
                </a:lnTo>
                <a:lnTo>
                  <a:pt x="220" y="31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0" name="Freeform 108"/>
          <p:cNvSpPr>
            <a:spLocks/>
          </p:cNvSpPr>
          <p:nvPr/>
        </p:nvSpPr>
        <p:spPr bwMode="auto">
          <a:xfrm>
            <a:off x="3495466" y="4817746"/>
            <a:ext cx="244651" cy="173892"/>
          </a:xfrm>
          <a:custGeom>
            <a:avLst/>
            <a:gdLst>
              <a:gd name="T0" fmla="*/ 2147483647 w 162"/>
              <a:gd name="T1" fmla="*/ 2147483647 h 110"/>
              <a:gd name="T2" fmla="*/ 2147483647 w 162"/>
              <a:gd name="T3" fmla="*/ 2147483647 h 110"/>
              <a:gd name="T4" fmla="*/ 2147483647 w 162"/>
              <a:gd name="T5" fmla="*/ 2147483647 h 110"/>
              <a:gd name="T6" fmla="*/ 2147483647 w 162"/>
              <a:gd name="T7" fmla="*/ 2147483647 h 110"/>
              <a:gd name="T8" fmla="*/ 2147483647 w 162"/>
              <a:gd name="T9" fmla="*/ 2147483647 h 110"/>
              <a:gd name="T10" fmla="*/ 2147483647 w 162"/>
              <a:gd name="T11" fmla="*/ 0 h 110"/>
              <a:gd name="T12" fmla="*/ 2147483647 w 162"/>
              <a:gd name="T13" fmla="*/ 2147483647 h 110"/>
              <a:gd name="T14" fmla="*/ 2147483647 w 162"/>
              <a:gd name="T15" fmla="*/ 2147483647 h 110"/>
              <a:gd name="T16" fmla="*/ 2147483647 w 162"/>
              <a:gd name="T17" fmla="*/ 2147483647 h 110"/>
              <a:gd name="T18" fmla="*/ 2147483647 w 162"/>
              <a:gd name="T19" fmla="*/ 2147483647 h 110"/>
              <a:gd name="T20" fmla="*/ 2147483647 w 162"/>
              <a:gd name="T21" fmla="*/ 2147483647 h 110"/>
              <a:gd name="T22" fmla="*/ 2147483647 w 162"/>
              <a:gd name="T23" fmla="*/ 2147483647 h 110"/>
              <a:gd name="T24" fmla="*/ 2147483647 w 162"/>
              <a:gd name="T25" fmla="*/ 2147483647 h 110"/>
              <a:gd name="T26" fmla="*/ 2147483647 w 162"/>
              <a:gd name="T27" fmla="*/ 2147483647 h 110"/>
              <a:gd name="T28" fmla="*/ 2147483647 w 162"/>
              <a:gd name="T29" fmla="*/ 2147483647 h 110"/>
              <a:gd name="T30" fmla="*/ 2147483647 w 162"/>
              <a:gd name="T31" fmla="*/ 2147483647 h 110"/>
              <a:gd name="T32" fmla="*/ 2147483647 w 162"/>
              <a:gd name="T33" fmla="*/ 2147483647 h 110"/>
              <a:gd name="T34" fmla="*/ 2147483647 w 162"/>
              <a:gd name="T35" fmla="*/ 2147483647 h 110"/>
              <a:gd name="T36" fmla="*/ 2147483647 w 162"/>
              <a:gd name="T37" fmla="*/ 2147483647 h 110"/>
              <a:gd name="T38" fmla="*/ 2147483647 w 162"/>
              <a:gd name="T39" fmla="*/ 2147483647 h 110"/>
              <a:gd name="T40" fmla="*/ 2147483647 w 162"/>
              <a:gd name="T41" fmla="*/ 2147483647 h 110"/>
              <a:gd name="T42" fmla="*/ 0 w 162"/>
              <a:gd name="T43" fmla="*/ 2147483647 h 110"/>
              <a:gd name="T44" fmla="*/ 2147483647 w 162"/>
              <a:gd name="T45" fmla="*/ 2147483647 h 110"/>
              <a:gd name="T46" fmla="*/ 2147483647 w 162"/>
              <a:gd name="T47" fmla="*/ 2147483647 h 11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62"/>
              <a:gd name="T73" fmla="*/ 0 h 110"/>
              <a:gd name="T74" fmla="*/ 162 w 162"/>
              <a:gd name="T75" fmla="*/ 110 h 110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62" h="110">
                <a:moveTo>
                  <a:pt x="6" y="33"/>
                </a:moveTo>
                <a:lnTo>
                  <a:pt x="34" y="14"/>
                </a:lnTo>
                <a:lnTo>
                  <a:pt x="52" y="11"/>
                </a:lnTo>
                <a:lnTo>
                  <a:pt x="70" y="6"/>
                </a:lnTo>
                <a:lnTo>
                  <a:pt x="85" y="6"/>
                </a:lnTo>
                <a:lnTo>
                  <a:pt x="100" y="0"/>
                </a:lnTo>
                <a:lnTo>
                  <a:pt x="126" y="6"/>
                </a:lnTo>
                <a:lnTo>
                  <a:pt x="141" y="5"/>
                </a:lnTo>
                <a:lnTo>
                  <a:pt x="156" y="20"/>
                </a:lnTo>
                <a:lnTo>
                  <a:pt x="154" y="63"/>
                </a:lnTo>
                <a:lnTo>
                  <a:pt x="162" y="68"/>
                </a:lnTo>
                <a:lnTo>
                  <a:pt x="151" y="86"/>
                </a:lnTo>
                <a:lnTo>
                  <a:pt x="115" y="93"/>
                </a:lnTo>
                <a:lnTo>
                  <a:pt x="100" y="89"/>
                </a:lnTo>
                <a:lnTo>
                  <a:pt x="90" y="110"/>
                </a:lnTo>
                <a:lnTo>
                  <a:pt x="63" y="108"/>
                </a:lnTo>
                <a:lnTo>
                  <a:pt x="52" y="105"/>
                </a:lnTo>
                <a:lnTo>
                  <a:pt x="36" y="104"/>
                </a:lnTo>
                <a:lnTo>
                  <a:pt x="27" y="95"/>
                </a:lnTo>
                <a:lnTo>
                  <a:pt x="21" y="98"/>
                </a:lnTo>
                <a:lnTo>
                  <a:pt x="9" y="89"/>
                </a:lnTo>
                <a:lnTo>
                  <a:pt x="0" y="63"/>
                </a:lnTo>
                <a:lnTo>
                  <a:pt x="7" y="50"/>
                </a:lnTo>
                <a:lnTo>
                  <a:pt x="6" y="33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1" name="Freeform 109"/>
          <p:cNvSpPr>
            <a:spLocks/>
          </p:cNvSpPr>
          <p:nvPr/>
        </p:nvSpPr>
        <p:spPr bwMode="auto">
          <a:xfrm>
            <a:off x="3234202" y="4254967"/>
            <a:ext cx="493834" cy="613366"/>
          </a:xfrm>
          <a:custGeom>
            <a:avLst/>
            <a:gdLst>
              <a:gd name="T0" fmla="*/ 2147483647 w 327"/>
              <a:gd name="T1" fmla="*/ 2147483647 h 388"/>
              <a:gd name="T2" fmla="*/ 2147483647 w 327"/>
              <a:gd name="T3" fmla="*/ 2147483647 h 388"/>
              <a:gd name="T4" fmla="*/ 2147483647 w 327"/>
              <a:gd name="T5" fmla="*/ 2147483647 h 388"/>
              <a:gd name="T6" fmla="*/ 2147483647 w 327"/>
              <a:gd name="T7" fmla="*/ 2147483647 h 388"/>
              <a:gd name="T8" fmla="*/ 2147483647 w 327"/>
              <a:gd name="T9" fmla="*/ 2147483647 h 388"/>
              <a:gd name="T10" fmla="*/ 2147483647 w 327"/>
              <a:gd name="T11" fmla="*/ 2147483647 h 388"/>
              <a:gd name="T12" fmla="*/ 2147483647 w 327"/>
              <a:gd name="T13" fmla="*/ 2147483647 h 388"/>
              <a:gd name="T14" fmla="*/ 2147483647 w 327"/>
              <a:gd name="T15" fmla="*/ 2147483647 h 388"/>
              <a:gd name="T16" fmla="*/ 2147483647 w 327"/>
              <a:gd name="T17" fmla="*/ 2147483647 h 388"/>
              <a:gd name="T18" fmla="*/ 2147483647 w 327"/>
              <a:gd name="T19" fmla="*/ 2147483647 h 388"/>
              <a:gd name="T20" fmla="*/ 2147483647 w 327"/>
              <a:gd name="T21" fmla="*/ 2147483647 h 388"/>
              <a:gd name="T22" fmla="*/ 2147483647 w 327"/>
              <a:gd name="T23" fmla="*/ 2147483647 h 388"/>
              <a:gd name="T24" fmla="*/ 2147483647 w 327"/>
              <a:gd name="T25" fmla="*/ 2147483647 h 388"/>
              <a:gd name="T26" fmla="*/ 2147483647 w 327"/>
              <a:gd name="T27" fmla="*/ 2147483647 h 388"/>
              <a:gd name="T28" fmla="*/ 2147483647 w 327"/>
              <a:gd name="T29" fmla="*/ 2147483647 h 388"/>
              <a:gd name="T30" fmla="*/ 2147483647 w 327"/>
              <a:gd name="T31" fmla="*/ 2147483647 h 388"/>
              <a:gd name="T32" fmla="*/ 2147483647 w 327"/>
              <a:gd name="T33" fmla="*/ 2147483647 h 388"/>
              <a:gd name="T34" fmla="*/ 2147483647 w 327"/>
              <a:gd name="T35" fmla="*/ 2147483647 h 388"/>
              <a:gd name="T36" fmla="*/ 2147483647 w 327"/>
              <a:gd name="T37" fmla="*/ 2147483647 h 388"/>
              <a:gd name="T38" fmla="*/ 2147483647 w 327"/>
              <a:gd name="T39" fmla="*/ 2147483647 h 388"/>
              <a:gd name="T40" fmla="*/ 2147483647 w 327"/>
              <a:gd name="T41" fmla="*/ 2147483647 h 388"/>
              <a:gd name="T42" fmla="*/ 2147483647 w 327"/>
              <a:gd name="T43" fmla="*/ 2147483647 h 388"/>
              <a:gd name="T44" fmla="*/ 2147483647 w 327"/>
              <a:gd name="T45" fmla="*/ 2147483647 h 388"/>
              <a:gd name="T46" fmla="*/ 2147483647 w 327"/>
              <a:gd name="T47" fmla="*/ 2147483647 h 388"/>
              <a:gd name="T48" fmla="*/ 2147483647 w 327"/>
              <a:gd name="T49" fmla="*/ 2147483647 h 388"/>
              <a:gd name="T50" fmla="*/ 2147483647 w 327"/>
              <a:gd name="T51" fmla="*/ 2147483647 h 388"/>
              <a:gd name="T52" fmla="*/ 2147483647 w 327"/>
              <a:gd name="T53" fmla="*/ 2147483647 h 388"/>
              <a:gd name="T54" fmla="*/ 2147483647 w 327"/>
              <a:gd name="T55" fmla="*/ 2147483647 h 388"/>
              <a:gd name="T56" fmla="*/ 2147483647 w 327"/>
              <a:gd name="T57" fmla="*/ 2147483647 h 388"/>
              <a:gd name="T58" fmla="*/ 2147483647 w 327"/>
              <a:gd name="T59" fmla="*/ 2147483647 h 388"/>
              <a:gd name="T60" fmla="*/ 2147483647 w 327"/>
              <a:gd name="T61" fmla="*/ 2147483647 h 388"/>
              <a:gd name="T62" fmla="*/ 2147483647 w 327"/>
              <a:gd name="T63" fmla="*/ 2147483647 h 388"/>
              <a:gd name="T64" fmla="*/ 2147483647 w 327"/>
              <a:gd name="T65" fmla="*/ 2147483647 h 38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327"/>
              <a:gd name="T100" fmla="*/ 0 h 388"/>
              <a:gd name="T101" fmla="*/ 327 w 327"/>
              <a:gd name="T102" fmla="*/ 388 h 388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327" h="388">
                <a:moveTo>
                  <a:pt x="55" y="27"/>
                </a:moveTo>
                <a:lnTo>
                  <a:pt x="120" y="3"/>
                </a:lnTo>
                <a:lnTo>
                  <a:pt x="150" y="0"/>
                </a:lnTo>
                <a:lnTo>
                  <a:pt x="168" y="1"/>
                </a:lnTo>
                <a:lnTo>
                  <a:pt x="175" y="6"/>
                </a:lnTo>
                <a:lnTo>
                  <a:pt x="180" y="12"/>
                </a:lnTo>
                <a:lnTo>
                  <a:pt x="181" y="19"/>
                </a:lnTo>
                <a:lnTo>
                  <a:pt x="187" y="21"/>
                </a:lnTo>
                <a:lnTo>
                  <a:pt x="195" y="36"/>
                </a:lnTo>
                <a:lnTo>
                  <a:pt x="196" y="58"/>
                </a:lnTo>
                <a:lnTo>
                  <a:pt x="204" y="66"/>
                </a:lnTo>
                <a:lnTo>
                  <a:pt x="223" y="66"/>
                </a:lnTo>
                <a:lnTo>
                  <a:pt x="235" y="97"/>
                </a:lnTo>
                <a:lnTo>
                  <a:pt x="235" y="118"/>
                </a:lnTo>
                <a:lnTo>
                  <a:pt x="243" y="132"/>
                </a:lnTo>
                <a:lnTo>
                  <a:pt x="252" y="132"/>
                </a:lnTo>
                <a:lnTo>
                  <a:pt x="271" y="118"/>
                </a:lnTo>
                <a:lnTo>
                  <a:pt x="282" y="127"/>
                </a:lnTo>
                <a:lnTo>
                  <a:pt x="283" y="145"/>
                </a:lnTo>
                <a:lnTo>
                  <a:pt x="303" y="156"/>
                </a:lnTo>
                <a:lnTo>
                  <a:pt x="300" y="175"/>
                </a:lnTo>
                <a:lnTo>
                  <a:pt x="301" y="180"/>
                </a:lnTo>
                <a:lnTo>
                  <a:pt x="304" y="183"/>
                </a:lnTo>
                <a:lnTo>
                  <a:pt x="297" y="193"/>
                </a:lnTo>
                <a:lnTo>
                  <a:pt x="295" y="205"/>
                </a:lnTo>
                <a:lnTo>
                  <a:pt x="306" y="229"/>
                </a:lnTo>
                <a:lnTo>
                  <a:pt x="322" y="232"/>
                </a:lnTo>
                <a:lnTo>
                  <a:pt x="327" y="244"/>
                </a:lnTo>
                <a:lnTo>
                  <a:pt x="322" y="268"/>
                </a:lnTo>
                <a:lnTo>
                  <a:pt x="298" y="290"/>
                </a:lnTo>
                <a:lnTo>
                  <a:pt x="304" y="328"/>
                </a:lnTo>
                <a:lnTo>
                  <a:pt x="295" y="344"/>
                </a:lnTo>
                <a:lnTo>
                  <a:pt x="301" y="362"/>
                </a:lnTo>
                <a:lnTo>
                  <a:pt x="271" y="356"/>
                </a:lnTo>
                <a:lnTo>
                  <a:pt x="256" y="362"/>
                </a:lnTo>
                <a:lnTo>
                  <a:pt x="241" y="362"/>
                </a:lnTo>
                <a:lnTo>
                  <a:pt x="223" y="367"/>
                </a:lnTo>
                <a:lnTo>
                  <a:pt x="205" y="370"/>
                </a:lnTo>
                <a:lnTo>
                  <a:pt x="177" y="388"/>
                </a:lnTo>
                <a:lnTo>
                  <a:pt x="178" y="353"/>
                </a:lnTo>
                <a:lnTo>
                  <a:pt x="172" y="344"/>
                </a:lnTo>
                <a:lnTo>
                  <a:pt x="153" y="341"/>
                </a:lnTo>
                <a:lnTo>
                  <a:pt x="147" y="326"/>
                </a:lnTo>
                <a:lnTo>
                  <a:pt x="135" y="325"/>
                </a:lnTo>
                <a:lnTo>
                  <a:pt x="130" y="329"/>
                </a:lnTo>
                <a:lnTo>
                  <a:pt x="105" y="325"/>
                </a:lnTo>
                <a:lnTo>
                  <a:pt x="96" y="332"/>
                </a:lnTo>
                <a:lnTo>
                  <a:pt x="91" y="359"/>
                </a:lnTo>
                <a:lnTo>
                  <a:pt x="81" y="380"/>
                </a:lnTo>
                <a:lnTo>
                  <a:pt x="13" y="320"/>
                </a:lnTo>
                <a:lnTo>
                  <a:pt x="0" y="292"/>
                </a:lnTo>
                <a:lnTo>
                  <a:pt x="18" y="284"/>
                </a:lnTo>
                <a:lnTo>
                  <a:pt x="33" y="276"/>
                </a:lnTo>
                <a:lnTo>
                  <a:pt x="33" y="253"/>
                </a:lnTo>
                <a:lnTo>
                  <a:pt x="48" y="244"/>
                </a:lnTo>
                <a:lnTo>
                  <a:pt x="55" y="228"/>
                </a:lnTo>
                <a:lnTo>
                  <a:pt x="72" y="217"/>
                </a:lnTo>
                <a:lnTo>
                  <a:pt x="75" y="202"/>
                </a:lnTo>
                <a:lnTo>
                  <a:pt x="73" y="186"/>
                </a:lnTo>
                <a:lnTo>
                  <a:pt x="84" y="177"/>
                </a:lnTo>
                <a:lnTo>
                  <a:pt x="69" y="154"/>
                </a:lnTo>
                <a:lnTo>
                  <a:pt x="85" y="123"/>
                </a:lnTo>
                <a:lnTo>
                  <a:pt x="67" y="102"/>
                </a:lnTo>
                <a:lnTo>
                  <a:pt x="72" y="79"/>
                </a:lnTo>
                <a:lnTo>
                  <a:pt x="55" y="58"/>
                </a:lnTo>
                <a:lnTo>
                  <a:pt x="55" y="27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2" name="Text Box 115"/>
          <p:cNvSpPr txBox="1">
            <a:spLocks noChangeArrowheads="1"/>
          </p:cNvSpPr>
          <p:nvPr/>
        </p:nvSpPr>
        <p:spPr bwMode="auto">
          <a:xfrm>
            <a:off x="2441320" y="3334917"/>
            <a:ext cx="352661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latin typeface="+mn-lt"/>
                <a:cs typeface="Arial" pitchFamily="34" charset="0"/>
              </a:rPr>
              <a:t>+0,4</a:t>
            </a:r>
            <a:endParaRPr lang="de-DE" sz="1400" b="1" dirty="0">
              <a:latin typeface="+mn-lt"/>
              <a:cs typeface="Arial" pitchFamily="34" charset="0"/>
            </a:endParaRPr>
          </a:p>
        </p:txBody>
      </p:sp>
      <p:sp>
        <p:nvSpPr>
          <p:cNvPr id="63" name="Text Box 116"/>
          <p:cNvSpPr txBox="1">
            <a:spLocks noChangeArrowheads="1"/>
          </p:cNvSpPr>
          <p:nvPr/>
        </p:nvSpPr>
        <p:spPr bwMode="auto">
          <a:xfrm>
            <a:off x="1620687" y="3872403"/>
            <a:ext cx="352661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latin typeface="+mn-lt"/>
              </a:rPr>
              <a:t>+0,2</a:t>
            </a:r>
            <a:endParaRPr lang="de-DE" sz="1400" b="1" dirty="0">
              <a:latin typeface="+mn-lt"/>
            </a:endParaRPr>
          </a:p>
        </p:txBody>
      </p:sp>
      <p:sp>
        <p:nvSpPr>
          <p:cNvPr id="64" name="Text Box 117"/>
          <p:cNvSpPr txBox="1">
            <a:spLocks noChangeArrowheads="1"/>
          </p:cNvSpPr>
          <p:nvPr/>
        </p:nvSpPr>
        <p:spPr bwMode="auto">
          <a:xfrm>
            <a:off x="2324612" y="4217767"/>
            <a:ext cx="307777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solidFill>
                  <a:schemeClr val="bg1"/>
                </a:solidFill>
                <a:latin typeface="+mn-lt"/>
              </a:rPr>
              <a:t>-1,8</a:t>
            </a:r>
            <a:endParaRPr lang="de-DE" sz="14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5" name="Text Box 118"/>
          <p:cNvSpPr txBox="1">
            <a:spLocks noChangeArrowheads="1"/>
          </p:cNvSpPr>
          <p:nvPr/>
        </p:nvSpPr>
        <p:spPr bwMode="auto">
          <a:xfrm>
            <a:off x="1502007" y="2961839"/>
            <a:ext cx="352661" cy="215444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latin typeface="+mn-lt"/>
              </a:rPr>
              <a:t>+1,3</a:t>
            </a:r>
            <a:endParaRPr lang="de-DE" sz="1400" b="1" dirty="0">
              <a:latin typeface="+mn-lt"/>
            </a:endParaRPr>
          </a:p>
        </p:txBody>
      </p:sp>
      <p:sp>
        <p:nvSpPr>
          <p:cNvPr id="66" name="Text Box 119"/>
          <p:cNvSpPr txBox="1">
            <a:spLocks noChangeArrowheads="1"/>
          </p:cNvSpPr>
          <p:nvPr/>
        </p:nvSpPr>
        <p:spPr bwMode="auto">
          <a:xfrm>
            <a:off x="827707" y="4785662"/>
            <a:ext cx="307777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solidFill>
                  <a:schemeClr val="bg1"/>
                </a:solidFill>
                <a:latin typeface="+mn-lt"/>
              </a:rPr>
              <a:t>-1,2</a:t>
            </a:r>
            <a:endParaRPr lang="de-DE" sz="14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7" name="Text Box 116"/>
          <p:cNvSpPr txBox="1">
            <a:spLocks noChangeArrowheads="1"/>
          </p:cNvSpPr>
          <p:nvPr/>
        </p:nvSpPr>
        <p:spPr bwMode="auto">
          <a:xfrm>
            <a:off x="3205559" y="5406109"/>
            <a:ext cx="378309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latin typeface="+mn-lt"/>
                <a:cs typeface="Arial" pitchFamily="34" charset="0"/>
              </a:rPr>
              <a:t>-4,2*</a:t>
            </a:r>
            <a:endParaRPr lang="de-DE" sz="1400" b="1" baseline="30000" dirty="0">
              <a:latin typeface="+mn-lt"/>
              <a:cs typeface="Arial" pitchFamily="34" charset="0"/>
            </a:endParaRPr>
          </a:p>
        </p:txBody>
      </p:sp>
      <p:sp>
        <p:nvSpPr>
          <p:cNvPr id="69" name="Text Box 115"/>
          <p:cNvSpPr txBox="1">
            <a:spLocks noChangeArrowheads="1"/>
          </p:cNvSpPr>
          <p:nvPr/>
        </p:nvSpPr>
        <p:spPr bwMode="auto">
          <a:xfrm>
            <a:off x="2009583" y="2920079"/>
            <a:ext cx="307777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latin typeface="+mn-lt"/>
              </a:rPr>
              <a:t>-1,0</a:t>
            </a:r>
            <a:endParaRPr lang="de-DE" sz="1400" b="1" dirty="0">
              <a:latin typeface="+mn-lt"/>
            </a:endParaRPr>
          </a:p>
        </p:txBody>
      </p:sp>
      <p:sp>
        <p:nvSpPr>
          <p:cNvPr id="145" name="Freeform 13"/>
          <p:cNvSpPr>
            <a:spLocks/>
          </p:cNvSpPr>
          <p:nvPr/>
        </p:nvSpPr>
        <p:spPr bwMode="auto">
          <a:xfrm>
            <a:off x="2467637" y="3865238"/>
            <a:ext cx="684119" cy="325653"/>
          </a:xfrm>
          <a:custGeom>
            <a:avLst/>
            <a:gdLst>
              <a:gd name="T0" fmla="*/ 2147483647 w 453"/>
              <a:gd name="T1" fmla="*/ 2147483647 h 206"/>
              <a:gd name="T2" fmla="*/ 2147483647 w 453"/>
              <a:gd name="T3" fmla="*/ 2147483647 h 206"/>
              <a:gd name="T4" fmla="*/ 2147483647 w 453"/>
              <a:gd name="T5" fmla="*/ 2147483647 h 206"/>
              <a:gd name="T6" fmla="*/ 2147483647 w 453"/>
              <a:gd name="T7" fmla="*/ 2147483647 h 206"/>
              <a:gd name="T8" fmla="*/ 2147483647 w 453"/>
              <a:gd name="T9" fmla="*/ 2147483647 h 206"/>
              <a:gd name="T10" fmla="*/ 2147483647 w 453"/>
              <a:gd name="T11" fmla="*/ 2147483647 h 206"/>
              <a:gd name="T12" fmla="*/ 2147483647 w 453"/>
              <a:gd name="T13" fmla="*/ 2147483647 h 206"/>
              <a:gd name="T14" fmla="*/ 2147483647 w 453"/>
              <a:gd name="T15" fmla="*/ 2147483647 h 206"/>
              <a:gd name="T16" fmla="*/ 2147483647 w 453"/>
              <a:gd name="T17" fmla="*/ 2147483647 h 206"/>
              <a:gd name="T18" fmla="*/ 2147483647 w 453"/>
              <a:gd name="T19" fmla="*/ 2147483647 h 206"/>
              <a:gd name="T20" fmla="*/ 2147483647 w 453"/>
              <a:gd name="T21" fmla="*/ 2147483647 h 206"/>
              <a:gd name="T22" fmla="*/ 2147483647 w 453"/>
              <a:gd name="T23" fmla="*/ 2147483647 h 206"/>
              <a:gd name="T24" fmla="*/ 2147483647 w 453"/>
              <a:gd name="T25" fmla="*/ 2147483647 h 206"/>
              <a:gd name="T26" fmla="*/ 2147483647 w 453"/>
              <a:gd name="T27" fmla="*/ 2147483647 h 206"/>
              <a:gd name="T28" fmla="*/ 2147483647 w 453"/>
              <a:gd name="T29" fmla="*/ 2147483647 h 206"/>
              <a:gd name="T30" fmla="*/ 2147483647 w 453"/>
              <a:gd name="T31" fmla="*/ 2147483647 h 206"/>
              <a:gd name="T32" fmla="*/ 2147483647 w 453"/>
              <a:gd name="T33" fmla="*/ 2147483647 h 206"/>
              <a:gd name="T34" fmla="*/ 2147483647 w 453"/>
              <a:gd name="T35" fmla="*/ 2147483647 h 206"/>
              <a:gd name="T36" fmla="*/ 2147483647 w 453"/>
              <a:gd name="T37" fmla="*/ 2147483647 h 206"/>
              <a:gd name="T38" fmla="*/ 2147483647 w 453"/>
              <a:gd name="T39" fmla="*/ 2147483647 h 206"/>
              <a:gd name="T40" fmla="*/ 2147483647 w 453"/>
              <a:gd name="T41" fmla="*/ 2147483647 h 206"/>
              <a:gd name="T42" fmla="*/ 2147483647 w 453"/>
              <a:gd name="T43" fmla="*/ 2147483647 h 206"/>
              <a:gd name="T44" fmla="*/ 2147483647 w 453"/>
              <a:gd name="T45" fmla="*/ 2147483647 h 206"/>
              <a:gd name="T46" fmla="*/ 2147483647 w 453"/>
              <a:gd name="T47" fmla="*/ 2147483647 h 206"/>
              <a:gd name="T48" fmla="*/ 2147483647 w 453"/>
              <a:gd name="T49" fmla="*/ 2147483647 h 206"/>
              <a:gd name="T50" fmla="*/ 2147483647 w 453"/>
              <a:gd name="T51" fmla="*/ 2147483647 h 206"/>
              <a:gd name="T52" fmla="*/ 2147483647 w 453"/>
              <a:gd name="T53" fmla="*/ 2147483647 h 206"/>
              <a:gd name="T54" fmla="*/ 2147483647 w 453"/>
              <a:gd name="T55" fmla="*/ 2147483647 h 206"/>
              <a:gd name="T56" fmla="*/ 2147483647 w 453"/>
              <a:gd name="T57" fmla="*/ 2147483647 h 206"/>
              <a:gd name="T58" fmla="*/ 2147483647 w 453"/>
              <a:gd name="T59" fmla="*/ 2147483647 h 206"/>
              <a:gd name="T60" fmla="*/ 2147483647 w 453"/>
              <a:gd name="T61" fmla="*/ 2147483647 h 206"/>
              <a:gd name="T62" fmla="*/ 0 w 453"/>
              <a:gd name="T63" fmla="*/ 2147483647 h 2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53"/>
              <a:gd name="T97" fmla="*/ 0 h 206"/>
              <a:gd name="T98" fmla="*/ 453 w 453"/>
              <a:gd name="T99" fmla="*/ 206 h 2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53" h="206">
                <a:moveTo>
                  <a:pt x="0" y="74"/>
                </a:moveTo>
                <a:lnTo>
                  <a:pt x="19" y="72"/>
                </a:lnTo>
                <a:lnTo>
                  <a:pt x="26" y="70"/>
                </a:lnTo>
                <a:lnTo>
                  <a:pt x="36" y="82"/>
                </a:lnTo>
                <a:lnTo>
                  <a:pt x="48" y="78"/>
                </a:lnTo>
                <a:lnTo>
                  <a:pt x="63" y="80"/>
                </a:lnTo>
                <a:lnTo>
                  <a:pt x="72" y="87"/>
                </a:lnTo>
                <a:lnTo>
                  <a:pt x="88" y="78"/>
                </a:lnTo>
                <a:lnTo>
                  <a:pt x="109" y="79"/>
                </a:lnTo>
                <a:lnTo>
                  <a:pt x="118" y="88"/>
                </a:lnTo>
                <a:lnTo>
                  <a:pt x="131" y="91"/>
                </a:lnTo>
                <a:lnTo>
                  <a:pt x="138" y="85"/>
                </a:lnTo>
                <a:lnTo>
                  <a:pt x="161" y="81"/>
                </a:lnTo>
                <a:lnTo>
                  <a:pt x="172" y="81"/>
                </a:lnTo>
                <a:lnTo>
                  <a:pt x="189" y="87"/>
                </a:lnTo>
                <a:lnTo>
                  <a:pt x="209" y="100"/>
                </a:lnTo>
                <a:lnTo>
                  <a:pt x="224" y="94"/>
                </a:lnTo>
                <a:lnTo>
                  <a:pt x="227" y="81"/>
                </a:lnTo>
                <a:lnTo>
                  <a:pt x="217" y="64"/>
                </a:lnTo>
                <a:lnTo>
                  <a:pt x="212" y="40"/>
                </a:lnTo>
                <a:lnTo>
                  <a:pt x="263" y="5"/>
                </a:lnTo>
                <a:lnTo>
                  <a:pt x="274" y="5"/>
                </a:lnTo>
                <a:lnTo>
                  <a:pt x="276" y="17"/>
                </a:lnTo>
                <a:lnTo>
                  <a:pt x="291" y="20"/>
                </a:lnTo>
                <a:lnTo>
                  <a:pt x="323" y="16"/>
                </a:lnTo>
                <a:lnTo>
                  <a:pt x="336" y="2"/>
                </a:lnTo>
                <a:lnTo>
                  <a:pt x="376" y="0"/>
                </a:lnTo>
                <a:lnTo>
                  <a:pt x="385" y="17"/>
                </a:lnTo>
                <a:lnTo>
                  <a:pt x="402" y="17"/>
                </a:lnTo>
                <a:lnTo>
                  <a:pt x="417" y="8"/>
                </a:lnTo>
                <a:lnTo>
                  <a:pt x="442" y="24"/>
                </a:lnTo>
                <a:lnTo>
                  <a:pt x="442" y="52"/>
                </a:lnTo>
                <a:lnTo>
                  <a:pt x="453" y="64"/>
                </a:lnTo>
                <a:lnTo>
                  <a:pt x="450" y="82"/>
                </a:lnTo>
                <a:lnTo>
                  <a:pt x="442" y="100"/>
                </a:lnTo>
                <a:lnTo>
                  <a:pt x="429" y="100"/>
                </a:lnTo>
                <a:lnTo>
                  <a:pt x="424" y="105"/>
                </a:lnTo>
                <a:lnTo>
                  <a:pt x="432" y="120"/>
                </a:lnTo>
                <a:lnTo>
                  <a:pt x="432" y="135"/>
                </a:lnTo>
                <a:lnTo>
                  <a:pt x="424" y="148"/>
                </a:lnTo>
                <a:lnTo>
                  <a:pt x="402" y="159"/>
                </a:lnTo>
                <a:lnTo>
                  <a:pt x="401" y="172"/>
                </a:lnTo>
                <a:lnTo>
                  <a:pt x="401" y="185"/>
                </a:lnTo>
                <a:lnTo>
                  <a:pt x="380" y="189"/>
                </a:lnTo>
                <a:lnTo>
                  <a:pt x="346" y="187"/>
                </a:lnTo>
                <a:lnTo>
                  <a:pt x="330" y="192"/>
                </a:lnTo>
                <a:lnTo>
                  <a:pt x="301" y="192"/>
                </a:lnTo>
                <a:lnTo>
                  <a:pt x="289" y="206"/>
                </a:lnTo>
                <a:lnTo>
                  <a:pt x="243" y="191"/>
                </a:lnTo>
                <a:lnTo>
                  <a:pt x="220" y="192"/>
                </a:lnTo>
                <a:lnTo>
                  <a:pt x="162" y="179"/>
                </a:lnTo>
                <a:lnTo>
                  <a:pt x="154" y="165"/>
                </a:lnTo>
                <a:lnTo>
                  <a:pt x="154" y="150"/>
                </a:lnTo>
                <a:lnTo>
                  <a:pt x="150" y="141"/>
                </a:lnTo>
                <a:lnTo>
                  <a:pt x="143" y="137"/>
                </a:lnTo>
                <a:lnTo>
                  <a:pt x="107" y="139"/>
                </a:lnTo>
                <a:lnTo>
                  <a:pt x="57" y="144"/>
                </a:lnTo>
                <a:lnTo>
                  <a:pt x="52" y="132"/>
                </a:lnTo>
                <a:lnTo>
                  <a:pt x="43" y="128"/>
                </a:lnTo>
                <a:lnTo>
                  <a:pt x="28" y="123"/>
                </a:lnTo>
                <a:lnTo>
                  <a:pt x="13" y="119"/>
                </a:lnTo>
                <a:lnTo>
                  <a:pt x="13" y="105"/>
                </a:lnTo>
                <a:lnTo>
                  <a:pt x="13" y="85"/>
                </a:lnTo>
                <a:lnTo>
                  <a:pt x="0" y="74"/>
                </a:lnTo>
                <a:close/>
              </a:path>
            </a:pathLst>
          </a:custGeom>
          <a:solidFill>
            <a:schemeClr val="accent4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8" name="Textfeld 67"/>
          <p:cNvSpPr txBox="1"/>
          <p:nvPr>
            <p:custDataLst>
              <p:tags r:id="rId3"/>
            </p:custDataLst>
          </p:nvPr>
        </p:nvSpPr>
        <p:spPr>
          <a:xfrm>
            <a:off x="2656526" y="3914244"/>
            <a:ext cx="423193" cy="215444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rtlCol="0">
            <a:spAutoFit/>
          </a:bodyPr>
          <a:lstStyle/>
          <a:p>
            <a:r>
              <a:rPr lang="de-DE" sz="1400" b="1" dirty="0" smtClean="0">
                <a:cs typeface="Arial" pitchFamily="34" charset="0"/>
              </a:rPr>
              <a:t>+0,4*</a:t>
            </a:r>
            <a:endParaRPr lang="de-DE" sz="1400" b="1" baseline="30000" dirty="0">
              <a:cs typeface="Arial" pitchFamily="34" charset="0"/>
            </a:endParaRPr>
          </a:p>
        </p:txBody>
      </p:sp>
      <p:sp>
        <p:nvSpPr>
          <p:cNvPr id="146" name="Text Box 116"/>
          <p:cNvSpPr txBox="1">
            <a:spLocks noChangeArrowheads="1"/>
          </p:cNvSpPr>
          <p:nvPr/>
        </p:nvSpPr>
        <p:spPr bwMode="auto">
          <a:xfrm>
            <a:off x="414581" y="4497395"/>
            <a:ext cx="32380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4351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1,5*</a:t>
            </a:r>
            <a:endParaRPr lang="de-DE" sz="1200" b="1" baseline="30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4" name="LeanLine Vertical 634947453867075289"/>
          <p:cNvCxnSpPr/>
          <p:nvPr/>
        </p:nvCxnSpPr>
        <p:spPr>
          <a:xfrm>
            <a:off x="4932099" y="1802816"/>
            <a:ext cx="3888051" cy="0"/>
          </a:xfrm>
          <a:prstGeom prst="line">
            <a:avLst/>
          </a:prstGeom>
          <a:ln w="22225" cmpd="sng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Text Box 116"/>
          <p:cNvSpPr txBox="1">
            <a:spLocks noChangeArrowheads="1"/>
          </p:cNvSpPr>
          <p:nvPr/>
        </p:nvSpPr>
        <p:spPr bwMode="auto">
          <a:xfrm>
            <a:off x="4753778" y="1681294"/>
            <a:ext cx="512961" cy="246221"/>
          </a:xfrm>
          <a:prstGeom prst="rect">
            <a:avLst/>
          </a:prstGeom>
          <a:solidFill>
            <a:schemeClr val="bg1"/>
          </a:solidFill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600" b="1" dirty="0" smtClean="0">
                <a:latin typeface="+mn-lt"/>
              </a:rPr>
              <a:t>2013 </a:t>
            </a:r>
            <a:endParaRPr lang="de-DE" sz="1600" b="1" dirty="0">
              <a:latin typeface="+mn-lt"/>
            </a:endParaRPr>
          </a:p>
        </p:txBody>
      </p:sp>
      <p:sp>
        <p:nvSpPr>
          <p:cNvPr id="149" name="RbLeanShape Left U-Shape 138"/>
          <p:cNvSpPr/>
          <p:nvPr/>
        </p:nvSpPr>
        <p:spPr>
          <a:xfrm>
            <a:off x="4753778" y="1947386"/>
            <a:ext cx="4066372" cy="4039346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gradFill flip="none" rotWithShape="1">
            <a:gsLst>
              <a:gs pos="0">
                <a:schemeClr val="bg2"/>
              </a:gs>
              <a:gs pos="53000">
                <a:schemeClr val="bg1"/>
              </a:gs>
            </a:gsLst>
            <a:lin ang="2700000" scaled="1"/>
            <a:tileRect/>
          </a:gradFill>
          <a:ln w="22225"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90000" rIns="0" bIns="0" rtlCol="0" anchor="t"/>
          <a:lstStyle/>
          <a:p>
            <a:pPr fontAlgn="ctr"/>
            <a:endParaRPr lang="de-DE" sz="1300" b="1"/>
          </a:p>
        </p:txBody>
      </p:sp>
      <p:sp>
        <p:nvSpPr>
          <p:cNvPr id="150" name="Freeform 2"/>
          <p:cNvSpPr>
            <a:spLocks/>
          </p:cNvSpPr>
          <p:nvPr/>
        </p:nvSpPr>
        <p:spPr bwMode="auto">
          <a:xfrm>
            <a:off x="4779655" y="4267613"/>
            <a:ext cx="463630" cy="689247"/>
          </a:xfrm>
          <a:custGeom>
            <a:avLst/>
            <a:gdLst>
              <a:gd name="T0" fmla="*/ 2147483647 w 307"/>
              <a:gd name="T1" fmla="*/ 0 h 436"/>
              <a:gd name="T2" fmla="*/ 2147483647 w 307"/>
              <a:gd name="T3" fmla="*/ 2147483647 h 436"/>
              <a:gd name="T4" fmla="*/ 2147483647 w 307"/>
              <a:gd name="T5" fmla="*/ 2147483647 h 436"/>
              <a:gd name="T6" fmla="*/ 2147483647 w 307"/>
              <a:gd name="T7" fmla="*/ 2147483647 h 436"/>
              <a:gd name="T8" fmla="*/ 2147483647 w 307"/>
              <a:gd name="T9" fmla="*/ 2147483647 h 436"/>
              <a:gd name="T10" fmla="*/ 2147483647 w 307"/>
              <a:gd name="T11" fmla="*/ 2147483647 h 436"/>
              <a:gd name="T12" fmla="*/ 2147483647 w 307"/>
              <a:gd name="T13" fmla="*/ 2147483647 h 436"/>
              <a:gd name="T14" fmla="*/ 2147483647 w 307"/>
              <a:gd name="T15" fmla="*/ 2147483647 h 436"/>
              <a:gd name="T16" fmla="*/ 2147483647 w 307"/>
              <a:gd name="T17" fmla="*/ 2147483647 h 436"/>
              <a:gd name="T18" fmla="*/ 2147483647 w 307"/>
              <a:gd name="T19" fmla="*/ 2147483647 h 436"/>
              <a:gd name="T20" fmla="*/ 2147483647 w 307"/>
              <a:gd name="T21" fmla="*/ 2147483647 h 436"/>
              <a:gd name="T22" fmla="*/ 2147483647 w 307"/>
              <a:gd name="T23" fmla="*/ 2147483647 h 436"/>
              <a:gd name="T24" fmla="*/ 2147483647 w 307"/>
              <a:gd name="T25" fmla="*/ 2147483647 h 436"/>
              <a:gd name="T26" fmla="*/ 2147483647 w 307"/>
              <a:gd name="T27" fmla="*/ 2147483647 h 436"/>
              <a:gd name="T28" fmla="*/ 2147483647 w 307"/>
              <a:gd name="T29" fmla="*/ 2147483647 h 436"/>
              <a:gd name="T30" fmla="*/ 2147483647 w 307"/>
              <a:gd name="T31" fmla="*/ 2147483647 h 436"/>
              <a:gd name="T32" fmla="*/ 2147483647 w 307"/>
              <a:gd name="T33" fmla="*/ 2147483647 h 436"/>
              <a:gd name="T34" fmla="*/ 2147483647 w 307"/>
              <a:gd name="T35" fmla="*/ 2147483647 h 436"/>
              <a:gd name="T36" fmla="*/ 2147483647 w 307"/>
              <a:gd name="T37" fmla="*/ 2147483647 h 436"/>
              <a:gd name="T38" fmla="*/ 2147483647 w 307"/>
              <a:gd name="T39" fmla="*/ 2147483647 h 436"/>
              <a:gd name="T40" fmla="*/ 2147483647 w 307"/>
              <a:gd name="T41" fmla="*/ 2147483647 h 436"/>
              <a:gd name="T42" fmla="*/ 0 w 307"/>
              <a:gd name="T43" fmla="*/ 2147483647 h 436"/>
              <a:gd name="T44" fmla="*/ 2147483647 w 307"/>
              <a:gd name="T45" fmla="*/ 2147483647 h 436"/>
              <a:gd name="T46" fmla="*/ 2147483647 w 307"/>
              <a:gd name="T47" fmla="*/ 2147483647 h 436"/>
              <a:gd name="T48" fmla="*/ 2147483647 w 307"/>
              <a:gd name="T49" fmla="*/ 2147483647 h 436"/>
              <a:gd name="T50" fmla="*/ 2147483647 w 307"/>
              <a:gd name="T51" fmla="*/ 2147483647 h 436"/>
              <a:gd name="T52" fmla="*/ 2147483647 w 307"/>
              <a:gd name="T53" fmla="*/ 2147483647 h 436"/>
              <a:gd name="T54" fmla="*/ 2147483647 w 307"/>
              <a:gd name="T55" fmla="*/ 2147483647 h 436"/>
              <a:gd name="T56" fmla="*/ 2147483647 w 307"/>
              <a:gd name="T57" fmla="*/ 2147483647 h 436"/>
              <a:gd name="T58" fmla="*/ 2147483647 w 307"/>
              <a:gd name="T59" fmla="*/ 2147483647 h 436"/>
              <a:gd name="T60" fmla="*/ 2147483647 w 307"/>
              <a:gd name="T61" fmla="*/ 2147483647 h 436"/>
              <a:gd name="T62" fmla="*/ 2147483647 w 307"/>
              <a:gd name="T63" fmla="*/ 2147483647 h 436"/>
              <a:gd name="T64" fmla="*/ 2147483647 w 307"/>
              <a:gd name="T65" fmla="*/ 2147483647 h 436"/>
              <a:gd name="T66" fmla="*/ 2147483647 w 307"/>
              <a:gd name="T67" fmla="*/ 2147483647 h 436"/>
              <a:gd name="T68" fmla="*/ 2147483647 w 307"/>
              <a:gd name="T69" fmla="*/ 2147483647 h 4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07"/>
              <a:gd name="T106" fmla="*/ 0 h 436"/>
              <a:gd name="T107" fmla="*/ 307 w 307"/>
              <a:gd name="T108" fmla="*/ 436 h 4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07" h="436">
                <a:moveTo>
                  <a:pt x="155" y="4"/>
                </a:moveTo>
                <a:lnTo>
                  <a:pt x="177" y="0"/>
                </a:lnTo>
                <a:lnTo>
                  <a:pt x="192" y="17"/>
                </a:lnTo>
                <a:lnTo>
                  <a:pt x="194" y="37"/>
                </a:lnTo>
                <a:lnTo>
                  <a:pt x="200" y="41"/>
                </a:lnTo>
                <a:lnTo>
                  <a:pt x="211" y="38"/>
                </a:lnTo>
                <a:lnTo>
                  <a:pt x="246" y="52"/>
                </a:lnTo>
                <a:lnTo>
                  <a:pt x="256" y="45"/>
                </a:lnTo>
                <a:lnTo>
                  <a:pt x="271" y="44"/>
                </a:lnTo>
                <a:lnTo>
                  <a:pt x="280" y="56"/>
                </a:lnTo>
                <a:lnTo>
                  <a:pt x="288" y="76"/>
                </a:lnTo>
                <a:lnTo>
                  <a:pt x="299" y="89"/>
                </a:lnTo>
                <a:lnTo>
                  <a:pt x="307" y="96"/>
                </a:lnTo>
                <a:lnTo>
                  <a:pt x="304" y="103"/>
                </a:lnTo>
                <a:lnTo>
                  <a:pt x="278" y="110"/>
                </a:lnTo>
                <a:lnTo>
                  <a:pt x="248" y="126"/>
                </a:lnTo>
                <a:lnTo>
                  <a:pt x="249" y="153"/>
                </a:lnTo>
                <a:lnTo>
                  <a:pt x="232" y="167"/>
                </a:lnTo>
                <a:lnTo>
                  <a:pt x="218" y="179"/>
                </a:lnTo>
                <a:lnTo>
                  <a:pt x="216" y="205"/>
                </a:lnTo>
                <a:lnTo>
                  <a:pt x="216" y="222"/>
                </a:lnTo>
                <a:lnTo>
                  <a:pt x="205" y="234"/>
                </a:lnTo>
                <a:lnTo>
                  <a:pt x="196" y="222"/>
                </a:lnTo>
                <a:lnTo>
                  <a:pt x="180" y="227"/>
                </a:lnTo>
                <a:lnTo>
                  <a:pt x="178" y="235"/>
                </a:lnTo>
                <a:lnTo>
                  <a:pt x="175" y="257"/>
                </a:lnTo>
                <a:lnTo>
                  <a:pt x="181" y="265"/>
                </a:lnTo>
                <a:lnTo>
                  <a:pt x="178" y="287"/>
                </a:lnTo>
                <a:lnTo>
                  <a:pt x="168" y="297"/>
                </a:lnTo>
                <a:lnTo>
                  <a:pt x="155" y="314"/>
                </a:lnTo>
                <a:lnTo>
                  <a:pt x="149" y="328"/>
                </a:lnTo>
                <a:lnTo>
                  <a:pt x="152" y="354"/>
                </a:lnTo>
                <a:lnTo>
                  <a:pt x="163" y="369"/>
                </a:lnTo>
                <a:lnTo>
                  <a:pt x="156" y="378"/>
                </a:lnTo>
                <a:lnTo>
                  <a:pt x="127" y="387"/>
                </a:lnTo>
                <a:lnTo>
                  <a:pt x="116" y="398"/>
                </a:lnTo>
                <a:lnTo>
                  <a:pt x="115" y="410"/>
                </a:lnTo>
                <a:lnTo>
                  <a:pt x="115" y="432"/>
                </a:lnTo>
                <a:lnTo>
                  <a:pt x="82" y="432"/>
                </a:lnTo>
                <a:lnTo>
                  <a:pt x="59" y="436"/>
                </a:lnTo>
                <a:lnTo>
                  <a:pt x="33" y="406"/>
                </a:lnTo>
                <a:lnTo>
                  <a:pt x="19" y="406"/>
                </a:lnTo>
                <a:lnTo>
                  <a:pt x="7" y="406"/>
                </a:lnTo>
                <a:lnTo>
                  <a:pt x="0" y="395"/>
                </a:lnTo>
                <a:lnTo>
                  <a:pt x="7" y="384"/>
                </a:lnTo>
                <a:lnTo>
                  <a:pt x="22" y="362"/>
                </a:lnTo>
                <a:lnTo>
                  <a:pt x="30" y="340"/>
                </a:lnTo>
                <a:lnTo>
                  <a:pt x="48" y="314"/>
                </a:lnTo>
                <a:lnTo>
                  <a:pt x="52" y="299"/>
                </a:lnTo>
                <a:lnTo>
                  <a:pt x="44" y="288"/>
                </a:lnTo>
                <a:lnTo>
                  <a:pt x="33" y="278"/>
                </a:lnTo>
                <a:lnTo>
                  <a:pt x="30" y="272"/>
                </a:lnTo>
                <a:lnTo>
                  <a:pt x="44" y="267"/>
                </a:lnTo>
                <a:lnTo>
                  <a:pt x="52" y="252"/>
                </a:lnTo>
                <a:lnTo>
                  <a:pt x="37" y="248"/>
                </a:lnTo>
                <a:lnTo>
                  <a:pt x="22" y="256"/>
                </a:lnTo>
                <a:lnTo>
                  <a:pt x="22" y="237"/>
                </a:lnTo>
                <a:lnTo>
                  <a:pt x="30" y="226"/>
                </a:lnTo>
                <a:lnTo>
                  <a:pt x="37" y="215"/>
                </a:lnTo>
                <a:lnTo>
                  <a:pt x="41" y="200"/>
                </a:lnTo>
                <a:lnTo>
                  <a:pt x="44" y="189"/>
                </a:lnTo>
                <a:lnTo>
                  <a:pt x="52" y="186"/>
                </a:lnTo>
                <a:lnTo>
                  <a:pt x="63" y="193"/>
                </a:lnTo>
                <a:lnTo>
                  <a:pt x="82" y="167"/>
                </a:lnTo>
                <a:lnTo>
                  <a:pt x="93" y="149"/>
                </a:lnTo>
                <a:lnTo>
                  <a:pt x="122" y="115"/>
                </a:lnTo>
                <a:lnTo>
                  <a:pt x="122" y="101"/>
                </a:lnTo>
                <a:lnTo>
                  <a:pt x="137" y="78"/>
                </a:lnTo>
                <a:lnTo>
                  <a:pt x="141" y="52"/>
                </a:lnTo>
                <a:lnTo>
                  <a:pt x="148" y="38"/>
                </a:lnTo>
                <a:lnTo>
                  <a:pt x="155" y="4"/>
                </a:lnTo>
                <a:close/>
              </a:path>
            </a:pathLst>
          </a:custGeom>
          <a:solidFill>
            <a:schemeClr val="accent4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151" name="Group 3"/>
          <p:cNvGrpSpPr>
            <a:grpSpLocks/>
          </p:cNvGrpSpPr>
          <p:nvPr/>
        </p:nvGrpSpPr>
        <p:grpSpPr bwMode="auto">
          <a:xfrm>
            <a:off x="4953327" y="4051037"/>
            <a:ext cx="1271586" cy="1135045"/>
            <a:chOff x="615" y="2958"/>
            <a:chExt cx="842" cy="718"/>
          </a:xfrm>
          <a:solidFill>
            <a:schemeClr val="accent4"/>
          </a:solidFill>
        </p:grpSpPr>
        <p:sp>
          <p:nvSpPr>
            <p:cNvPr id="211" name="Freeform 4"/>
            <p:cNvSpPr>
              <a:spLocks/>
            </p:cNvSpPr>
            <p:nvPr/>
          </p:nvSpPr>
          <p:spPr bwMode="auto">
            <a:xfrm>
              <a:off x="615" y="2958"/>
              <a:ext cx="811" cy="718"/>
            </a:xfrm>
            <a:custGeom>
              <a:avLst/>
              <a:gdLst>
                <a:gd name="T0" fmla="*/ 37 w 811"/>
                <a:gd name="T1" fmla="*/ 130 h 718"/>
                <a:gd name="T2" fmla="*/ 63 w 811"/>
                <a:gd name="T3" fmla="*/ 78 h 718"/>
                <a:gd name="T4" fmla="*/ 56 w 811"/>
                <a:gd name="T5" fmla="*/ 59 h 718"/>
                <a:gd name="T6" fmla="*/ 44 w 811"/>
                <a:gd name="T7" fmla="*/ 41 h 718"/>
                <a:gd name="T8" fmla="*/ 89 w 811"/>
                <a:gd name="T9" fmla="*/ 19 h 718"/>
                <a:gd name="T10" fmla="*/ 122 w 811"/>
                <a:gd name="T11" fmla="*/ 11 h 718"/>
                <a:gd name="T12" fmla="*/ 157 w 811"/>
                <a:gd name="T13" fmla="*/ 4 h 718"/>
                <a:gd name="T14" fmla="*/ 223 w 811"/>
                <a:gd name="T15" fmla="*/ 56 h 718"/>
                <a:gd name="T16" fmla="*/ 270 w 811"/>
                <a:gd name="T17" fmla="*/ 59 h 718"/>
                <a:gd name="T18" fmla="*/ 399 w 811"/>
                <a:gd name="T19" fmla="*/ 119 h 718"/>
                <a:gd name="T20" fmla="*/ 454 w 811"/>
                <a:gd name="T21" fmla="*/ 133 h 718"/>
                <a:gd name="T22" fmla="*/ 492 w 811"/>
                <a:gd name="T23" fmla="*/ 163 h 718"/>
                <a:gd name="T24" fmla="*/ 529 w 811"/>
                <a:gd name="T25" fmla="*/ 167 h 718"/>
                <a:gd name="T26" fmla="*/ 529 w 811"/>
                <a:gd name="T27" fmla="*/ 185 h 718"/>
                <a:gd name="T28" fmla="*/ 588 w 811"/>
                <a:gd name="T29" fmla="*/ 241 h 718"/>
                <a:gd name="T30" fmla="*/ 636 w 811"/>
                <a:gd name="T31" fmla="*/ 263 h 718"/>
                <a:gd name="T32" fmla="*/ 711 w 811"/>
                <a:gd name="T33" fmla="*/ 285 h 718"/>
                <a:gd name="T34" fmla="*/ 726 w 811"/>
                <a:gd name="T35" fmla="*/ 311 h 718"/>
                <a:gd name="T36" fmla="*/ 755 w 811"/>
                <a:gd name="T37" fmla="*/ 322 h 718"/>
                <a:gd name="T38" fmla="*/ 785 w 811"/>
                <a:gd name="T39" fmla="*/ 322 h 718"/>
                <a:gd name="T40" fmla="*/ 804 w 811"/>
                <a:gd name="T41" fmla="*/ 322 h 718"/>
                <a:gd name="T42" fmla="*/ 811 w 811"/>
                <a:gd name="T43" fmla="*/ 356 h 718"/>
                <a:gd name="T44" fmla="*/ 741 w 811"/>
                <a:gd name="T45" fmla="*/ 411 h 718"/>
                <a:gd name="T46" fmla="*/ 640 w 811"/>
                <a:gd name="T47" fmla="*/ 429 h 718"/>
                <a:gd name="T48" fmla="*/ 614 w 811"/>
                <a:gd name="T49" fmla="*/ 455 h 718"/>
                <a:gd name="T50" fmla="*/ 584 w 811"/>
                <a:gd name="T51" fmla="*/ 466 h 718"/>
                <a:gd name="T52" fmla="*/ 554 w 811"/>
                <a:gd name="T53" fmla="*/ 499 h 718"/>
                <a:gd name="T54" fmla="*/ 521 w 811"/>
                <a:gd name="T55" fmla="*/ 522 h 718"/>
                <a:gd name="T56" fmla="*/ 532 w 811"/>
                <a:gd name="T57" fmla="*/ 562 h 718"/>
                <a:gd name="T58" fmla="*/ 536 w 811"/>
                <a:gd name="T59" fmla="*/ 592 h 718"/>
                <a:gd name="T60" fmla="*/ 517 w 811"/>
                <a:gd name="T61" fmla="*/ 603 h 718"/>
                <a:gd name="T62" fmla="*/ 466 w 811"/>
                <a:gd name="T63" fmla="*/ 648 h 718"/>
                <a:gd name="T64" fmla="*/ 447 w 811"/>
                <a:gd name="T65" fmla="*/ 666 h 718"/>
                <a:gd name="T66" fmla="*/ 414 w 811"/>
                <a:gd name="T67" fmla="*/ 677 h 718"/>
                <a:gd name="T68" fmla="*/ 380 w 811"/>
                <a:gd name="T69" fmla="*/ 685 h 718"/>
                <a:gd name="T70" fmla="*/ 362 w 811"/>
                <a:gd name="T71" fmla="*/ 707 h 718"/>
                <a:gd name="T72" fmla="*/ 332 w 811"/>
                <a:gd name="T73" fmla="*/ 714 h 718"/>
                <a:gd name="T74" fmla="*/ 273 w 811"/>
                <a:gd name="T75" fmla="*/ 707 h 718"/>
                <a:gd name="T76" fmla="*/ 182 w 811"/>
                <a:gd name="T77" fmla="*/ 677 h 718"/>
                <a:gd name="T78" fmla="*/ 137 w 811"/>
                <a:gd name="T79" fmla="*/ 696 h 718"/>
                <a:gd name="T80" fmla="*/ 96 w 811"/>
                <a:gd name="T81" fmla="*/ 711 h 718"/>
                <a:gd name="T82" fmla="*/ 44 w 811"/>
                <a:gd name="T83" fmla="*/ 674 h 718"/>
                <a:gd name="T84" fmla="*/ 26 w 811"/>
                <a:gd name="T85" fmla="*/ 588 h 718"/>
                <a:gd name="T86" fmla="*/ 0 w 811"/>
                <a:gd name="T87" fmla="*/ 559 h 718"/>
                <a:gd name="T88" fmla="*/ 11 w 811"/>
                <a:gd name="T89" fmla="*/ 525 h 718"/>
                <a:gd name="T90" fmla="*/ 48 w 811"/>
                <a:gd name="T91" fmla="*/ 507 h 718"/>
                <a:gd name="T92" fmla="*/ 33 w 811"/>
                <a:gd name="T93" fmla="*/ 466 h 718"/>
                <a:gd name="T94" fmla="*/ 67 w 811"/>
                <a:gd name="T95" fmla="*/ 422 h 718"/>
                <a:gd name="T96" fmla="*/ 59 w 811"/>
                <a:gd name="T97" fmla="*/ 389 h 718"/>
                <a:gd name="T98" fmla="*/ 70 w 811"/>
                <a:gd name="T99" fmla="*/ 360 h 718"/>
                <a:gd name="T100" fmla="*/ 89 w 811"/>
                <a:gd name="T101" fmla="*/ 371 h 718"/>
                <a:gd name="T102" fmla="*/ 104 w 811"/>
                <a:gd name="T103" fmla="*/ 315 h 718"/>
                <a:gd name="T104" fmla="*/ 133 w 811"/>
                <a:gd name="T105" fmla="*/ 274 h 718"/>
                <a:gd name="T106" fmla="*/ 164 w 811"/>
                <a:gd name="T107" fmla="*/ 245 h 718"/>
                <a:gd name="T108" fmla="*/ 194 w 811"/>
                <a:gd name="T109" fmla="*/ 233 h 718"/>
                <a:gd name="T110" fmla="*/ 160 w 811"/>
                <a:gd name="T111" fmla="*/ 185 h 718"/>
                <a:gd name="T112" fmla="*/ 130 w 811"/>
                <a:gd name="T113" fmla="*/ 189 h 718"/>
                <a:gd name="T114" fmla="*/ 93 w 811"/>
                <a:gd name="T115" fmla="*/ 174 h 718"/>
                <a:gd name="T116" fmla="*/ 78 w 811"/>
                <a:gd name="T117" fmla="*/ 170 h 718"/>
                <a:gd name="T118" fmla="*/ 67 w 811"/>
                <a:gd name="T119" fmla="*/ 141 h 718"/>
                <a:gd name="T120" fmla="*/ 41 w 811"/>
                <a:gd name="T121" fmla="*/ 141 h 71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11"/>
                <a:gd name="T184" fmla="*/ 0 h 718"/>
                <a:gd name="T185" fmla="*/ 811 w 811"/>
                <a:gd name="T186" fmla="*/ 718 h 71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11" h="718">
                  <a:moveTo>
                    <a:pt x="41" y="141"/>
                  </a:moveTo>
                  <a:lnTo>
                    <a:pt x="37" y="130"/>
                  </a:lnTo>
                  <a:lnTo>
                    <a:pt x="41" y="115"/>
                  </a:lnTo>
                  <a:lnTo>
                    <a:pt x="63" y="78"/>
                  </a:lnTo>
                  <a:lnTo>
                    <a:pt x="52" y="70"/>
                  </a:lnTo>
                  <a:lnTo>
                    <a:pt x="56" y="59"/>
                  </a:lnTo>
                  <a:lnTo>
                    <a:pt x="44" y="56"/>
                  </a:lnTo>
                  <a:lnTo>
                    <a:pt x="44" y="41"/>
                  </a:lnTo>
                  <a:lnTo>
                    <a:pt x="52" y="30"/>
                  </a:lnTo>
                  <a:lnTo>
                    <a:pt x="89" y="19"/>
                  </a:lnTo>
                  <a:lnTo>
                    <a:pt x="119" y="22"/>
                  </a:lnTo>
                  <a:lnTo>
                    <a:pt x="122" y="11"/>
                  </a:lnTo>
                  <a:lnTo>
                    <a:pt x="145" y="0"/>
                  </a:lnTo>
                  <a:lnTo>
                    <a:pt x="157" y="4"/>
                  </a:lnTo>
                  <a:lnTo>
                    <a:pt x="182" y="37"/>
                  </a:lnTo>
                  <a:lnTo>
                    <a:pt x="223" y="56"/>
                  </a:lnTo>
                  <a:lnTo>
                    <a:pt x="260" y="56"/>
                  </a:lnTo>
                  <a:lnTo>
                    <a:pt x="270" y="59"/>
                  </a:lnTo>
                  <a:lnTo>
                    <a:pt x="369" y="115"/>
                  </a:lnTo>
                  <a:lnTo>
                    <a:pt x="399" y="119"/>
                  </a:lnTo>
                  <a:lnTo>
                    <a:pt x="421" y="141"/>
                  </a:lnTo>
                  <a:lnTo>
                    <a:pt x="454" y="133"/>
                  </a:lnTo>
                  <a:lnTo>
                    <a:pt x="473" y="145"/>
                  </a:lnTo>
                  <a:lnTo>
                    <a:pt x="492" y="163"/>
                  </a:lnTo>
                  <a:lnTo>
                    <a:pt x="514" y="163"/>
                  </a:lnTo>
                  <a:lnTo>
                    <a:pt x="529" y="167"/>
                  </a:lnTo>
                  <a:lnTo>
                    <a:pt x="536" y="174"/>
                  </a:lnTo>
                  <a:lnTo>
                    <a:pt x="529" y="185"/>
                  </a:lnTo>
                  <a:lnTo>
                    <a:pt x="529" y="200"/>
                  </a:lnTo>
                  <a:lnTo>
                    <a:pt x="588" y="241"/>
                  </a:lnTo>
                  <a:lnTo>
                    <a:pt x="621" y="267"/>
                  </a:lnTo>
                  <a:lnTo>
                    <a:pt x="636" y="263"/>
                  </a:lnTo>
                  <a:lnTo>
                    <a:pt x="654" y="259"/>
                  </a:lnTo>
                  <a:lnTo>
                    <a:pt x="711" y="285"/>
                  </a:lnTo>
                  <a:lnTo>
                    <a:pt x="718" y="304"/>
                  </a:lnTo>
                  <a:lnTo>
                    <a:pt x="726" y="311"/>
                  </a:lnTo>
                  <a:lnTo>
                    <a:pt x="744" y="315"/>
                  </a:lnTo>
                  <a:lnTo>
                    <a:pt x="755" y="322"/>
                  </a:lnTo>
                  <a:lnTo>
                    <a:pt x="770" y="322"/>
                  </a:lnTo>
                  <a:lnTo>
                    <a:pt x="785" y="322"/>
                  </a:lnTo>
                  <a:lnTo>
                    <a:pt x="800" y="326"/>
                  </a:lnTo>
                  <a:lnTo>
                    <a:pt x="804" y="322"/>
                  </a:lnTo>
                  <a:lnTo>
                    <a:pt x="811" y="337"/>
                  </a:lnTo>
                  <a:lnTo>
                    <a:pt x="811" y="356"/>
                  </a:lnTo>
                  <a:lnTo>
                    <a:pt x="800" y="367"/>
                  </a:lnTo>
                  <a:lnTo>
                    <a:pt x="741" y="411"/>
                  </a:lnTo>
                  <a:lnTo>
                    <a:pt x="715" y="411"/>
                  </a:lnTo>
                  <a:lnTo>
                    <a:pt x="640" y="429"/>
                  </a:lnTo>
                  <a:lnTo>
                    <a:pt x="614" y="433"/>
                  </a:lnTo>
                  <a:lnTo>
                    <a:pt x="614" y="455"/>
                  </a:lnTo>
                  <a:lnTo>
                    <a:pt x="599" y="455"/>
                  </a:lnTo>
                  <a:lnTo>
                    <a:pt x="584" y="466"/>
                  </a:lnTo>
                  <a:lnTo>
                    <a:pt x="569" y="485"/>
                  </a:lnTo>
                  <a:lnTo>
                    <a:pt x="554" y="499"/>
                  </a:lnTo>
                  <a:lnTo>
                    <a:pt x="536" y="503"/>
                  </a:lnTo>
                  <a:lnTo>
                    <a:pt x="521" y="522"/>
                  </a:lnTo>
                  <a:lnTo>
                    <a:pt x="521" y="548"/>
                  </a:lnTo>
                  <a:lnTo>
                    <a:pt x="532" y="562"/>
                  </a:lnTo>
                  <a:lnTo>
                    <a:pt x="536" y="573"/>
                  </a:lnTo>
                  <a:lnTo>
                    <a:pt x="536" y="592"/>
                  </a:lnTo>
                  <a:lnTo>
                    <a:pt x="532" y="599"/>
                  </a:lnTo>
                  <a:lnTo>
                    <a:pt x="517" y="603"/>
                  </a:lnTo>
                  <a:lnTo>
                    <a:pt x="495" y="622"/>
                  </a:lnTo>
                  <a:lnTo>
                    <a:pt x="466" y="648"/>
                  </a:lnTo>
                  <a:lnTo>
                    <a:pt x="454" y="659"/>
                  </a:lnTo>
                  <a:lnTo>
                    <a:pt x="447" y="666"/>
                  </a:lnTo>
                  <a:lnTo>
                    <a:pt x="447" y="677"/>
                  </a:lnTo>
                  <a:lnTo>
                    <a:pt x="414" y="677"/>
                  </a:lnTo>
                  <a:lnTo>
                    <a:pt x="395" y="681"/>
                  </a:lnTo>
                  <a:lnTo>
                    <a:pt x="380" y="685"/>
                  </a:lnTo>
                  <a:lnTo>
                    <a:pt x="373" y="692"/>
                  </a:lnTo>
                  <a:lnTo>
                    <a:pt x="362" y="707"/>
                  </a:lnTo>
                  <a:lnTo>
                    <a:pt x="343" y="714"/>
                  </a:lnTo>
                  <a:lnTo>
                    <a:pt x="332" y="714"/>
                  </a:lnTo>
                  <a:lnTo>
                    <a:pt x="310" y="711"/>
                  </a:lnTo>
                  <a:lnTo>
                    <a:pt x="273" y="707"/>
                  </a:lnTo>
                  <a:lnTo>
                    <a:pt x="208" y="681"/>
                  </a:lnTo>
                  <a:lnTo>
                    <a:pt x="182" y="677"/>
                  </a:lnTo>
                  <a:lnTo>
                    <a:pt x="157" y="685"/>
                  </a:lnTo>
                  <a:lnTo>
                    <a:pt x="137" y="696"/>
                  </a:lnTo>
                  <a:lnTo>
                    <a:pt x="115" y="699"/>
                  </a:lnTo>
                  <a:lnTo>
                    <a:pt x="96" y="711"/>
                  </a:lnTo>
                  <a:lnTo>
                    <a:pt x="85" y="718"/>
                  </a:lnTo>
                  <a:lnTo>
                    <a:pt x="44" y="674"/>
                  </a:lnTo>
                  <a:lnTo>
                    <a:pt x="44" y="611"/>
                  </a:lnTo>
                  <a:lnTo>
                    <a:pt x="26" y="588"/>
                  </a:lnTo>
                  <a:lnTo>
                    <a:pt x="4" y="570"/>
                  </a:lnTo>
                  <a:lnTo>
                    <a:pt x="0" y="559"/>
                  </a:lnTo>
                  <a:lnTo>
                    <a:pt x="0" y="536"/>
                  </a:lnTo>
                  <a:lnTo>
                    <a:pt x="11" y="525"/>
                  </a:lnTo>
                  <a:lnTo>
                    <a:pt x="41" y="514"/>
                  </a:lnTo>
                  <a:lnTo>
                    <a:pt x="48" y="507"/>
                  </a:lnTo>
                  <a:lnTo>
                    <a:pt x="37" y="492"/>
                  </a:lnTo>
                  <a:lnTo>
                    <a:pt x="33" y="466"/>
                  </a:lnTo>
                  <a:lnTo>
                    <a:pt x="44" y="444"/>
                  </a:lnTo>
                  <a:lnTo>
                    <a:pt x="67" y="422"/>
                  </a:lnTo>
                  <a:lnTo>
                    <a:pt x="67" y="404"/>
                  </a:lnTo>
                  <a:lnTo>
                    <a:pt x="59" y="389"/>
                  </a:lnTo>
                  <a:lnTo>
                    <a:pt x="67" y="363"/>
                  </a:lnTo>
                  <a:lnTo>
                    <a:pt x="70" y="360"/>
                  </a:lnTo>
                  <a:lnTo>
                    <a:pt x="81" y="360"/>
                  </a:lnTo>
                  <a:lnTo>
                    <a:pt x="89" y="371"/>
                  </a:lnTo>
                  <a:lnTo>
                    <a:pt x="100" y="356"/>
                  </a:lnTo>
                  <a:lnTo>
                    <a:pt x="104" y="315"/>
                  </a:lnTo>
                  <a:lnTo>
                    <a:pt x="133" y="289"/>
                  </a:lnTo>
                  <a:lnTo>
                    <a:pt x="133" y="274"/>
                  </a:lnTo>
                  <a:lnTo>
                    <a:pt x="133" y="263"/>
                  </a:lnTo>
                  <a:lnTo>
                    <a:pt x="164" y="245"/>
                  </a:lnTo>
                  <a:lnTo>
                    <a:pt x="186" y="241"/>
                  </a:lnTo>
                  <a:lnTo>
                    <a:pt x="194" y="233"/>
                  </a:lnTo>
                  <a:lnTo>
                    <a:pt x="175" y="215"/>
                  </a:lnTo>
                  <a:lnTo>
                    <a:pt x="160" y="185"/>
                  </a:lnTo>
                  <a:lnTo>
                    <a:pt x="153" y="178"/>
                  </a:lnTo>
                  <a:lnTo>
                    <a:pt x="130" y="189"/>
                  </a:lnTo>
                  <a:lnTo>
                    <a:pt x="115" y="182"/>
                  </a:lnTo>
                  <a:lnTo>
                    <a:pt x="93" y="174"/>
                  </a:lnTo>
                  <a:lnTo>
                    <a:pt x="85" y="178"/>
                  </a:lnTo>
                  <a:lnTo>
                    <a:pt x="78" y="170"/>
                  </a:lnTo>
                  <a:lnTo>
                    <a:pt x="78" y="156"/>
                  </a:lnTo>
                  <a:lnTo>
                    <a:pt x="67" y="141"/>
                  </a:lnTo>
                  <a:lnTo>
                    <a:pt x="59" y="137"/>
                  </a:lnTo>
                  <a:lnTo>
                    <a:pt x="41" y="141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212" name="Freeform 5"/>
            <p:cNvSpPr>
              <a:spLocks/>
            </p:cNvSpPr>
            <p:nvPr/>
          </p:nvSpPr>
          <p:spPr bwMode="auto">
            <a:xfrm>
              <a:off x="1232" y="3554"/>
              <a:ext cx="31" cy="22"/>
            </a:xfrm>
            <a:custGeom>
              <a:avLst/>
              <a:gdLst>
                <a:gd name="T0" fmla="*/ 31 w 31"/>
                <a:gd name="T1" fmla="*/ 0 h 22"/>
                <a:gd name="T2" fmla="*/ 16 w 31"/>
                <a:gd name="T3" fmla="*/ 0 h 22"/>
                <a:gd name="T4" fmla="*/ 0 w 31"/>
                <a:gd name="T5" fmla="*/ 15 h 22"/>
                <a:gd name="T6" fmla="*/ 8 w 31"/>
                <a:gd name="T7" fmla="*/ 22 h 22"/>
                <a:gd name="T8" fmla="*/ 23 w 31"/>
                <a:gd name="T9" fmla="*/ 22 h 22"/>
                <a:gd name="T10" fmla="*/ 31 w 31"/>
                <a:gd name="T11" fmla="*/ 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"/>
                <a:gd name="T19" fmla="*/ 0 h 22"/>
                <a:gd name="T20" fmla="*/ 31 w 31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" h="22">
                  <a:moveTo>
                    <a:pt x="31" y="0"/>
                  </a:moveTo>
                  <a:lnTo>
                    <a:pt x="16" y="0"/>
                  </a:lnTo>
                  <a:lnTo>
                    <a:pt x="0" y="15"/>
                  </a:lnTo>
                  <a:lnTo>
                    <a:pt x="8" y="22"/>
                  </a:lnTo>
                  <a:lnTo>
                    <a:pt x="23" y="22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213" name="Freeform 6"/>
            <p:cNvSpPr>
              <a:spLocks/>
            </p:cNvSpPr>
            <p:nvPr/>
          </p:nvSpPr>
          <p:spPr bwMode="auto">
            <a:xfrm>
              <a:off x="1323" y="3498"/>
              <a:ext cx="71" cy="56"/>
            </a:xfrm>
            <a:custGeom>
              <a:avLst/>
              <a:gdLst>
                <a:gd name="T0" fmla="*/ 52 w 71"/>
                <a:gd name="T1" fmla="*/ 0 h 56"/>
                <a:gd name="T2" fmla="*/ 45 w 71"/>
                <a:gd name="T3" fmla="*/ 7 h 56"/>
                <a:gd name="T4" fmla="*/ 15 w 71"/>
                <a:gd name="T5" fmla="*/ 11 h 56"/>
                <a:gd name="T6" fmla="*/ 0 w 71"/>
                <a:gd name="T7" fmla="*/ 30 h 56"/>
                <a:gd name="T8" fmla="*/ 22 w 71"/>
                <a:gd name="T9" fmla="*/ 45 h 56"/>
                <a:gd name="T10" fmla="*/ 34 w 71"/>
                <a:gd name="T11" fmla="*/ 56 h 56"/>
                <a:gd name="T12" fmla="*/ 56 w 71"/>
                <a:gd name="T13" fmla="*/ 52 h 56"/>
                <a:gd name="T14" fmla="*/ 71 w 71"/>
                <a:gd name="T15" fmla="*/ 45 h 56"/>
                <a:gd name="T16" fmla="*/ 67 w 71"/>
                <a:gd name="T17" fmla="*/ 30 h 56"/>
                <a:gd name="T18" fmla="*/ 56 w 71"/>
                <a:gd name="T19" fmla="*/ 19 h 56"/>
                <a:gd name="T20" fmla="*/ 52 w 71"/>
                <a:gd name="T21" fmla="*/ 0 h 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1"/>
                <a:gd name="T34" fmla="*/ 0 h 56"/>
                <a:gd name="T35" fmla="*/ 71 w 71"/>
                <a:gd name="T36" fmla="*/ 56 h 5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1" h="56">
                  <a:moveTo>
                    <a:pt x="52" y="0"/>
                  </a:moveTo>
                  <a:lnTo>
                    <a:pt x="45" y="7"/>
                  </a:lnTo>
                  <a:lnTo>
                    <a:pt x="15" y="11"/>
                  </a:lnTo>
                  <a:lnTo>
                    <a:pt x="0" y="30"/>
                  </a:lnTo>
                  <a:lnTo>
                    <a:pt x="22" y="45"/>
                  </a:lnTo>
                  <a:lnTo>
                    <a:pt x="34" y="56"/>
                  </a:lnTo>
                  <a:lnTo>
                    <a:pt x="56" y="52"/>
                  </a:lnTo>
                  <a:lnTo>
                    <a:pt x="71" y="45"/>
                  </a:lnTo>
                  <a:lnTo>
                    <a:pt x="67" y="30"/>
                  </a:lnTo>
                  <a:lnTo>
                    <a:pt x="56" y="19"/>
                  </a:lnTo>
                  <a:lnTo>
                    <a:pt x="52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214" name="Freeform 7"/>
            <p:cNvSpPr>
              <a:spLocks/>
            </p:cNvSpPr>
            <p:nvPr/>
          </p:nvSpPr>
          <p:spPr bwMode="auto">
            <a:xfrm>
              <a:off x="1434" y="3502"/>
              <a:ext cx="23" cy="29"/>
            </a:xfrm>
            <a:custGeom>
              <a:avLst/>
              <a:gdLst>
                <a:gd name="T0" fmla="*/ 15 w 23"/>
                <a:gd name="T1" fmla="*/ 0 h 29"/>
                <a:gd name="T2" fmla="*/ 0 w 23"/>
                <a:gd name="T3" fmla="*/ 7 h 29"/>
                <a:gd name="T4" fmla="*/ 12 w 23"/>
                <a:gd name="T5" fmla="*/ 18 h 29"/>
                <a:gd name="T6" fmla="*/ 23 w 23"/>
                <a:gd name="T7" fmla="*/ 29 h 29"/>
                <a:gd name="T8" fmla="*/ 15 w 23"/>
                <a:gd name="T9" fmla="*/ 0 h 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"/>
                <a:gd name="T16" fmla="*/ 0 h 29"/>
                <a:gd name="T17" fmla="*/ 23 w 23"/>
                <a:gd name="T18" fmla="*/ 29 h 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" h="29">
                  <a:moveTo>
                    <a:pt x="15" y="0"/>
                  </a:moveTo>
                  <a:lnTo>
                    <a:pt x="0" y="7"/>
                  </a:lnTo>
                  <a:lnTo>
                    <a:pt x="12" y="18"/>
                  </a:lnTo>
                  <a:lnTo>
                    <a:pt x="23" y="29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</p:grpSp>
      <p:grpSp>
        <p:nvGrpSpPr>
          <p:cNvPr id="152" name="Group 8"/>
          <p:cNvGrpSpPr>
            <a:grpSpLocks/>
          </p:cNvGrpSpPr>
          <p:nvPr/>
        </p:nvGrpSpPr>
        <p:grpSpPr bwMode="auto">
          <a:xfrm>
            <a:off x="6593400" y="4085817"/>
            <a:ext cx="1113016" cy="1468603"/>
            <a:chOff x="1701" y="2980"/>
            <a:chExt cx="737" cy="929"/>
          </a:xfrm>
          <a:solidFill>
            <a:schemeClr val="accent4"/>
          </a:solidFill>
        </p:grpSpPr>
        <p:sp>
          <p:nvSpPr>
            <p:cNvPr id="208" name="Freeform 9"/>
            <p:cNvSpPr>
              <a:spLocks/>
            </p:cNvSpPr>
            <p:nvPr/>
          </p:nvSpPr>
          <p:spPr bwMode="auto">
            <a:xfrm>
              <a:off x="1727" y="3472"/>
              <a:ext cx="119" cy="193"/>
            </a:xfrm>
            <a:custGeom>
              <a:avLst/>
              <a:gdLst>
                <a:gd name="T0" fmla="*/ 71 w 119"/>
                <a:gd name="T1" fmla="*/ 0 h 193"/>
                <a:gd name="T2" fmla="*/ 52 w 119"/>
                <a:gd name="T3" fmla="*/ 11 h 193"/>
                <a:gd name="T4" fmla="*/ 37 w 119"/>
                <a:gd name="T5" fmla="*/ 22 h 193"/>
                <a:gd name="T6" fmla="*/ 22 w 119"/>
                <a:gd name="T7" fmla="*/ 26 h 193"/>
                <a:gd name="T8" fmla="*/ 0 w 119"/>
                <a:gd name="T9" fmla="*/ 22 h 193"/>
                <a:gd name="T10" fmla="*/ 4 w 119"/>
                <a:gd name="T11" fmla="*/ 45 h 193"/>
                <a:gd name="T12" fmla="*/ 15 w 119"/>
                <a:gd name="T13" fmla="*/ 59 h 193"/>
                <a:gd name="T14" fmla="*/ 11 w 119"/>
                <a:gd name="T15" fmla="*/ 97 h 193"/>
                <a:gd name="T16" fmla="*/ 11 w 119"/>
                <a:gd name="T17" fmla="*/ 115 h 193"/>
                <a:gd name="T18" fmla="*/ 15 w 119"/>
                <a:gd name="T19" fmla="*/ 130 h 193"/>
                <a:gd name="T20" fmla="*/ 4 w 119"/>
                <a:gd name="T21" fmla="*/ 160 h 193"/>
                <a:gd name="T22" fmla="*/ 7 w 119"/>
                <a:gd name="T23" fmla="*/ 182 h 193"/>
                <a:gd name="T24" fmla="*/ 22 w 119"/>
                <a:gd name="T25" fmla="*/ 193 h 193"/>
                <a:gd name="T26" fmla="*/ 44 w 119"/>
                <a:gd name="T27" fmla="*/ 178 h 193"/>
                <a:gd name="T28" fmla="*/ 52 w 119"/>
                <a:gd name="T29" fmla="*/ 174 h 193"/>
                <a:gd name="T30" fmla="*/ 75 w 119"/>
                <a:gd name="T31" fmla="*/ 178 h 193"/>
                <a:gd name="T32" fmla="*/ 90 w 119"/>
                <a:gd name="T33" fmla="*/ 163 h 193"/>
                <a:gd name="T34" fmla="*/ 90 w 119"/>
                <a:gd name="T35" fmla="*/ 148 h 193"/>
                <a:gd name="T36" fmla="*/ 108 w 119"/>
                <a:gd name="T37" fmla="*/ 119 h 193"/>
                <a:gd name="T38" fmla="*/ 115 w 119"/>
                <a:gd name="T39" fmla="*/ 100 h 193"/>
                <a:gd name="T40" fmla="*/ 108 w 119"/>
                <a:gd name="T41" fmla="*/ 82 h 193"/>
                <a:gd name="T42" fmla="*/ 119 w 119"/>
                <a:gd name="T43" fmla="*/ 59 h 193"/>
                <a:gd name="T44" fmla="*/ 112 w 119"/>
                <a:gd name="T45" fmla="*/ 26 h 193"/>
                <a:gd name="T46" fmla="*/ 108 w 119"/>
                <a:gd name="T47" fmla="*/ 7 h 193"/>
                <a:gd name="T48" fmla="*/ 71 w 119"/>
                <a:gd name="T49" fmla="*/ 0 h 19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19"/>
                <a:gd name="T76" fmla="*/ 0 h 193"/>
                <a:gd name="T77" fmla="*/ 119 w 119"/>
                <a:gd name="T78" fmla="*/ 193 h 19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19" h="193">
                  <a:moveTo>
                    <a:pt x="71" y="0"/>
                  </a:moveTo>
                  <a:lnTo>
                    <a:pt x="52" y="11"/>
                  </a:lnTo>
                  <a:lnTo>
                    <a:pt x="37" y="22"/>
                  </a:lnTo>
                  <a:lnTo>
                    <a:pt x="22" y="26"/>
                  </a:lnTo>
                  <a:lnTo>
                    <a:pt x="0" y="22"/>
                  </a:lnTo>
                  <a:lnTo>
                    <a:pt x="4" y="45"/>
                  </a:lnTo>
                  <a:lnTo>
                    <a:pt x="15" y="59"/>
                  </a:lnTo>
                  <a:lnTo>
                    <a:pt x="11" y="97"/>
                  </a:lnTo>
                  <a:lnTo>
                    <a:pt x="11" y="115"/>
                  </a:lnTo>
                  <a:lnTo>
                    <a:pt x="15" y="130"/>
                  </a:lnTo>
                  <a:lnTo>
                    <a:pt x="4" y="160"/>
                  </a:lnTo>
                  <a:lnTo>
                    <a:pt x="7" y="182"/>
                  </a:lnTo>
                  <a:lnTo>
                    <a:pt x="22" y="193"/>
                  </a:lnTo>
                  <a:lnTo>
                    <a:pt x="44" y="178"/>
                  </a:lnTo>
                  <a:lnTo>
                    <a:pt x="52" y="174"/>
                  </a:lnTo>
                  <a:lnTo>
                    <a:pt x="75" y="178"/>
                  </a:lnTo>
                  <a:lnTo>
                    <a:pt x="90" y="163"/>
                  </a:lnTo>
                  <a:lnTo>
                    <a:pt x="90" y="148"/>
                  </a:lnTo>
                  <a:lnTo>
                    <a:pt x="108" y="119"/>
                  </a:lnTo>
                  <a:lnTo>
                    <a:pt x="115" y="100"/>
                  </a:lnTo>
                  <a:lnTo>
                    <a:pt x="108" y="82"/>
                  </a:lnTo>
                  <a:lnTo>
                    <a:pt x="119" y="59"/>
                  </a:lnTo>
                  <a:lnTo>
                    <a:pt x="112" y="26"/>
                  </a:lnTo>
                  <a:lnTo>
                    <a:pt x="108" y="7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209" name="Freeform 10"/>
            <p:cNvSpPr>
              <a:spLocks/>
            </p:cNvSpPr>
            <p:nvPr/>
          </p:nvSpPr>
          <p:spPr bwMode="auto">
            <a:xfrm>
              <a:off x="2002" y="3773"/>
              <a:ext cx="216" cy="136"/>
            </a:xfrm>
            <a:custGeom>
              <a:avLst/>
              <a:gdLst>
                <a:gd name="T0" fmla="*/ 205 w 216"/>
                <a:gd name="T1" fmla="*/ 0 h 136"/>
                <a:gd name="T2" fmla="*/ 216 w 216"/>
                <a:gd name="T3" fmla="*/ 11 h 136"/>
                <a:gd name="T4" fmla="*/ 209 w 216"/>
                <a:gd name="T5" fmla="*/ 22 h 136"/>
                <a:gd name="T6" fmla="*/ 201 w 216"/>
                <a:gd name="T7" fmla="*/ 40 h 136"/>
                <a:gd name="T8" fmla="*/ 190 w 216"/>
                <a:gd name="T9" fmla="*/ 51 h 136"/>
                <a:gd name="T10" fmla="*/ 194 w 216"/>
                <a:gd name="T11" fmla="*/ 85 h 136"/>
                <a:gd name="T12" fmla="*/ 201 w 216"/>
                <a:gd name="T13" fmla="*/ 110 h 136"/>
                <a:gd name="T14" fmla="*/ 182 w 216"/>
                <a:gd name="T15" fmla="*/ 121 h 136"/>
                <a:gd name="T16" fmla="*/ 179 w 216"/>
                <a:gd name="T17" fmla="*/ 132 h 136"/>
                <a:gd name="T18" fmla="*/ 164 w 216"/>
                <a:gd name="T19" fmla="*/ 136 h 136"/>
                <a:gd name="T20" fmla="*/ 142 w 216"/>
                <a:gd name="T21" fmla="*/ 114 h 136"/>
                <a:gd name="T22" fmla="*/ 127 w 216"/>
                <a:gd name="T23" fmla="*/ 114 h 136"/>
                <a:gd name="T24" fmla="*/ 115 w 216"/>
                <a:gd name="T25" fmla="*/ 96 h 136"/>
                <a:gd name="T26" fmla="*/ 93 w 216"/>
                <a:gd name="T27" fmla="*/ 85 h 136"/>
                <a:gd name="T28" fmla="*/ 78 w 216"/>
                <a:gd name="T29" fmla="*/ 81 h 136"/>
                <a:gd name="T30" fmla="*/ 63 w 216"/>
                <a:gd name="T31" fmla="*/ 74 h 136"/>
                <a:gd name="T32" fmla="*/ 48 w 216"/>
                <a:gd name="T33" fmla="*/ 62 h 136"/>
                <a:gd name="T34" fmla="*/ 22 w 216"/>
                <a:gd name="T35" fmla="*/ 44 h 136"/>
                <a:gd name="T36" fmla="*/ 11 w 216"/>
                <a:gd name="T37" fmla="*/ 40 h 136"/>
                <a:gd name="T38" fmla="*/ 0 w 216"/>
                <a:gd name="T39" fmla="*/ 29 h 136"/>
                <a:gd name="T40" fmla="*/ 0 w 216"/>
                <a:gd name="T41" fmla="*/ 15 h 136"/>
                <a:gd name="T42" fmla="*/ 4 w 216"/>
                <a:gd name="T43" fmla="*/ 4 h 136"/>
                <a:gd name="T44" fmla="*/ 26 w 216"/>
                <a:gd name="T45" fmla="*/ 7 h 136"/>
                <a:gd name="T46" fmla="*/ 60 w 216"/>
                <a:gd name="T47" fmla="*/ 7 h 136"/>
                <a:gd name="T48" fmla="*/ 67 w 216"/>
                <a:gd name="T49" fmla="*/ 18 h 136"/>
                <a:gd name="T50" fmla="*/ 104 w 216"/>
                <a:gd name="T51" fmla="*/ 18 h 136"/>
                <a:gd name="T52" fmla="*/ 130 w 216"/>
                <a:gd name="T53" fmla="*/ 18 h 136"/>
                <a:gd name="T54" fmla="*/ 164 w 216"/>
                <a:gd name="T55" fmla="*/ 11 h 136"/>
                <a:gd name="T56" fmla="*/ 205 w 216"/>
                <a:gd name="T57" fmla="*/ 0 h 1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16"/>
                <a:gd name="T88" fmla="*/ 0 h 136"/>
                <a:gd name="T89" fmla="*/ 216 w 216"/>
                <a:gd name="T90" fmla="*/ 136 h 1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16" h="136">
                  <a:moveTo>
                    <a:pt x="205" y="0"/>
                  </a:moveTo>
                  <a:lnTo>
                    <a:pt x="216" y="11"/>
                  </a:lnTo>
                  <a:lnTo>
                    <a:pt x="209" y="22"/>
                  </a:lnTo>
                  <a:lnTo>
                    <a:pt x="201" y="40"/>
                  </a:lnTo>
                  <a:lnTo>
                    <a:pt x="190" y="51"/>
                  </a:lnTo>
                  <a:lnTo>
                    <a:pt x="194" y="85"/>
                  </a:lnTo>
                  <a:lnTo>
                    <a:pt x="201" y="110"/>
                  </a:lnTo>
                  <a:lnTo>
                    <a:pt x="182" y="121"/>
                  </a:lnTo>
                  <a:lnTo>
                    <a:pt x="179" y="132"/>
                  </a:lnTo>
                  <a:lnTo>
                    <a:pt x="164" y="136"/>
                  </a:lnTo>
                  <a:lnTo>
                    <a:pt x="142" y="114"/>
                  </a:lnTo>
                  <a:lnTo>
                    <a:pt x="127" y="114"/>
                  </a:lnTo>
                  <a:lnTo>
                    <a:pt x="115" y="96"/>
                  </a:lnTo>
                  <a:lnTo>
                    <a:pt x="93" y="85"/>
                  </a:lnTo>
                  <a:lnTo>
                    <a:pt x="78" y="81"/>
                  </a:lnTo>
                  <a:lnTo>
                    <a:pt x="63" y="74"/>
                  </a:lnTo>
                  <a:lnTo>
                    <a:pt x="48" y="62"/>
                  </a:lnTo>
                  <a:lnTo>
                    <a:pt x="22" y="44"/>
                  </a:lnTo>
                  <a:lnTo>
                    <a:pt x="11" y="40"/>
                  </a:lnTo>
                  <a:lnTo>
                    <a:pt x="0" y="29"/>
                  </a:lnTo>
                  <a:lnTo>
                    <a:pt x="0" y="15"/>
                  </a:lnTo>
                  <a:lnTo>
                    <a:pt x="4" y="4"/>
                  </a:lnTo>
                  <a:lnTo>
                    <a:pt x="26" y="7"/>
                  </a:lnTo>
                  <a:lnTo>
                    <a:pt x="60" y="7"/>
                  </a:lnTo>
                  <a:lnTo>
                    <a:pt x="67" y="18"/>
                  </a:lnTo>
                  <a:lnTo>
                    <a:pt x="104" y="18"/>
                  </a:lnTo>
                  <a:lnTo>
                    <a:pt x="130" y="18"/>
                  </a:lnTo>
                  <a:lnTo>
                    <a:pt x="164" y="11"/>
                  </a:lnTo>
                  <a:lnTo>
                    <a:pt x="20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210" name="Freeform 11"/>
            <p:cNvSpPr>
              <a:spLocks/>
            </p:cNvSpPr>
            <p:nvPr/>
          </p:nvSpPr>
          <p:spPr bwMode="auto">
            <a:xfrm>
              <a:off x="1701" y="2980"/>
              <a:ext cx="737" cy="830"/>
            </a:xfrm>
            <a:custGeom>
              <a:avLst/>
              <a:gdLst>
                <a:gd name="T0" fmla="*/ 564 w 737"/>
                <a:gd name="T1" fmla="*/ 819 h 830"/>
                <a:gd name="T2" fmla="*/ 609 w 737"/>
                <a:gd name="T3" fmla="*/ 741 h 830"/>
                <a:gd name="T4" fmla="*/ 628 w 737"/>
                <a:gd name="T5" fmla="*/ 715 h 830"/>
                <a:gd name="T6" fmla="*/ 613 w 737"/>
                <a:gd name="T7" fmla="*/ 678 h 830"/>
                <a:gd name="T8" fmla="*/ 594 w 737"/>
                <a:gd name="T9" fmla="*/ 674 h 830"/>
                <a:gd name="T10" fmla="*/ 609 w 737"/>
                <a:gd name="T11" fmla="*/ 645 h 830"/>
                <a:gd name="T12" fmla="*/ 632 w 737"/>
                <a:gd name="T13" fmla="*/ 604 h 830"/>
                <a:gd name="T14" fmla="*/ 702 w 737"/>
                <a:gd name="T15" fmla="*/ 652 h 830"/>
                <a:gd name="T16" fmla="*/ 731 w 737"/>
                <a:gd name="T17" fmla="*/ 652 h 830"/>
                <a:gd name="T18" fmla="*/ 709 w 737"/>
                <a:gd name="T19" fmla="*/ 596 h 830"/>
                <a:gd name="T20" fmla="*/ 687 w 737"/>
                <a:gd name="T21" fmla="*/ 593 h 830"/>
                <a:gd name="T22" fmla="*/ 609 w 737"/>
                <a:gd name="T23" fmla="*/ 530 h 830"/>
                <a:gd name="T24" fmla="*/ 560 w 737"/>
                <a:gd name="T25" fmla="*/ 496 h 830"/>
                <a:gd name="T26" fmla="*/ 564 w 737"/>
                <a:gd name="T27" fmla="*/ 474 h 830"/>
                <a:gd name="T28" fmla="*/ 490 w 737"/>
                <a:gd name="T29" fmla="*/ 440 h 830"/>
                <a:gd name="T30" fmla="*/ 457 w 737"/>
                <a:gd name="T31" fmla="*/ 411 h 830"/>
                <a:gd name="T32" fmla="*/ 379 w 737"/>
                <a:gd name="T33" fmla="*/ 293 h 830"/>
                <a:gd name="T34" fmla="*/ 364 w 737"/>
                <a:gd name="T35" fmla="*/ 200 h 830"/>
                <a:gd name="T36" fmla="*/ 342 w 737"/>
                <a:gd name="T37" fmla="*/ 163 h 830"/>
                <a:gd name="T38" fmla="*/ 405 w 737"/>
                <a:gd name="T39" fmla="*/ 134 h 830"/>
                <a:gd name="T40" fmla="*/ 434 w 737"/>
                <a:gd name="T41" fmla="*/ 70 h 830"/>
                <a:gd name="T42" fmla="*/ 368 w 737"/>
                <a:gd name="T43" fmla="*/ 41 h 830"/>
                <a:gd name="T44" fmla="*/ 357 w 737"/>
                <a:gd name="T45" fmla="*/ 15 h 830"/>
                <a:gd name="T46" fmla="*/ 264 w 737"/>
                <a:gd name="T47" fmla="*/ 4 h 830"/>
                <a:gd name="T48" fmla="*/ 220 w 737"/>
                <a:gd name="T49" fmla="*/ 52 h 830"/>
                <a:gd name="T50" fmla="*/ 182 w 737"/>
                <a:gd name="T51" fmla="*/ 48 h 830"/>
                <a:gd name="T52" fmla="*/ 134 w 737"/>
                <a:gd name="T53" fmla="*/ 63 h 830"/>
                <a:gd name="T54" fmla="*/ 116 w 737"/>
                <a:gd name="T55" fmla="*/ 30 h 830"/>
                <a:gd name="T56" fmla="*/ 90 w 737"/>
                <a:gd name="T57" fmla="*/ 59 h 830"/>
                <a:gd name="T58" fmla="*/ 22 w 737"/>
                <a:gd name="T59" fmla="*/ 85 h 830"/>
                <a:gd name="T60" fmla="*/ 7 w 737"/>
                <a:gd name="T61" fmla="*/ 137 h 830"/>
                <a:gd name="T62" fmla="*/ 0 w 737"/>
                <a:gd name="T63" fmla="*/ 189 h 830"/>
                <a:gd name="T64" fmla="*/ 30 w 737"/>
                <a:gd name="T65" fmla="*/ 208 h 830"/>
                <a:gd name="T66" fmla="*/ 52 w 737"/>
                <a:gd name="T67" fmla="*/ 249 h 830"/>
                <a:gd name="T68" fmla="*/ 123 w 737"/>
                <a:gd name="T69" fmla="*/ 211 h 830"/>
                <a:gd name="T70" fmla="*/ 190 w 737"/>
                <a:gd name="T71" fmla="*/ 271 h 830"/>
                <a:gd name="T72" fmla="*/ 220 w 737"/>
                <a:gd name="T73" fmla="*/ 352 h 830"/>
                <a:gd name="T74" fmla="*/ 271 w 737"/>
                <a:gd name="T75" fmla="*/ 397 h 830"/>
                <a:gd name="T76" fmla="*/ 338 w 737"/>
                <a:gd name="T77" fmla="*/ 478 h 830"/>
                <a:gd name="T78" fmla="*/ 442 w 737"/>
                <a:gd name="T79" fmla="*/ 555 h 830"/>
                <a:gd name="T80" fmla="*/ 475 w 737"/>
                <a:gd name="T81" fmla="*/ 578 h 830"/>
                <a:gd name="T82" fmla="*/ 501 w 737"/>
                <a:gd name="T83" fmla="*/ 630 h 830"/>
                <a:gd name="T84" fmla="*/ 542 w 737"/>
                <a:gd name="T85" fmla="*/ 645 h 830"/>
                <a:gd name="T86" fmla="*/ 557 w 737"/>
                <a:gd name="T87" fmla="*/ 711 h 830"/>
                <a:gd name="T88" fmla="*/ 545 w 737"/>
                <a:gd name="T89" fmla="*/ 760 h 830"/>
                <a:gd name="T90" fmla="*/ 534 w 737"/>
                <a:gd name="T91" fmla="*/ 819 h 8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37"/>
                <a:gd name="T139" fmla="*/ 0 h 830"/>
                <a:gd name="T140" fmla="*/ 737 w 737"/>
                <a:gd name="T141" fmla="*/ 830 h 83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37" h="830">
                  <a:moveTo>
                    <a:pt x="534" y="819"/>
                  </a:moveTo>
                  <a:lnTo>
                    <a:pt x="545" y="830"/>
                  </a:lnTo>
                  <a:lnTo>
                    <a:pt x="564" y="819"/>
                  </a:lnTo>
                  <a:lnTo>
                    <a:pt x="586" y="789"/>
                  </a:lnTo>
                  <a:lnTo>
                    <a:pt x="597" y="745"/>
                  </a:lnTo>
                  <a:lnTo>
                    <a:pt x="609" y="741"/>
                  </a:lnTo>
                  <a:lnTo>
                    <a:pt x="617" y="748"/>
                  </a:lnTo>
                  <a:lnTo>
                    <a:pt x="632" y="734"/>
                  </a:lnTo>
                  <a:lnTo>
                    <a:pt x="628" y="715"/>
                  </a:lnTo>
                  <a:lnTo>
                    <a:pt x="635" y="700"/>
                  </a:lnTo>
                  <a:lnTo>
                    <a:pt x="632" y="693"/>
                  </a:lnTo>
                  <a:lnTo>
                    <a:pt x="613" y="678"/>
                  </a:lnTo>
                  <a:lnTo>
                    <a:pt x="606" y="678"/>
                  </a:lnTo>
                  <a:lnTo>
                    <a:pt x="609" y="670"/>
                  </a:lnTo>
                  <a:lnTo>
                    <a:pt x="594" y="674"/>
                  </a:lnTo>
                  <a:lnTo>
                    <a:pt x="586" y="667"/>
                  </a:lnTo>
                  <a:lnTo>
                    <a:pt x="586" y="659"/>
                  </a:lnTo>
                  <a:lnTo>
                    <a:pt x="609" y="645"/>
                  </a:lnTo>
                  <a:lnTo>
                    <a:pt x="620" y="630"/>
                  </a:lnTo>
                  <a:lnTo>
                    <a:pt x="620" y="607"/>
                  </a:lnTo>
                  <a:lnTo>
                    <a:pt x="632" y="604"/>
                  </a:lnTo>
                  <a:lnTo>
                    <a:pt x="669" y="622"/>
                  </a:lnTo>
                  <a:lnTo>
                    <a:pt x="683" y="626"/>
                  </a:lnTo>
                  <a:lnTo>
                    <a:pt x="702" y="652"/>
                  </a:lnTo>
                  <a:lnTo>
                    <a:pt x="709" y="667"/>
                  </a:lnTo>
                  <a:lnTo>
                    <a:pt x="720" y="667"/>
                  </a:lnTo>
                  <a:lnTo>
                    <a:pt x="731" y="652"/>
                  </a:lnTo>
                  <a:lnTo>
                    <a:pt x="737" y="637"/>
                  </a:lnTo>
                  <a:lnTo>
                    <a:pt x="724" y="611"/>
                  </a:lnTo>
                  <a:lnTo>
                    <a:pt x="709" y="596"/>
                  </a:lnTo>
                  <a:lnTo>
                    <a:pt x="695" y="596"/>
                  </a:lnTo>
                  <a:lnTo>
                    <a:pt x="695" y="593"/>
                  </a:lnTo>
                  <a:lnTo>
                    <a:pt x="687" y="593"/>
                  </a:lnTo>
                  <a:lnTo>
                    <a:pt x="650" y="555"/>
                  </a:lnTo>
                  <a:lnTo>
                    <a:pt x="632" y="559"/>
                  </a:lnTo>
                  <a:lnTo>
                    <a:pt x="609" y="530"/>
                  </a:lnTo>
                  <a:lnTo>
                    <a:pt x="594" y="526"/>
                  </a:lnTo>
                  <a:lnTo>
                    <a:pt x="571" y="504"/>
                  </a:lnTo>
                  <a:lnTo>
                    <a:pt x="560" y="496"/>
                  </a:lnTo>
                  <a:lnTo>
                    <a:pt x="568" y="489"/>
                  </a:lnTo>
                  <a:lnTo>
                    <a:pt x="579" y="485"/>
                  </a:lnTo>
                  <a:lnTo>
                    <a:pt x="564" y="474"/>
                  </a:lnTo>
                  <a:lnTo>
                    <a:pt x="545" y="481"/>
                  </a:lnTo>
                  <a:lnTo>
                    <a:pt x="531" y="474"/>
                  </a:lnTo>
                  <a:lnTo>
                    <a:pt x="490" y="440"/>
                  </a:lnTo>
                  <a:lnTo>
                    <a:pt x="486" y="426"/>
                  </a:lnTo>
                  <a:lnTo>
                    <a:pt x="471" y="422"/>
                  </a:lnTo>
                  <a:lnTo>
                    <a:pt x="457" y="411"/>
                  </a:lnTo>
                  <a:lnTo>
                    <a:pt x="419" y="330"/>
                  </a:lnTo>
                  <a:lnTo>
                    <a:pt x="408" y="319"/>
                  </a:lnTo>
                  <a:lnTo>
                    <a:pt x="379" y="293"/>
                  </a:lnTo>
                  <a:lnTo>
                    <a:pt x="345" y="241"/>
                  </a:lnTo>
                  <a:lnTo>
                    <a:pt x="345" y="211"/>
                  </a:lnTo>
                  <a:lnTo>
                    <a:pt x="364" y="200"/>
                  </a:lnTo>
                  <a:lnTo>
                    <a:pt x="364" y="185"/>
                  </a:lnTo>
                  <a:lnTo>
                    <a:pt x="349" y="171"/>
                  </a:lnTo>
                  <a:lnTo>
                    <a:pt x="342" y="163"/>
                  </a:lnTo>
                  <a:lnTo>
                    <a:pt x="345" y="152"/>
                  </a:lnTo>
                  <a:lnTo>
                    <a:pt x="360" y="145"/>
                  </a:lnTo>
                  <a:lnTo>
                    <a:pt x="405" y="134"/>
                  </a:lnTo>
                  <a:lnTo>
                    <a:pt x="423" y="122"/>
                  </a:lnTo>
                  <a:lnTo>
                    <a:pt x="438" y="108"/>
                  </a:lnTo>
                  <a:lnTo>
                    <a:pt x="434" y="70"/>
                  </a:lnTo>
                  <a:lnTo>
                    <a:pt x="438" y="56"/>
                  </a:lnTo>
                  <a:lnTo>
                    <a:pt x="416" y="52"/>
                  </a:lnTo>
                  <a:lnTo>
                    <a:pt x="368" y="41"/>
                  </a:lnTo>
                  <a:lnTo>
                    <a:pt x="360" y="30"/>
                  </a:lnTo>
                  <a:lnTo>
                    <a:pt x="357" y="26"/>
                  </a:lnTo>
                  <a:lnTo>
                    <a:pt x="357" y="15"/>
                  </a:lnTo>
                  <a:lnTo>
                    <a:pt x="353" y="4"/>
                  </a:lnTo>
                  <a:lnTo>
                    <a:pt x="327" y="0"/>
                  </a:lnTo>
                  <a:lnTo>
                    <a:pt x="264" y="4"/>
                  </a:lnTo>
                  <a:lnTo>
                    <a:pt x="257" y="19"/>
                  </a:lnTo>
                  <a:lnTo>
                    <a:pt x="234" y="22"/>
                  </a:lnTo>
                  <a:lnTo>
                    <a:pt x="220" y="52"/>
                  </a:lnTo>
                  <a:lnTo>
                    <a:pt x="220" y="63"/>
                  </a:lnTo>
                  <a:lnTo>
                    <a:pt x="205" y="52"/>
                  </a:lnTo>
                  <a:lnTo>
                    <a:pt x="182" y="48"/>
                  </a:lnTo>
                  <a:lnTo>
                    <a:pt x="168" y="56"/>
                  </a:lnTo>
                  <a:lnTo>
                    <a:pt x="157" y="78"/>
                  </a:lnTo>
                  <a:lnTo>
                    <a:pt x="134" y="63"/>
                  </a:lnTo>
                  <a:lnTo>
                    <a:pt x="138" y="41"/>
                  </a:lnTo>
                  <a:lnTo>
                    <a:pt x="131" y="26"/>
                  </a:lnTo>
                  <a:lnTo>
                    <a:pt x="116" y="30"/>
                  </a:lnTo>
                  <a:lnTo>
                    <a:pt x="112" y="48"/>
                  </a:lnTo>
                  <a:lnTo>
                    <a:pt x="101" y="59"/>
                  </a:lnTo>
                  <a:lnTo>
                    <a:pt x="90" y="59"/>
                  </a:lnTo>
                  <a:lnTo>
                    <a:pt x="37" y="52"/>
                  </a:lnTo>
                  <a:lnTo>
                    <a:pt x="19" y="67"/>
                  </a:lnTo>
                  <a:lnTo>
                    <a:pt x="22" y="85"/>
                  </a:lnTo>
                  <a:lnTo>
                    <a:pt x="26" y="100"/>
                  </a:lnTo>
                  <a:lnTo>
                    <a:pt x="0" y="122"/>
                  </a:lnTo>
                  <a:lnTo>
                    <a:pt x="7" y="137"/>
                  </a:lnTo>
                  <a:lnTo>
                    <a:pt x="15" y="145"/>
                  </a:lnTo>
                  <a:lnTo>
                    <a:pt x="0" y="163"/>
                  </a:lnTo>
                  <a:lnTo>
                    <a:pt x="0" y="189"/>
                  </a:lnTo>
                  <a:lnTo>
                    <a:pt x="7" y="200"/>
                  </a:lnTo>
                  <a:lnTo>
                    <a:pt x="22" y="200"/>
                  </a:lnTo>
                  <a:lnTo>
                    <a:pt x="30" y="208"/>
                  </a:lnTo>
                  <a:lnTo>
                    <a:pt x="37" y="226"/>
                  </a:lnTo>
                  <a:lnTo>
                    <a:pt x="37" y="245"/>
                  </a:lnTo>
                  <a:lnTo>
                    <a:pt x="52" y="249"/>
                  </a:lnTo>
                  <a:lnTo>
                    <a:pt x="63" y="245"/>
                  </a:lnTo>
                  <a:lnTo>
                    <a:pt x="105" y="204"/>
                  </a:lnTo>
                  <a:lnTo>
                    <a:pt x="123" y="211"/>
                  </a:lnTo>
                  <a:lnTo>
                    <a:pt x="160" y="230"/>
                  </a:lnTo>
                  <a:lnTo>
                    <a:pt x="186" y="249"/>
                  </a:lnTo>
                  <a:lnTo>
                    <a:pt x="190" y="271"/>
                  </a:lnTo>
                  <a:lnTo>
                    <a:pt x="205" y="286"/>
                  </a:lnTo>
                  <a:lnTo>
                    <a:pt x="212" y="312"/>
                  </a:lnTo>
                  <a:lnTo>
                    <a:pt x="220" y="352"/>
                  </a:lnTo>
                  <a:lnTo>
                    <a:pt x="231" y="371"/>
                  </a:lnTo>
                  <a:lnTo>
                    <a:pt x="245" y="387"/>
                  </a:lnTo>
                  <a:lnTo>
                    <a:pt x="271" y="397"/>
                  </a:lnTo>
                  <a:lnTo>
                    <a:pt x="294" y="433"/>
                  </a:lnTo>
                  <a:lnTo>
                    <a:pt x="316" y="463"/>
                  </a:lnTo>
                  <a:lnTo>
                    <a:pt x="338" y="478"/>
                  </a:lnTo>
                  <a:lnTo>
                    <a:pt x="379" y="526"/>
                  </a:lnTo>
                  <a:lnTo>
                    <a:pt x="408" y="526"/>
                  </a:lnTo>
                  <a:lnTo>
                    <a:pt x="442" y="555"/>
                  </a:lnTo>
                  <a:lnTo>
                    <a:pt x="442" y="585"/>
                  </a:lnTo>
                  <a:lnTo>
                    <a:pt x="453" y="593"/>
                  </a:lnTo>
                  <a:lnTo>
                    <a:pt x="475" y="578"/>
                  </a:lnTo>
                  <a:lnTo>
                    <a:pt x="479" y="593"/>
                  </a:lnTo>
                  <a:lnTo>
                    <a:pt x="479" y="611"/>
                  </a:lnTo>
                  <a:lnTo>
                    <a:pt x="501" y="630"/>
                  </a:lnTo>
                  <a:lnTo>
                    <a:pt x="508" y="641"/>
                  </a:lnTo>
                  <a:lnTo>
                    <a:pt x="538" y="633"/>
                  </a:lnTo>
                  <a:lnTo>
                    <a:pt x="542" y="645"/>
                  </a:lnTo>
                  <a:lnTo>
                    <a:pt x="538" y="670"/>
                  </a:lnTo>
                  <a:lnTo>
                    <a:pt x="553" y="693"/>
                  </a:lnTo>
                  <a:lnTo>
                    <a:pt x="557" y="711"/>
                  </a:lnTo>
                  <a:lnTo>
                    <a:pt x="564" y="730"/>
                  </a:lnTo>
                  <a:lnTo>
                    <a:pt x="560" y="745"/>
                  </a:lnTo>
                  <a:lnTo>
                    <a:pt x="545" y="760"/>
                  </a:lnTo>
                  <a:lnTo>
                    <a:pt x="542" y="778"/>
                  </a:lnTo>
                  <a:lnTo>
                    <a:pt x="531" y="800"/>
                  </a:lnTo>
                  <a:lnTo>
                    <a:pt x="534" y="819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</p:grpSp>
      <p:sp>
        <p:nvSpPr>
          <p:cNvPr id="153" name="Freeform 12"/>
          <p:cNvSpPr>
            <a:spLocks/>
          </p:cNvSpPr>
          <p:nvPr/>
        </p:nvSpPr>
        <p:spPr bwMode="auto">
          <a:xfrm>
            <a:off x="6539033" y="3900858"/>
            <a:ext cx="450039" cy="306684"/>
          </a:xfrm>
          <a:custGeom>
            <a:avLst/>
            <a:gdLst>
              <a:gd name="T0" fmla="*/ 2147483647 w 298"/>
              <a:gd name="T1" fmla="*/ 2147483647 h 194"/>
              <a:gd name="T2" fmla="*/ 2147483647 w 298"/>
              <a:gd name="T3" fmla="*/ 2147483647 h 194"/>
              <a:gd name="T4" fmla="*/ 2147483647 w 298"/>
              <a:gd name="T5" fmla="*/ 2147483647 h 194"/>
              <a:gd name="T6" fmla="*/ 2147483647 w 298"/>
              <a:gd name="T7" fmla="*/ 2147483647 h 194"/>
              <a:gd name="T8" fmla="*/ 2147483647 w 298"/>
              <a:gd name="T9" fmla="*/ 0 h 194"/>
              <a:gd name="T10" fmla="*/ 2147483647 w 298"/>
              <a:gd name="T11" fmla="*/ 2147483647 h 194"/>
              <a:gd name="T12" fmla="*/ 2147483647 w 298"/>
              <a:gd name="T13" fmla="*/ 2147483647 h 194"/>
              <a:gd name="T14" fmla="*/ 2147483647 w 298"/>
              <a:gd name="T15" fmla="*/ 2147483647 h 194"/>
              <a:gd name="T16" fmla="*/ 2147483647 w 298"/>
              <a:gd name="T17" fmla="*/ 2147483647 h 194"/>
              <a:gd name="T18" fmla="*/ 2147483647 w 298"/>
              <a:gd name="T19" fmla="*/ 2147483647 h 194"/>
              <a:gd name="T20" fmla="*/ 2147483647 w 298"/>
              <a:gd name="T21" fmla="*/ 2147483647 h 194"/>
              <a:gd name="T22" fmla="*/ 2147483647 w 298"/>
              <a:gd name="T23" fmla="*/ 2147483647 h 194"/>
              <a:gd name="T24" fmla="*/ 2147483647 w 298"/>
              <a:gd name="T25" fmla="*/ 2147483647 h 194"/>
              <a:gd name="T26" fmla="*/ 2147483647 w 298"/>
              <a:gd name="T27" fmla="*/ 2147483647 h 194"/>
              <a:gd name="T28" fmla="*/ 2147483647 w 298"/>
              <a:gd name="T29" fmla="*/ 2147483647 h 194"/>
              <a:gd name="T30" fmla="*/ 2147483647 w 298"/>
              <a:gd name="T31" fmla="*/ 2147483647 h 194"/>
              <a:gd name="T32" fmla="*/ 0 w 298"/>
              <a:gd name="T33" fmla="*/ 2147483647 h 194"/>
              <a:gd name="T34" fmla="*/ 2147483647 w 298"/>
              <a:gd name="T35" fmla="*/ 2147483647 h 194"/>
              <a:gd name="T36" fmla="*/ 2147483647 w 298"/>
              <a:gd name="T37" fmla="*/ 2147483647 h 194"/>
              <a:gd name="T38" fmla="*/ 2147483647 w 298"/>
              <a:gd name="T39" fmla="*/ 2147483647 h 194"/>
              <a:gd name="T40" fmla="*/ 2147483647 w 298"/>
              <a:gd name="T41" fmla="*/ 2147483647 h 194"/>
              <a:gd name="T42" fmla="*/ 2147483647 w 298"/>
              <a:gd name="T43" fmla="*/ 2147483647 h 194"/>
              <a:gd name="T44" fmla="*/ 2147483647 w 298"/>
              <a:gd name="T45" fmla="*/ 2147483647 h 194"/>
              <a:gd name="T46" fmla="*/ 2147483647 w 298"/>
              <a:gd name="T47" fmla="*/ 2147483647 h 194"/>
              <a:gd name="T48" fmla="*/ 2147483647 w 298"/>
              <a:gd name="T49" fmla="*/ 2147483647 h 194"/>
              <a:gd name="T50" fmla="*/ 2147483647 w 298"/>
              <a:gd name="T51" fmla="*/ 2147483647 h 194"/>
              <a:gd name="T52" fmla="*/ 2147483647 w 298"/>
              <a:gd name="T53" fmla="*/ 2147483647 h 194"/>
              <a:gd name="T54" fmla="*/ 2147483647 w 298"/>
              <a:gd name="T55" fmla="*/ 2147483647 h 194"/>
              <a:gd name="T56" fmla="*/ 2147483647 w 298"/>
              <a:gd name="T57" fmla="*/ 2147483647 h 194"/>
              <a:gd name="T58" fmla="*/ 2147483647 w 298"/>
              <a:gd name="T59" fmla="*/ 2147483647 h 194"/>
              <a:gd name="T60" fmla="*/ 2147483647 w 298"/>
              <a:gd name="T61" fmla="*/ 2147483647 h 194"/>
              <a:gd name="T62" fmla="*/ 2147483647 w 298"/>
              <a:gd name="T63" fmla="*/ 2147483647 h 194"/>
              <a:gd name="T64" fmla="*/ 2147483647 w 298"/>
              <a:gd name="T65" fmla="*/ 2147483647 h 194"/>
              <a:gd name="T66" fmla="*/ 2147483647 w 298"/>
              <a:gd name="T67" fmla="*/ 2147483647 h 194"/>
              <a:gd name="T68" fmla="*/ 2147483647 w 298"/>
              <a:gd name="T69" fmla="*/ 2147483647 h 194"/>
              <a:gd name="T70" fmla="*/ 2147483647 w 298"/>
              <a:gd name="T71" fmla="*/ 2147483647 h 194"/>
              <a:gd name="T72" fmla="*/ 2147483647 w 298"/>
              <a:gd name="T73" fmla="*/ 2147483647 h 194"/>
              <a:gd name="T74" fmla="*/ 2147483647 w 298"/>
              <a:gd name="T75" fmla="*/ 2147483647 h 194"/>
              <a:gd name="T76" fmla="*/ 2147483647 w 298"/>
              <a:gd name="T77" fmla="*/ 2147483647 h 194"/>
              <a:gd name="T78" fmla="*/ 2147483647 w 298"/>
              <a:gd name="T79" fmla="*/ 2147483647 h 194"/>
              <a:gd name="T80" fmla="*/ 2147483647 w 298"/>
              <a:gd name="T81" fmla="*/ 2147483647 h 194"/>
              <a:gd name="T82" fmla="*/ 2147483647 w 298"/>
              <a:gd name="T83" fmla="*/ 2147483647 h 194"/>
              <a:gd name="T84" fmla="*/ 2147483647 w 298"/>
              <a:gd name="T85" fmla="*/ 2147483647 h 194"/>
              <a:gd name="T86" fmla="*/ 2147483647 w 298"/>
              <a:gd name="T87" fmla="*/ 2147483647 h 194"/>
              <a:gd name="T88" fmla="*/ 2147483647 w 298"/>
              <a:gd name="T89" fmla="*/ 2147483647 h 194"/>
              <a:gd name="T90" fmla="*/ 2147483647 w 298"/>
              <a:gd name="T91" fmla="*/ 2147483647 h 194"/>
              <a:gd name="T92" fmla="*/ 2147483647 w 298"/>
              <a:gd name="T93" fmla="*/ 2147483647 h 194"/>
              <a:gd name="T94" fmla="*/ 2147483647 w 298"/>
              <a:gd name="T95" fmla="*/ 2147483647 h 194"/>
              <a:gd name="T96" fmla="*/ 2147483647 w 298"/>
              <a:gd name="T97" fmla="*/ 2147483647 h 194"/>
              <a:gd name="T98" fmla="*/ 2147483647 w 298"/>
              <a:gd name="T99" fmla="*/ 2147483647 h 194"/>
              <a:gd name="T100" fmla="*/ 2147483647 w 298"/>
              <a:gd name="T101" fmla="*/ 2147483647 h 194"/>
              <a:gd name="T102" fmla="*/ 2147483647 w 298"/>
              <a:gd name="T103" fmla="*/ 2147483647 h 194"/>
              <a:gd name="T104" fmla="*/ 2147483647 w 298"/>
              <a:gd name="T105" fmla="*/ 2147483647 h 194"/>
              <a:gd name="T106" fmla="*/ 2147483647 w 298"/>
              <a:gd name="T107" fmla="*/ 2147483647 h 194"/>
              <a:gd name="T108" fmla="*/ 2147483647 w 298"/>
              <a:gd name="T109" fmla="*/ 2147483647 h 194"/>
              <a:gd name="T110" fmla="*/ 2147483647 w 298"/>
              <a:gd name="T111" fmla="*/ 2147483647 h 194"/>
              <a:gd name="T112" fmla="*/ 2147483647 w 298"/>
              <a:gd name="T113" fmla="*/ 2147483647 h 194"/>
              <a:gd name="T114" fmla="*/ 2147483647 w 298"/>
              <a:gd name="T115" fmla="*/ 2147483647 h 194"/>
              <a:gd name="T116" fmla="*/ 2147483647 w 298"/>
              <a:gd name="T117" fmla="*/ 2147483647 h 194"/>
              <a:gd name="T118" fmla="*/ 2147483647 w 298"/>
              <a:gd name="T119" fmla="*/ 2147483647 h 19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98"/>
              <a:gd name="T181" fmla="*/ 0 h 194"/>
              <a:gd name="T182" fmla="*/ 298 w 298"/>
              <a:gd name="T183" fmla="*/ 194 h 19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98" h="194">
                <a:moveTo>
                  <a:pt x="157" y="37"/>
                </a:moveTo>
                <a:lnTo>
                  <a:pt x="142" y="24"/>
                </a:lnTo>
                <a:lnTo>
                  <a:pt x="144" y="19"/>
                </a:lnTo>
                <a:lnTo>
                  <a:pt x="135" y="11"/>
                </a:lnTo>
                <a:lnTo>
                  <a:pt x="127" y="0"/>
                </a:lnTo>
                <a:lnTo>
                  <a:pt x="117" y="11"/>
                </a:lnTo>
                <a:lnTo>
                  <a:pt x="111" y="7"/>
                </a:lnTo>
                <a:lnTo>
                  <a:pt x="100" y="17"/>
                </a:lnTo>
                <a:lnTo>
                  <a:pt x="100" y="22"/>
                </a:lnTo>
                <a:lnTo>
                  <a:pt x="87" y="28"/>
                </a:lnTo>
                <a:lnTo>
                  <a:pt x="54" y="54"/>
                </a:lnTo>
                <a:lnTo>
                  <a:pt x="45" y="65"/>
                </a:lnTo>
                <a:lnTo>
                  <a:pt x="45" y="78"/>
                </a:lnTo>
                <a:lnTo>
                  <a:pt x="33" y="82"/>
                </a:lnTo>
                <a:lnTo>
                  <a:pt x="9" y="108"/>
                </a:lnTo>
                <a:lnTo>
                  <a:pt x="9" y="117"/>
                </a:lnTo>
                <a:lnTo>
                  <a:pt x="0" y="128"/>
                </a:lnTo>
                <a:lnTo>
                  <a:pt x="4" y="141"/>
                </a:lnTo>
                <a:lnTo>
                  <a:pt x="15" y="134"/>
                </a:lnTo>
                <a:lnTo>
                  <a:pt x="26" y="122"/>
                </a:lnTo>
                <a:lnTo>
                  <a:pt x="43" y="119"/>
                </a:lnTo>
                <a:lnTo>
                  <a:pt x="54" y="122"/>
                </a:lnTo>
                <a:lnTo>
                  <a:pt x="58" y="141"/>
                </a:lnTo>
                <a:lnTo>
                  <a:pt x="56" y="154"/>
                </a:lnTo>
                <a:lnTo>
                  <a:pt x="63" y="163"/>
                </a:lnTo>
                <a:lnTo>
                  <a:pt x="72" y="169"/>
                </a:lnTo>
                <a:lnTo>
                  <a:pt x="91" y="171"/>
                </a:lnTo>
                <a:lnTo>
                  <a:pt x="133" y="176"/>
                </a:lnTo>
                <a:lnTo>
                  <a:pt x="142" y="171"/>
                </a:lnTo>
                <a:lnTo>
                  <a:pt x="148" y="163"/>
                </a:lnTo>
                <a:lnTo>
                  <a:pt x="152" y="146"/>
                </a:lnTo>
                <a:lnTo>
                  <a:pt x="167" y="145"/>
                </a:lnTo>
                <a:lnTo>
                  <a:pt x="172" y="156"/>
                </a:lnTo>
                <a:lnTo>
                  <a:pt x="172" y="181"/>
                </a:lnTo>
                <a:lnTo>
                  <a:pt x="191" y="194"/>
                </a:lnTo>
                <a:lnTo>
                  <a:pt x="205" y="172"/>
                </a:lnTo>
                <a:lnTo>
                  <a:pt x="220" y="165"/>
                </a:lnTo>
                <a:lnTo>
                  <a:pt x="237" y="167"/>
                </a:lnTo>
                <a:lnTo>
                  <a:pt x="250" y="174"/>
                </a:lnTo>
                <a:lnTo>
                  <a:pt x="255" y="180"/>
                </a:lnTo>
                <a:lnTo>
                  <a:pt x="259" y="161"/>
                </a:lnTo>
                <a:lnTo>
                  <a:pt x="269" y="139"/>
                </a:lnTo>
                <a:lnTo>
                  <a:pt x="291" y="135"/>
                </a:lnTo>
                <a:lnTo>
                  <a:pt x="298" y="121"/>
                </a:lnTo>
                <a:lnTo>
                  <a:pt x="291" y="109"/>
                </a:lnTo>
                <a:lnTo>
                  <a:pt x="281" y="104"/>
                </a:lnTo>
                <a:lnTo>
                  <a:pt x="253" y="99"/>
                </a:lnTo>
                <a:lnTo>
                  <a:pt x="252" y="85"/>
                </a:lnTo>
                <a:lnTo>
                  <a:pt x="252" y="70"/>
                </a:lnTo>
                <a:lnTo>
                  <a:pt x="252" y="59"/>
                </a:lnTo>
                <a:lnTo>
                  <a:pt x="235" y="50"/>
                </a:lnTo>
                <a:lnTo>
                  <a:pt x="226" y="54"/>
                </a:lnTo>
                <a:lnTo>
                  <a:pt x="211" y="43"/>
                </a:lnTo>
                <a:lnTo>
                  <a:pt x="209" y="35"/>
                </a:lnTo>
                <a:lnTo>
                  <a:pt x="203" y="26"/>
                </a:lnTo>
                <a:lnTo>
                  <a:pt x="203" y="22"/>
                </a:lnTo>
                <a:lnTo>
                  <a:pt x="187" y="17"/>
                </a:lnTo>
                <a:lnTo>
                  <a:pt x="181" y="24"/>
                </a:lnTo>
                <a:lnTo>
                  <a:pt x="170" y="32"/>
                </a:lnTo>
                <a:lnTo>
                  <a:pt x="157" y="37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54" name="Freeform 14"/>
          <p:cNvSpPr>
            <a:spLocks/>
          </p:cNvSpPr>
          <p:nvPr/>
        </p:nvSpPr>
        <p:spPr bwMode="auto">
          <a:xfrm>
            <a:off x="7502539" y="3907182"/>
            <a:ext cx="634283" cy="401534"/>
          </a:xfrm>
          <a:custGeom>
            <a:avLst/>
            <a:gdLst>
              <a:gd name="T0" fmla="*/ 2147483647 w 420"/>
              <a:gd name="T1" fmla="*/ 2147483647 h 254"/>
              <a:gd name="T2" fmla="*/ 2147483647 w 420"/>
              <a:gd name="T3" fmla="*/ 2147483647 h 254"/>
              <a:gd name="T4" fmla="*/ 2147483647 w 420"/>
              <a:gd name="T5" fmla="*/ 2147483647 h 254"/>
              <a:gd name="T6" fmla="*/ 2147483647 w 420"/>
              <a:gd name="T7" fmla="*/ 2147483647 h 254"/>
              <a:gd name="T8" fmla="*/ 2147483647 w 420"/>
              <a:gd name="T9" fmla="*/ 2147483647 h 254"/>
              <a:gd name="T10" fmla="*/ 2147483647 w 420"/>
              <a:gd name="T11" fmla="*/ 2147483647 h 254"/>
              <a:gd name="T12" fmla="*/ 2147483647 w 420"/>
              <a:gd name="T13" fmla="*/ 2147483647 h 254"/>
              <a:gd name="T14" fmla="*/ 2147483647 w 420"/>
              <a:gd name="T15" fmla="*/ 2147483647 h 254"/>
              <a:gd name="T16" fmla="*/ 2147483647 w 420"/>
              <a:gd name="T17" fmla="*/ 2147483647 h 254"/>
              <a:gd name="T18" fmla="*/ 2147483647 w 420"/>
              <a:gd name="T19" fmla="*/ 2147483647 h 254"/>
              <a:gd name="T20" fmla="*/ 2147483647 w 420"/>
              <a:gd name="T21" fmla="*/ 2147483647 h 254"/>
              <a:gd name="T22" fmla="*/ 2147483647 w 420"/>
              <a:gd name="T23" fmla="*/ 2147483647 h 254"/>
              <a:gd name="T24" fmla="*/ 2147483647 w 420"/>
              <a:gd name="T25" fmla="*/ 2147483647 h 254"/>
              <a:gd name="T26" fmla="*/ 2147483647 w 420"/>
              <a:gd name="T27" fmla="*/ 2147483647 h 254"/>
              <a:gd name="T28" fmla="*/ 2147483647 w 420"/>
              <a:gd name="T29" fmla="*/ 2147483647 h 254"/>
              <a:gd name="T30" fmla="*/ 2147483647 w 420"/>
              <a:gd name="T31" fmla="*/ 2147483647 h 254"/>
              <a:gd name="T32" fmla="*/ 2147483647 w 420"/>
              <a:gd name="T33" fmla="*/ 2147483647 h 254"/>
              <a:gd name="T34" fmla="*/ 2147483647 w 420"/>
              <a:gd name="T35" fmla="*/ 2147483647 h 254"/>
              <a:gd name="T36" fmla="*/ 2147483647 w 420"/>
              <a:gd name="T37" fmla="*/ 2147483647 h 254"/>
              <a:gd name="T38" fmla="*/ 2147483647 w 420"/>
              <a:gd name="T39" fmla="*/ 2147483647 h 254"/>
              <a:gd name="T40" fmla="*/ 2147483647 w 420"/>
              <a:gd name="T41" fmla="*/ 2147483647 h 254"/>
              <a:gd name="T42" fmla="*/ 2147483647 w 420"/>
              <a:gd name="T43" fmla="*/ 2147483647 h 254"/>
              <a:gd name="T44" fmla="*/ 2147483647 w 420"/>
              <a:gd name="T45" fmla="*/ 2147483647 h 254"/>
              <a:gd name="T46" fmla="*/ 2147483647 w 420"/>
              <a:gd name="T47" fmla="*/ 2147483647 h 254"/>
              <a:gd name="T48" fmla="*/ 2147483647 w 420"/>
              <a:gd name="T49" fmla="*/ 2147483647 h 254"/>
              <a:gd name="T50" fmla="*/ 2147483647 w 420"/>
              <a:gd name="T51" fmla="*/ 2147483647 h 254"/>
              <a:gd name="T52" fmla="*/ 2147483647 w 420"/>
              <a:gd name="T53" fmla="*/ 2147483647 h 254"/>
              <a:gd name="T54" fmla="*/ 2147483647 w 420"/>
              <a:gd name="T55" fmla="*/ 2147483647 h 254"/>
              <a:gd name="T56" fmla="*/ 2147483647 w 420"/>
              <a:gd name="T57" fmla="*/ 2147483647 h 254"/>
              <a:gd name="T58" fmla="*/ 2147483647 w 420"/>
              <a:gd name="T59" fmla="*/ 2147483647 h 254"/>
              <a:gd name="T60" fmla="*/ 2147483647 w 420"/>
              <a:gd name="T61" fmla="*/ 2147483647 h 254"/>
              <a:gd name="T62" fmla="*/ 2147483647 w 420"/>
              <a:gd name="T63" fmla="*/ 2147483647 h 254"/>
              <a:gd name="T64" fmla="*/ 2147483647 w 420"/>
              <a:gd name="T65" fmla="*/ 0 h 254"/>
              <a:gd name="T66" fmla="*/ 2147483647 w 420"/>
              <a:gd name="T67" fmla="*/ 2147483647 h 254"/>
              <a:gd name="T68" fmla="*/ 2147483647 w 420"/>
              <a:gd name="T69" fmla="*/ 2147483647 h 254"/>
              <a:gd name="T70" fmla="*/ 2147483647 w 420"/>
              <a:gd name="T71" fmla="*/ 2147483647 h 254"/>
              <a:gd name="T72" fmla="*/ 2147483647 w 420"/>
              <a:gd name="T73" fmla="*/ 2147483647 h 254"/>
              <a:gd name="T74" fmla="*/ 2147483647 w 420"/>
              <a:gd name="T75" fmla="*/ 2147483647 h 254"/>
              <a:gd name="T76" fmla="*/ 2147483647 w 420"/>
              <a:gd name="T77" fmla="*/ 2147483647 h 254"/>
              <a:gd name="T78" fmla="*/ 2147483647 w 420"/>
              <a:gd name="T79" fmla="*/ 2147483647 h 254"/>
              <a:gd name="T80" fmla="*/ 2147483647 w 420"/>
              <a:gd name="T81" fmla="*/ 2147483647 h 254"/>
              <a:gd name="T82" fmla="*/ 2147483647 w 420"/>
              <a:gd name="T83" fmla="*/ 2147483647 h 254"/>
              <a:gd name="T84" fmla="*/ 2147483647 w 420"/>
              <a:gd name="T85" fmla="*/ 2147483647 h 254"/>
              <a:gd name="T86" fmla="*/ 2147483647 w 420"/>
              <a:gd name="T87" fmla="*/ 2147483647 h 254"/>
              <a:gd name="T88" fmla="*/ 2147483647 w 420"/>
              <a:gd name="T89" fmla="*/ 2147483647 h 254"/>
              <a:gd name="T90" fmla="*/ 2147483647 w 420"/>
              <a:gd name="T91" fmla="*/ 2147483647 h 254"/>
              <a:gd name="T92" fmla="*/ 2147483647 w 420"/>
              <a:gd name="T93" fmla="*/ 2147483647 h 254"/>
              <a:gd name="T94" fmla="*/ 2147483647 w 420"/>
              <a:gd name="T95" fmla="*/ 2147483647 h 254"/>
              <a:gd name="T96" fmla="*/ 2147483647 w 420"/>
              <a:gd name="T97" fmla="*/ 2147483647 h 254"/>
              <a:gd name="T98" fmla="*/ 2147483647 w 420"/>
              <a:gd name="T99" fmla="*/ 2147483647 h 254"/>
              <a:gd name="T100" fmla="*/ 2147483647 w 420"/>
              <a:gd name="T101" fmla="*/ 2147483647 h 254"/>
              <a:gd name="T102" fmla="*/ 2147483647 w 420"/>
              <a:gd name="T103" fmla="*/ 2147483647 h 254"/>
              <a:gd name="T104" fmla="*/ 2147483647 w 420"/>
              <a:gd name="T105" fmla="*/ 2147483647 h 254"/>
              <a:gd name="T106" fmla="*/ 2147483647 w 420"/>
              <a:gd name="T107" fmla="*/ 2147483647 h 254"/>
              <a:gd name="T108" fmla="*/ 2147483647 w 420"/>
              <a:gd name="T109" fmla="*/ 2147483647 h 254"/>
              <a:gd name="T110" fmla="*/ 2147483647 w 420"/>
              <a:gd name="T111" fmla="*/ 2147483647 h 254"/>
              <a:gd name="T112" fmla="*/ 2147483647 w 420"/>
              <a:gd name="T113" fmla="*/ 2147483647 h 254"/>
              <a:gd name="T114" fmla="*/ 2147483647 w 420"/>
              <a:gd name="T115" fmla="*/ 2147483647 h 254"/>
              <a:gd name="T116" fmla="*/ 2147483647 w 420"/>
              <a:gd name="T117" fmla="*/ 2147483647 h 254"/>
              <a:gd name="T118" fmla="*/ 2147483647 w 420"/>
              <a:gd name="T119" fmla="*/ 2147483647 h 254"/>
              <a:gd name="T120" fmla="*/ 0 w 420"/>
              <a:gd name="T121" fmla="*/ 2147483647 h 254"/>
              <a:gd name="T122" fmla="*/ 2147483647 w 420"/>
              <a:gd name="T123" fmla="*/ 2147483647 h 25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420"/>
              <a:gd name="T187" fmla="*/ 0 h 254"/>
              <a:gd name="T188" fmla="*/ 420 w 420"/>
              <a:gd name="T189" fmla="*/ 254 h 254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420" h="254">
                <a:moveTo>
                  <a:pt x="2" y="161"/>
                </a:moveTo>
                <a:lnTo>
                  <a:pt x="15" y="172"/>
                </a:lnTo>
                <a:lnTo>
                  <a:pt x="13" y="178"/>
                </a:lnTo>
                <a:lnTo>
                  <a:pt x="17" y="189"/>
                </a:lnTo>
                <a:lnTo>
                  <a:pt x="28" y="189"/>
                </a:lnTo>
                <a:lnTo>
                  <a:pt x="70" y="230"/>
                </a:lnTo>
                <a:lnTo>
                  <a:pt x="83" y="232"/>
                </a:lnTo>
                <a:lnTo>
                  <a:pt x="117" y="254"/>
                </a:lnTo>
                <a:lnTo>
                  <a:pt x="133" y="241"/>
                </a:lnTo>
                <a:lnTo>
                  <a:pt x="157" y="243"/>
                </a:lnTo>
                <a:lnTo>
                  <a:pt x="165" y="248"/>
                </a:lnTo>
                <a:lnTo>
                  <a:pt x="183" y="241"/>
                </a:lnTo>
                <a:lnTo>
                  <a:pt x="220" y="226"/>
                </a:lnTo>
                <a:lnTo>
                  <a:pt x="263" y="219"/>
                </a:lnTo>
                <a:lnTo>
                  <a:pt x="281" y="222"/>
                </a:lnTo>
                <a:lnTo>
                  <a:pt x="287" y="232"/>
                </a:lnTo>
                <a:lnTo>
                  <a:pt x="302" y="215"/>
                </a:lnTo>
                <a:lnTo>
                  <a:pt x="322" y="208"/>
                </a:lnTo>
                <a:lnTo>
                  <a:pt x="341" y="205"/>
                </a:lnTo>
                <a:lnTo>
                  <a:pt x="374" y="172"/>
                </a:lnTo>
                <a:lnTo>
                  <a:pt x="383" y="152"/>
                </a:lnTo>
                <a:lnTo>
                  <a:pt x="387" y="113"/>
                </a:lnTo>
                <a:lnTo>
                  <a:pt x="391" y="81"/>
                </a:lnTo>
                <a:lnTo>
                  <a:pt x="404" y="80"/>
                </a:lnTo>
                <a:lnTo>
                  <a:pt x="414" y="68"/>
                </a:lnTo>
                <a:lnTo>
                  <a:pt x="420" y="59"/>
                </a:lnTo>
                <a:lnTo>
                  <a:pt x="407" y="50"/>
                </a:lnTo>
                <a:lnTo>
                  <a:pt x="400" y="54"/>
                </a:lnTo>
                <a:lnTo>
                  <a:pt x="381" y="50"/>
                </a:lnTo>
                <a:lnTo>
                  <a:pt x="370" y="35"/>
                </a:lnTo>
                <a:lnTo>
                  <a:pt x="359" y="15"/>
                </a:lnTo>
                <a:lnTo>
                  <a:pt x="346" y="15"/>
                </a:lnTo>
                <a:lnTo>
                  <a:pt x="326" y="0"/>
                </a:lnTo>
                <a:lnTo>
                  <a:pt x="315" y="2"/>
                </a:lnTo>
                <a:lnTo>
                  <a:pt x="274" y="7"/>
                </a:lnTo>
                <a:lnTo>
                  <a:pt x="266" y="19"/>
                </a:lnTo>
                <a:lnTo>
                  <a:pt x="255" y="33"/>
                </a:lnTo>
                <a:lnTo>
                  <a:pt x="240" y="41"/>
                </a:lnTo>
                <a:lnTo>
                  <a:pt x="226" y="44"/>
                </a:lnTo>
                <a:lnTo>
                  <a:pt x="216" y="41"/>
                </a:lnTo>
                <a:lnTo>
                  <a:pt x="207" y="35"/>
                </a:lnTo>
                <a:lnTo>
                  <a:pt x="200" y="33"/>
                </a:lnTo>
                <a:lnTo>
                  <a:pt x="187" y="39"/>
                </a:lnTo>
                <a:lnTo>
                  <a:pt x="170" y="48"/>
                </a:lnTo>
                <a:lnTo>
                  <a:pt x="135" y="63"/>
                </a:lnTo>
                <a:lnTo>
                  <a:pt x="120" y="65"/>
                </a:lnTo>
                <a:lnTo>
                  <a:pt x="83" y="63"/>
                </a:lnTo>
                <a:lnTo>
                  <a:pt x="78" y="61"/>
                </a:lnTo>
                <a:lnTo>
                  <a:pt x="68" y="46"/>
                </a:lnTo>
                <a:lnTo>
                  <a:pt x="56" y="39"/>
                </a:lnTo>
                <a:lnTo>
                  <a:pt x="52" y="44"/>
                </a:lnTo>
                <a:lnTo>
                  <a:pt x="50" y="59"/>
                </a:lnTo>
                <a:lnTo>
                  <a:pt x="43" y="74"/>
                </a:lnTo>
                <a:lnTo>
                  <a:pt x="30" y="74"/>
                </a:lnTo>
                <a:lnTo>
                  <a:pt x="26" y="78"/>
                </a:lnTo>
                <a:lnTo>
                  <a:pt x="33" y="93"/>
                </a:lnTo>
                <a:lnTo>
                  <a:pt x="31" y="108"/>
                </a:lnTo>
                <a:lnTo>
                  <a:pt x="22" y="122"/>
                </a:lnTo>
                <a:lnTo>
                  <a:pt x="15" y="128"/>
                </a:lnTo>
                <a:lnTo>
                  <a:pt x="4" y="133"/>
                </a:lnTo>
                <a:lnTo>
                  <a:pt x="0" y="145"/>
                </a:lnTo>
                <a:lnTo>
                  <a:pt x="2" y="161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55" name="Freeform 15"/>
          <p:cNvSpPr>
            <a:spLocks/>
          </p:cNvSpPr>
          <p:nvPr/>
        </p:nvSpPr>
        <p:spPr bwMode="auto">
          <a:xfrm>
            <a:off x="7227683" y="4160116"/>
            <a:ext cx="300530" cy="181797"/>
          </a:xfrm>
          <a:custGeom>
            <a:avLst/>
            <a:gdLst>
              <a:gd name="T0" fmla="*/ 2147483647 w 199"/>
              <a:gd name="T1" fmla="*/ 2147483647 h 115"/>
              <a:gd name="T2" fmla="*/ 2147483647 w 199"/>
              <a:gd name="T3" fmla="*/ 2147483647 h 115"/>
              <a:gd name="T4" fmla="*/ 2147483647 w 199"/>
              <a:gd name="T5" fmla="*/ 2147483647 h 115"/>
              <a:gd name="T6" fmla="*/ 2147483647 w 199"/>
              <a:gd name="T7" fmla="*/ 2147483647 h 115"/>
              <a:gd name="T8" fmla="*/ 2147483647 w 199"/>
              <a:gd name="T9" fmla="*/ 2147483647 h 115"/>
              <a:gd name="T10" fmla="*/ 0 w 199"/>
              <a:gd name="T11" fmla="*/ 2147483647 h 115"/>
              <a:gd name="T12" fmla="*/ 2147483647 w 199"/>
              <a:gd name="T13" fmla="*/ 2147483647 h 115"/>
              <a:gd name="T14" fmla="*/ 2147483647 w 199"/>
              <a:gd name="T15" fmla="*/ 2147483647 h 115"/>
              <a:gd name="T16" fmla="*/ 2147483647 w 199"/>
              <a:gd name="T17" fmla="*/ 2147483647 h 115"/>
              <a:gd name="T18" fmla="*/ 2147483647 w 199"/>
              <a:gd name="T19" fmla="*/ 2147483647 h 115"/>
              <a:gd name="T20" fmla="*/ 2147483647 w 199"/>
              <a:gd name="T21" fmla="*/ 2147483647 h 115"/>
              <a:gd name="T22" fmla="*/ 2147483647 w 199"/>
              <a:gd name="T23" fmla="*/ 2147483647 h 115"/>
              <a:gd name="T24" fmla="*/ 2147483647 w 199"/>
              <a:gd name="T25" fmla="*/ 2147483647 h 115"/>
              <a:gd name="T26" fmla="*/ 2147483647 w 199"/>
              <a:gd name="T27" fmla="*/ 2147483647 h 115"/>
              <a:gd name="T28" fmla="*/ 2147483647 w 199"/>
              <a:gd name="T29" fmla="*/ 2147483647 h 115"/>
              <a:gd name="T30" fmla="*/ 2147483647 w 199"/>
              <a:gd name="T31" fmla="*/ 2147483647 h 115"/>
              <a:gd name="T32" fmla="*/ 2147483647 w 199"/>
              <a:gd name="T33" fmla="*/ 0 h 115"/>
              <a:gd name="T34" fmla="*/ 2147483647 w 199"/>
              <a:gd name="T35" fmla="*/ 2147483647 h 115"/>
              <a:gd name="T36" fmla="*/ 2147483647 w 199"/>
              <a:gd name="T37" fmla="*/ 2147483647 h 115"/>
              <a:gd name="T38" fmla="*/ 2147483647 w 199"/>
              <a:gd name="T39" fmla="*/ 2147483647 h 115"/>
              <a:gd name="T40" fmla="*/ 2147483647 w 199"/>
              <a:gd name="T41" fmla="*/ 2147483647 h 115"/>
              <a:gd name="T42" fmla="*/ 2147483647 w 199"/>
              <a:gd name="T43" fmla="*/ 2147483647 h 115"/>
              <a:gd name="T44" fmla="*/ 2147483647 w 199"/>
              <a:gd name="T45" fmla="*/ 2147483647 h 115"/>
              <a:gd name="T46" fmla="*/ 2147483647 w 199"/>
              <a:gd name="T47" fmla="*/ 2147483647 h 115"/>
              <a:gd name="T48" fmla="*/ 2147483647 w 199"/>
              <a:gd name="T49" fmla="*/ 2147483647 h 115"/>
              <a:gd name="T50" fmla="*/ 2147483647 w 199"/>
              <a:gd name="T51" fmla="*/ 2147483647 h 115"/>
              <a:gd name="T52" fmla="*/ 2147483647 w 199"/>
              <a:gd name="T53" fmla="*/ 2147483647 h 115"/>
              <a:gd name="T54" fmla="*/ 2147483647 w 199"/>
              <a:gd name="T55" fmla="*/ 2147483647 h 115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99"/>
              <a:gd name="T85" fmla="*/ 0 h 115"/>
              <a:gd name="T86" fmla="*/ 199 w 199"/>
              <a:gd name="T87" fmla="*/ 115 h 115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99" h="115">
                <a:moveTo>
                  <a:pt x="17" y="63"/>
                </a:moveTo>
                <a:lnTo>
                  <a:pt x="37" y="83"/>
                </a:lnTo>
                <a:lnTo>
                  <a:pt x="31" y="93"/>
                </a:lnTo>
                <a:lnTo>
                  <a:pt x="22" y="100"/>
                </a:lnTo>
                <a:lnTo>
                  <a:pt x="11" y="102"/>
                </a:lnTo>
                <a:lnTo>
                  <a:pt x="0" y="104"/>
                </a:lnTo>
                <a:lnTo>
                  <a:pt x="20" y="113"/>
                </a:lnTo>
                <a:lnTo>
                  <a:pt x="28" y="115"/>
                </a:lnTo>
                <a:lnTo>
                  <a:pt x="53" y="100"/>
                </a:lnTo>
                <a:lnTo>
                  <a:pt x="108" y="114"/>
                </a:lnTo>
                <a:lnTo>
                  <a:pt x="144" y="74"/>
                </a:lnTo>
                <a:lnTo>
                  <a:pt x="151" y="57"/>
                </a:lnTo>
                <a:lnTo>
                  <a:pt x="158" y="52"/>
                </a:lnTo>
                <a:lnTo>
                  <a:pt x="178" y="54"/>
                </a:lnTo>
                <a:lnTo>
                  <a:pt x="199" y="30"/>
                </a:lnTo>
                <a:lnTo>
                  <a:pt x="197" y="15"/>
                </a:lnTo>
                <a:lnTo>
                  <a:pt x="183" y="0"/>
                </a:lnTo>
                <a:lnTo>
                  <a:pt x="173" y="2"/>
                </a:lnTo>
                <a:lnTo>
                  <a:pt x="163" y="5"/>
                </a:lnTo>
                <a:lnTo>
                  <a:pt x="145" y="1"/>
                </a:lnTo>
                <a:lnTo>
                  <a:pt x="127" y="2"/>
                </a:lnTo>
                <a:lnTo>
                  <a:pt x="109" y="7"/>
                </a:lnTo>
                <a:lnTo>
                  <a:pt x="84" y="5"/>
                </a:lnTo>
                <a:lnTo>
                  <a:pt x="73" y="20"/>
                </a:lnTo>
                <a:lnTo>
                  <a:pt x="31" y="7"/>
                </a:lnTo>
                <a:lnTo>
                  <a:pt x="15" y="7"/>
                </a:lnTo>
                <a:lnTo>
                  <a:pt x="15" y="32"/>
                </a:lnTo>
                <a:lnTo>
                  <a:pt x="17" y="63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56" name="Freeform 17"/>
          <p:cNvSpPr>
            <a:spLocks/>
          </p:cNvSpPr>
          <p:nvPr/>
        </p:nvSpPr>
        <p:spPr bwMode="auto">
          <a:xfrm>
            <a:off x="7774375" y="4767160"/>
            <a:ext cx="223509" cy="392049"/>
          </a:xfrm>
          <a:custGeom>
            <a:avLst/>
            <a:gdLst>
              <a:gd name="T0" fmla="*/ 2147483647 w 148"/>
              <a:gd name="T1" fmla="*/ 2147483647 h 248"/>
              <a:gd name="T2" fmla="*/ 2147483647 w 148"/>
              <a:gd name="T3" fmla="*/ 2147483647 h 248"/>
              <a:gd name="T4" fmla="*/ 2147483647 w 148"/>
              <a:gd name="T5" fmla="*/ 2147483647 h 248"/>
              <a:gd name="T6" fmla="*/ 2147483647 w 148"/>
              <a:gd name="T7" fmla="*/ 2147483647 h 248"/>
              <a:gd name="T8" fmla="*/ 2147483647 w 148"/>
              <a:gd name="T9" fmla="*/ 2147483647 h 248"/>
              <a:gd name="T10" fmla="*/ 2147483647 w 148"/>
              <a:gd name="T11" fmla="*/ 2147483647 h 248"/>
              <a:gd name="T12" fmla="*/ 2147483647 w 148"/>
              <a:gd name="T13" fmla="*/ 2147483647 h 248"/>
              <a:gd name="T14" fmla="*/ 2147483647 w 148"/>
              <a:gd name="T15" fmla="*/ 2147483647 h 248"/>
              <a:gd name="T16" fmla="*/ 2147483647 w 148"/>
              <a:gd name="T17" fmla="*/ 2147483647 h 248"/>
              <a:gd name="T18" fmla="*/ 0 w 148"/>
              <a:gd name="T19" fmla="*/ 2147483647 h 248"/>
              <a:gd name="T20" fmla="*/ 2147483647 w 148"/>
              <a:gd name="T21" fmla="*/ 2147483647 h 248"/>
              <a:gd name="T22" fmla="*/ 2147483647 w 148"/>
              <a:gd name="T23" fmla="*/ 2147483647 h 248"/>
              <a:gd name="T24" fmla="*/ 2147483647 w 148"/>
              <a:gd name="T25" fmla="*/ 2147483647 h 248"/>
              <a:gd name="T26" fmla="*/ 2147483647 w 148"/>
              <a:gd name="T27" fmla="*/ 2147483647 h 248"/>
              <a:gd name="T28" fmla="*/ 2147483647 w 148"/>
              <a:gd name="T29" fmla="*/ 2147483647 h 248"/>
              <a:gd name="T30" fmla="*/ 2147483647 w 148"/>
              <a:gd name="T31" fmla="*/ 2147483647 h 248"/>
              <a:gd name="T32" fmla="*/ 2147483647 w 148"/>
              <a:gd name="T33" fmla="*/ 2147483647 h 248"/>
              <a:gd name="T34" fmla="*/ 2147483647 w 148"/>
              <a:gd name="T35" fmla="*/ 2147483647 h 248"/>
              <a:gd name="T36" fmla="*/ 2147483647 w 148"/>
              <a:gd name="T37" fmla="*/ 2147483647 h 248"/>
              <a:gd name="T38" fmla="*/ 2147483647 w 148"/>
              <a:gd name="T39" fmla="*/ 2147483647 h 248"/>
              <a:gd name="T40" fmla="*/ 2147483647 w 148"/>
              <a:gd name="T41" fmla="*/ 2147483647 h 248"/>
              <a:gd name="T42" fmla="*/ 2147483647 w 148"/>
              <a:gd name="T43" fmla="*/ 2147483647 h 248"/>
              <a:gd name="T44" fmla="*/ 2147483647 w 148"/>
              <a:gd name="T45" fmla="*/ 2147483647 h 248"/>
              <a:gd name="T46" fmla="*/ 2147483647 w 148"/>
              <a:gd name="T47" fmla="*/ 2147483647 h 248"/>
              <a:gd name="T48" fmla="*/ 2147483647 w 148"/>
              <a:gd name="T49" fmla="*/ 2147483647 h 248"/>
              <a:gd name="T50" fmla="*/ 2147483647 w 148"/>
              <a:gd name="T51" fmla="*/ 2147483647 h 248"/>
              <a:gd name="T52" fmla="*/ 2147483647 w 148"/>
              <a:gd name="T53" fmla="*/ 2147483647 h 248"/>
              <a:gd name="T54" fmla="*/ 2147483647 w 148"/>
              <a:gd name="T55" fmla="*/ 2147483647 h 248"/>
              <a:gd name="T56" fmla="*/ 2147483647 w 148"/>
              <a:gd name="T57" fmla="*/ 2147483647 h 248"/>
              <a:gd name="T58" fmla="*/ 2147483647 w 148"/>
              <a:gd name="T59" fmla="*/ 2147483647 h 248"/>
              <a:gd name="T60" fmla="*/ 2147483647 w 148"/>
              <a:gd name="T61" fmla="*/ 2147483647 h 248"/>
              <a:gd name="T62" fmla="*/ 2147483647 w 148"/>
              <a:gd name="T63" fmla="*/ 2147483647 h 248"/>
              <a:gd name="T64" fmla="*/ 2147483647 w 148"/>
              <a:gd name="T65" fmla="*/ 2147483647 h 248"/>
              <a:gd name="T66" fmla="*/ 2147483647 w 148"/>
              <a:gd name="T67" fmla="*/ 2147483647 h 248"/>
              <a:gd name="T68" fmla="*/ 2147483647 w 148"/>
              <a:gd name="T69" fmla="*/ 2147483647 h 248"/>
              <a:gd name="T70" fmla="*/ 2147483647 w 148"/>
              <a:gd name="T71" fmla="*/ 2147483647 h 248"/>
              <a:gd name="T72" fmla="*/ 2147483647 w 148"/>
              <a:gd name="T73" fmla="*/ 2147483647 h 248"/>
              <a:gd name="T74" fmla="*/ 2147483647 w 148"/>
              <a:gd name="T75" fmla="*/ 2147483647 h 248"/>
              <a:gd name="T76" fmla="*/ 2147483647 w 148"/>
              <a:gd name="T77" fmla="*/ 2147483647 h 248"/>
              <a:gd name="T78" fmla="*/ 2147483647 w 148"/>
              <a:gd name="T79" fmla="*/ 2147483647 h 248"/>
              <a:gd name="T80" fmla="*/ 2147483647 w 148"/>
              <a:gd name="T81" fmla="*/ 2147483647 h 248"/>
              <a:gd name="T82" fmla="*/ 2147483647 w 148"/>
              <a:gd name="T83" fmla="*/ 2147483647 h 248"/>
              <a:gd name="T84" fmla="*/ 2147483647 w 148"/>
              <a:gd name="T85" fmla="*/ 2147483647 h 248"/>
              <a:gd name="T86" fmla="*/ 2147483647 w 148"/>
              <a:gd name="T87" fmla="*/ 0 h 248"/>
              <a:gd name="T88" fmla="*/ 2147483647 w 148"/>
              <a:gd name="T89" fmla="*/ 2147483647 h 248"/>
              <a:gd name="T90" fmla="*/ 2147483647 w 148"/>
              <a:gd name="T91" fmla="*/ 2147483647 h 248"/>
              <a:gd name="T92" fmla="*/ 2147483647 w 148"/>
              <a:gd name="T93" fmla="*/ 2147483647 h 248"/>
              <a:gd name="T94" fmla="*/ 2147483647 w 148"/>
              <a:gd name="T95" fmla="*/ 0 h 248"/>
              <a:gd name="T96" fmla="*/ 2147483647 w 148"/>
              <a:gd name="T97" fmla="*/ 2147483647 h 248"/>
              <a:gd name="T98" fmla="*/ 2147483647 w 148"/>
              <a:gd name="T99" fmla="*/ 2147483647 h 248"/>
              <a:gd name="T100" fmla="*/ 2147483647 w 148"/>
              <a:gd name="T101" fmla="*/ 2147483647 h 248"/>
              <a:gd name="T102" fmla="*/ 2147483647 w 148"/>
              <a:gd name="T103" fmla="*/ 2147483647 h 248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48"/>
              <a:gd name="T157" fmla="*/ 0 h 248"/>
              <a:gd name="T158" fmla="*/ 148 w 148"/>
              <a:gd name="T159" fmla="*/ 248 h 248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48" h="248">
                <a:moveTo>
                  <a:pt x="11" y="56"/>
                </a:moveTo>
                <a:lnTo>
                  <a:pt x="20" y="63"/>
                </a:lnTo>
                <a:lnTo>
                  <a:pt x="20" y="74"/>
                </a:lnTo>
                <a:lnTo>
                  <a:pt x="19" y="81"/>
                </a:lnTo>
                <a:lnTo>
                  <a:pt x="13" y="91"/>
                </a:lnTo>
                <a:lnTo>
                  <a:pt x="13" y="115"/>
                </a:lnTo>
                <a:lnTo>
                  <a:pt x="17" y="124"/>
                </a:lnTo>
                <a:lnTo>
                  <a:pt x="4" y="144"/>
                </a:lnTo>
                <a:lnTo>
                  <a:pt x="7" y="148"/>
                </a:lnTo>
                <a:lnTo>
                  <a:pt x="0" y="159"/>
                </a:lnTo>
                <a:lnTo>
                  <a:pt x="6" y="170"/>
                </a:lnTo>
                <a:lnTo>
                  <a:pt x="7" y="178"/>
                </a:lnTo>
                <a:lnTo>
                  <a:pt x="11" y="168"/>
                </a:lnTo>
                <a:lnTo>
                  <a:pt x="22" y="181"/>
                </a:lnTo>
                <a:lnTo>
                  <a:pt x="20" y="194"/>
                </a:lnTo>
                <a:lnTo>
                  <a:pt x="15" y="200"/>
                </a:lnTo>
                <a:lnTo>
                  <a:pt x="22" y="211"/>
                </a:lnTo>
                <a:lnTo>
                  <a:pt x="31" y="215"/>
                </a:lnTo>
                <a:lnTo>
                  <a:pt x="46" y="224"/>
                </a:lnTo>
                <a:lnTo>
                  <a:pt x="59" y="235"/>
                </a:lnTo>
                <a:lnTo>
                  <a:pt x="61" y="242"/>
                </a:lnTo>
                <a:lnTo>
                  <a:pt x="76" y="248"/>
                </a:lnTo>
                <a:lnTo>
                  <a:pt x="89" y="242"/>
                </a:lnTo>
                <a:lnTo>
                  <a:pt x="105" y="233"/>
                </a:lnTo>
                <a:lnTo>
                  <a:pt x="113" y="217"/>
                </a:lnTo>
                <a:lnTo>
                  <a:pt x="120" y="207"/>
                </a:lnTo>
                <a:lnTo>
                  <a:pt x="133" y="183"/>
                </a:lnTo>
                <a:lnTo>
                  <a:pt x="137" y="165"/>
                </a:lnTo>
                <a:lnTo>
                  <a:pt x="139" y="148"/>
                </a:lnTo>
                <a:lnTo>
                  <a:pt x="148" y="137"/>
                </a:lnTo>
                <a:lnTo>
                  <a:pt x="133" y="133"/>
                </a:lnTo>
                <a:lnTo>
                  <a:pt x="128" y="126"/>
                </a:lnTo>
                <a:lnTo>
                  <a:pt x="120" y="128"/>
                </a:lnTo>
                <a:lnTo>
                  <a:pt x="107" y="122"/>
                </a:lnTo>
                <a:lnTo>
                  <a:pt x="104" y="105"/>
                </a:lnTo>
                <a:lnTo>
                  <a:pt x="100" y="93"/>
                </a:lnTo>
                <a:lnTo>
                  <a:pt x="107" y="80"/>
                </a:lnTo>
                <a:lnTo>
                  <a:pt x="107" y="41"/>
                </a:lnTo>
                <a:lnTo>
                  <a:pt x="107" y="28"/>
                </a:lnTo>
                <a:lnTo>
                  <a:pt x="100" y="20"/>
                </a:lnTo>
                <a:lnTo>
                  <a:pt x="87" y="19"/>
                </a:lnTo>
                <a:lnTo>
                  <a:pt x="78" y="15"/>
                </a:lnTo>
                <a:lnTo>
                  <a:pt x="70" y="2"/>
                </a:lnTo>
                <a:lnTo>
                  <a:pt x="61" y="0"/>
                </a:lnTo>
                <a:lnTo>
                  <a:pt x="57" y="6"/>
                </a:lnTo>
                <a:lnTo>
                  <a:pt x="56" y="2"/>
                </a:lnTo>
                <a:lnTo>
                  <a:pt x="41" y="4"/>
                </a:lnTo>
                <a:lnTo>
                  <a:pt x="33" y="0"/>
                </a:lnTo>
                <a:lnTo>
                  <a:pt x="22" y="7"/>
                </a:lnTo>
                <a:lnTo>
                  <a:pt x="20" y="30"/>
                </a:lnTo>
                <a:lnTo>
                  <a:pt x="17" y="44"/>
                </a:lnTo>
                <a:lnTo>
                  <a:pt x="11" y="56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57" name="Freeform 19"/>
          <p:cNvSpPr>
            <a:spLocks/>
          </p:cNvSpPr>
          <p:nvPr/>
        </p:nvSpPr>
        <p:spPr bwMode="auto">
          <a:xfrm>
            <a:off x="6388014" y="3338078"/>
            <a:ext cx="317141" cy="292455"/>
          </a:xfrm>
          <a:custGeom>
            <a:avLst/>
            <a:gdLst>
              <a:gd name="T0" fmla="*/ 0 w 210"/>
              <a:gd name="T1" fmla="*/ 2147483647 h 185"/>
              <a:gd name="T2" fmla="*/ 2147483647 w 210"/>
              <a:gd name="T3" fmla="*/ 2147483647 h 185"/>
              <a:gd name="T4" fmla="*/ 2147483647 w 210"/>
              <a:gd name="T5" fmla="*/ 2147483647 h 185"/>
              <a:gd name="T6" fmla="*/ 2147483647 w 210"/>
              <a:gd name="T7" fmla="*/ 0 h 185"/>
              <a:gd name="T8" fmla="*/ 2147483647 w 210"/>
              <a:gd name="T9" fmla="*/ 2147483647 h 185"/>
              <a:gd name="T10" fmla="*/ 2147483647 w 210"/>
              <a:gd name="T11" fmla="*/ 2147483647 h 185"/>
              <a:gd name="T12" fmla="*/ 2147483647 w 210"/>
              <a:gd name="T13" fmla="*/ 2147483647 h 185"/>
              <a:gd name="T14" fmla="*/ 2147483647 w 210"/>
              <a:gd name="T15" fmla="*/ 2147483647 h 185"/>
              <a:gd name="T16" fmla="*/ 2147483647 w 210"/>
              <a:gd name="T17" fmla="*/ 2147483647 h 185"/>
              <a:gd name="T18" fmla="*/ 2147483647 w 210"/>
              <a:gd name="T19" fmla="*/ 2147483647 h 185"/>
              <a:gd name="T20" fmla="*/ 2147483647 w 210"/>
              <a:gd name="T21" fmla="*/ 2147483647 h 185"/>
              <a:gd name="T22" fmla="*/ 2147483647 w 210"/>
              <a:gd name="T23" fmla="*/ 2147483647 h 185"/>
              <a:gd name="T24" fmla="*/ 2147483647 w 210"/>
              <a:gd name="T25" fmla="*/ 2147483647 h 185"/>
              <a:gd name="T26" fmla="*/ 2147483647 w 210"/>
              <a:gd name="T27" fmla="*/ 2147483647 h 185"/>
              <a:gd name="T28" fmla="*/ 2147483647 w 210"/>
              <a:gd name="T29" fmla="*/ 2147483647 h 185"/>
              <a:gd name="T30" fmla="*/ 2147483647 w 210"/>
              <a:gd name="T31" fmla="*/ 2147483647 h 185"/>
              <a:gd name="T32" fmla="*/ 2147483647 w 210"/>
              <a:gd name="T33" fmla="*/ 2147483647 h 185"/>
              <a:gd name="T34" fmla="*/ 2147483647 w 210"/>
              <a:gd name="T35" fmla="*/ 2147483647 h 185"/>
              <a:gd name="T36" fmla="*/ 2147483647 w 210"/>
              <a:gd name="T37" fmla="*/ 2147483647 h 185"/>
              <a:gd name="T38" fmla="*/ 2147483647 w 210"/>
              <a:gd name="T39" fmla="*/ 2147483647 h 185"/>
              <a:gd name="T40" fmla="*/ 2147483647 w 210"/>
              <a:gd name="T41" fmla="*/ 2147483647 h 185"/>
              <a:gd name="T42" fmla="*/ 2147483647 w 210"/>
              <a:gd name="T43" fmla="*/ 2147483647 h 185"/>
              <a:gd name="T44" fmla="*/ 2147483647 w 210"/>
              <a:gd name="T45" fmla="*/ 2147483647 h 185"/>
              <a:gd name="T46" fmla="*/ 2147483647 w 210"/>
              <a:gd name="T47" fmla="*/ 2147483647 h 185"/>
              <a:gd name="T48" fmla="*/ 2147483647 w 210"/>
              <a:gd name="T49" fmla="*/ 2147483647 h 185"/>
              <a:gd name="T50" fmla="*/ 2147483647 w 210"/>
              <a:gd name="T51" fmla="*/ 2147483647 h 185"/>
              <a:gd name="T52" fmla="*/ 2147483647 w 210"/>
              <a:gd name="T53" fmla="*/ 2147483647 h 185"/>
              <a:gd name="T54" fmla="*/ 2147483647 w 210"/>
              <a:gd name="T55" fmla="*/ 2147483647 h 185"/>
              <a:gd name="T56" fmla="*/ 2147483647 w 210"/>
              <a:gd name="T57" fmla="*/ 2147483647 h 185"/>
              <a:gd name="T58" fmla="*/ 2147483647 w 210"/>
              <a:gd name="T59" fmla="*/ 2147483647 h 185"/>
              <a:gd name="T60" fmla="*/ 2147483647 w 210"/>
              <a:gd name="T61" fmla="*/ 2147483647 h 185"/>
              <a:gd name="T62" fmla="*/ 2147483647 w 210"/>
              <a:gd name="T63" fmla="*/ 2147483647 h 185"/>
              <a:gd name="T64" fmla="*/ 2147483647 w 210"/>
              <a:gd name="T65" fmla="*/ 2147483647 h 185"/>
              <a:gd name="T66" fmla="*/ 2147483647 w 210"/>
              <a:gd name="T67" fmla="*/ 2147483647 h 185"/>
              <a:gd name="T68" fmla="*/ 2147483647 w 210"/>
              <a:gd name="T69" fmla="*/ 2147483647 h 185"/>
              <a:gd name="T70" fmla="*/ 2147483647 w 210"/>
              <a:gd name="T71" fmla="*/ 2147483647 h 185"/>
              <a:gd name="T72" fmla="*/ 2147483647 w 210"/>
              <a:gd name="T73" fmla="*/ 2147483647 h 185"/>
              <a:gd name="T74" fmla="*/ 2147483647 w 210"/>
              <a:gd name="T75" fmla="*/ 2147483647 h 185"/>
              <a:gd name="T76" fmla="*/ 2147483647 w 210"/>
              <a:gd name="T77" fmla="*/ 2147483647 h 185"/>
              <a:gd name="T78" fmla="*/ 0 w 210"/>
              <a:gd name="T79" fmla="*/ 2147483647 h 18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10"/>
              <a:gd name="T121" fmla="*/ 0 h 185"/>
              <a:gd name="T122" fmla="*/ 210 w 210"/>
              <a:gd name="T123" fmla="*/ 185 h 185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10" h="185">
                <a:moveTo>
                  <a:pt x="0" y="33"/>
                </a:moveTo>
                <a:lnTo>
                  <a:pt x="5" y="26"/>
                </a:lnTo>
                <a:lnTo>
                  <a:pt x="3" y="17"/>
                </a:lnTo>
                <a:lnTo>
                  <a:pt x="35" y="0"/>
                </a:lnTo>
                <a:lnTo>
                  <a:pt x="38" y="6"/>
                </a:lnTo>
                <a:lnTo>
                  <a:pt x="61" y="2"/>
                </a:lnTo>
                <a:lnTo>
                  <a:pt x="79" y="3"/>
                </a:lnTo>
                <a:lnTo>
                  <a:pt x="72" y="12"/>
                </a:lnTo>
                <a:lnTo>
                  <a:pt x="76" y="24"/>
                </a:lnTo>
                <a:lnTo>
                  <a:pt x="91" y="29"/>
                </a:lnTo>
                <a:lnTo>
                  <a:pt x="106" y="28"/>
                </a:lnTo>
                <a:lnTo>
                  <a:pt x="118" y="19"/>
                </a:lnTo>
                <a:lnTo>
                  <a:pt x="138" y="17"/>
                </a:lnTo>
                <a:lnTo>
                  <a:pt x="144" y="25"/>
                </a:lnTo>
                <a:lnTo>
                  <a:pt x="156" y="32"/>
                </a:lnTo>
                <a:lnTo>
                  <a:pt x="173" y="33"/>
                </a:lnTo>
                <a:lnTo>
                  <a:pt x="170" y="47"/>
                </a:lnTo>
                <a:lnTo>
                  <a:pt x="171" y="75"/>
                </a:lnTo>
                <a:lnTo>
                  <a:pt x="174" y="92"/>
                </a:lnTo>
                <a:lnTo>
                  <a:pt x="193" y="90"/>
                </a:lnTo>
                <a:lnTo>
                  <a:pt x="199" y="102"/>
                </a:lnTo>
                <a:lnTo>
                  <a:pt x="200" y="112"/>
                </a:lnTo>
                <a:lnTo>
                  <a:pt x="210" y="126"/>
                </a:lnTo>
                <a:lnTo>
                  <a:pt x="198" y="136"/>
                </a:lnTo>
                <a:lnTo>
                  <a:pt x="187" y="144"/>
                </a:lnTo>
                <a:lnTo>
                  <a:pt x="175" y="144"/>
                </a:lnTo>
                <a:lnTo>
                  <a:pt x="161" y="148"/>
                </a:lnTo>
                <a:lnTo>
                  <a:pt x="161" y="163"/>
                </a:lnTo>
                <a:lnTo>
                  <a:pt x="155" y="173"/>
                </a:lnTo>
                <a:lnTo>
                  <a:pt x="140" y="185"/>
                </a:lnTo>
                <a:lnTo>
                  <a:pt x="115" y="166"/>
                </a:lnTo>
                <a:lnTo>
                  <a:pt x="108" y="149"/>
                </a:lnTo>
                <a:lnTo>
                  <a:pt x="85" y="144"/>
                </a:lnTo>
                <a:lnTo>
                  <a:pt x="77" y="122"/>
                </a:lnTo>
                <a:lnTo>
                  <a:pt x="61" y="109"/>
                </a:lnTo>
                <a:lnTo>
                  <a:pt x="55" y="93"/>
                </a:lnTo>
                <a:lnTo>
                  <a:pt x="42" y="77"/>
                </a:lnTo>
                <a:lnTo>
                  <a:pt x="33" y="61"/>
                </a:lnTo>
                <a:lnTo>
                  <a:pt x="16" y="49"/>
                </a:lnTo>
                <a:lnTo>
                  <a:pt x="0" y="33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58" name="Freeform 20"/>
          <p:cNvSpPr>
            <a:spLocks/>
          </p:cNvSpPr>
          <p:nvPr/>
        </p:nvSpPr>
        <p:spPr bwMode="auto">
          <a:xfrm>
            <a:off x="6603972" y="3565720"/>
            <a:ext cx="86080" cy="112240"/>
          </a:xfrm>
          <a:custGeom>
            <a:avLst/>
            <a:gdLst>
              <a:gd name="T0" fmla="*/ 2147483647 w 57"/>
              <a:gd name="T1" fmla="*/ 2147483647 h 71"/>
              <a:gd name="T2" fmla="*/ 2147483647 w 57"/>
              <a:gd name="T3" fmla="*/ 2147483647 h 71"/>
              <a:gd name="T4" fmla="*/ 2147483647 w 57"/>
              <a:gd name="T5" fmla="*/ 2147483647 h 71"/>
              <a:gd name="T6" fmla="*/ 2147483647 w 57"/>
              <a:gd name="T7" fmla="*/ 2147483647 h 71"/>
              <a:gd name="T8" fmla="*/ 2147483647 w 57"/>
              <a:gd name="T9" fmla="*/ 2147483647 h 71"/>
              <a:gd name="T10" fmla="*/ 2147483647 w 57"/>
              <a:gd name="T11" fmla="*/ 2147483647 h 71"/>
              <a:gd name="T12" fmla="*/ 2147483647 w 57"/>
              <a:gd name="T13" fmla="*/ 0 h 71"/>
              <a:gd name="T14" fmla="*/ 2147483647 w 57"/>
              <a:gd name="T15" fmla="*/ 0 h 71"/>
              <a:gd name="T16" fmla="*/ 2147483647 w 57"/>
              <a:gd name="T17" fmla="*/ 2147483647 h 71"/>
              <a:gd name="T18" fmla="*/ 2147483647 w 57"/>
              <a:gd name="T19" fmla="*/ 2147483647 h 71"/>
              <a:gd name="T20" fmla="*/ 2147483647 w 57"/>
              <a:gd name="T21" fmla="*/ 2147483647 h 71"/>
              <a:gd name="T22" fmla="*/ 0 w 57"/>
              <a:gd name="T23" fmla="*/ 2147483647 h 71"/>
              <a:gd name="T24" fmla="*/ 2147483647 w 57"/>
              <a:gd name="T25" fmla="*/ 2147483647 h 71"/>
              <a:gd name="T26" fmla="*/ 2147483647 w 57"/>
              <a:gd name="T27" fmla="*/ 2147483647 h 71"/>
              <a:gd name="T28" fmla="*/ 2147483647 w 57"/>
              <a:gd name="T29" fmla="*/ 2147483647 h 71"/>
              <a:gd name="T30" fmla="*/ 2147483647 w 57"/>
              <a:gd name="T31" fmla="*/ 2147483647 h 71"/>
              <a:gd name="T32" fmla="*/ 2147483647 w 57"/>
              <a:gd name="T33" fmla="*/ 2147483647 h 7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57"/>
              <a:gd name="T52" fmla="*/ 0 h 71"/>
              <a:gd name="T53" fmla="*/ 57 w 57"/>
              <a:gd name="T54" fmla="*/ 71 h 7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57" h="71">
                <a:moveTo>
                  <a:pt x="41" y="71"/>
                </a:moveTo>
                <a:lnTo>
                  <a:pt x="44" y="48"/>
                </a:lnTo>
                <a:lnTo>
                  <a:pt x="57" y="39"/>
                </a:lnTo>
                <a:lnTo>
                  <a:pt x="57" y="28"/>
                </a:lnTo>
                <a:lnTo>
                  <a:pt x="50" y="20"/>
                </a:lnTo>
                <a:lnTo>
                  <a:pt x="43" y="9"/>
                </a:lnTo>
                <a:lnTo>
                  <a:pt x="39" y="0"/>
                </a:lnTo>
                <a:lnTo>
                  <a:pt x="26" y="0"/>
                </a:lnTo>
                <a:lnTo>
                  <a:pt x="17" y="4"/>
                </a:lnTo>
                <a:lnTo>
                  <a:pt x="17" y="19"/>
                </a:lnTo>
                <a:lnTo>
                  <a:pt x="9" y="32"/>
                </a:lnTo>
                <a:lnTo>
                  <a:pt x="0" y="36"/>
                </a:lnTo>
                <a:lnTo>
                  <a:pt x="4" y="47"/>
                </a:lnTo>
                <a:lnTo>
                  <a:pt x="16" y="50"/>
                </a:lnTo>
                <a:lnTo>
                  <a:pt x="28" y="53"/>
                </a:lnTo>
                <a:lnTo>
                  <a:pt x="35" y="60"/>
                </a:lnTo>
                <a:lnTo>
                  <a:pt x="41" y="71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59" name="Freeform 21"/>
          <p:cNvSpPr>
            <a:spLocks/>
          </p:cNvSpPr>
          <p:nvPr/>
        </p:nvSpPr>
        <p:spPr bwMode="auto">
          <a:xfrm>
            <a:off x="6498259" y="3124665"/>
            <a:ext cx="324692" cy="358851"/>
          </a:xfrm>
          <a:custGeom>
            <a:avLst/>
            <a:gdLst>
              <a:gd name="T0" fmla="*/ 2147483647 w 215"/>
              <a:gd name="T1" fmla="*/ 2147483647 h 227"/>
              <a:gd name="T2" fmla="*/ 2147483647 w 215"/>
              <a:gd name="T3" fmla="*/ 2147483647 h 227"/>
              <a:gd name="T4" fmla="*/ 2147483647 w 215"/>
              <a:gd name="T5" fmla="*/ 2147483647 h 227"/>
              <a:gd name="T6" fmla="*/ 2147483647 w 215"/>
              <a:gd name="T7" fmla="*/ 2147483647 h 227"/>
              <a:gd name="T8" fmla="*/ 2147483647 w 215"/>
              <a:gd name="T9" fmla="*/ 2147483647 h 227"/>
              <a:gd name="T10" fmla="*/ 2147483647 w 215"/>
              <a:gd name="T11" fmla="*/ 2147483647 h 227"/>
              <a:gd name="T12" fmla="*/ 2147483647 w 215"/>
              <a:gd name="T13" fmla="*/ 2147483647 h 227"/>
              <a:gd name="T14" fmla="*/ 2147483647 w 215"/>
              <a:gd name="T15" fmla="*/ 2147483647 h 227"/>
              <a:gd name="T16" fmla="*/ 2147483647 w 215"/>
              <a:gd name="T17" fmla="*/ 2147483647 h 227"/>
              <a:gd name="T18" fmla="*/ 2147483647 w 215"/>
              <a:gd name="T19" fmla="*/ 2147483647 h 227"/>
              <a:gd name="T20" fmla="*/ 2147483647 w 215"/>
              <a:gd name="T21" fmla="*/ 2147483647 h 227"/>
              <a:gd name="T22" fmla="*/ 2147483647 w 215"/>
              <a:gd name="T23" fmla="*/ 2147483647 h 227"/>
              <a:gd name="T24" fmla="*/ 2147483647 w 215"/>
              <a:gd name="T25" fmla="*/ 2147483647 h 227"/>
              <a:gd name="T26" fmla="*/ 0 w 215"/>
              <a:gd name="T27" fmla="*/ 2147483647 h 227"/>
              <a:gd name="T28" fmla="*/ 2147483647 w 215"/>
              <a:gd name="T29" fmla="*/ 2147483647 h 227"/>
              <a:gd name="T30" fmla="*/ 2147483647 w 215"/>
              <a:gd name="T31" fmla="*/ 2147483647 h 227"/>
              <a:gd name="T32" fmla="*/ 2147483647 w 215"/>
              <a:gd name="T33" fmla="*/ 2147483647 h 227"/>
              <a:gd name="T34" fmla="*/ 2147483647 w 215"/>
              <a:gd name="T35" fmla="*/ 2147483647 h 227"/>
              <a:gd name="T36" fmla="*/ 2147483647 w 215"/>
              <a:gd name="T37" fmla="*/ 2147483647 h 227"/>
              <a:gd name="T38" fmla="*/ 2147483647 w 215"/>
              <a:gd name="T39" fmla="*/ 2147483647 h 227"/>
              <a:gd name="T40" fmla="*/ 2147483647 w 215"/>
              <a:gd name="T41" fmla="*/ 2147483647 h 227"/>
              <a:gd name="T42" fmla="*/ 2147483647 w 215"/>
              <a:gd name="T43" fmla="*/ 2147483647 h 227"/>
              <a:gd name="T44" fmla="*/ 2147483647 w 215"/>
              <a:gd name="T45" fmla="*/ 2147483647 h 227"/>
              <a:gd name="T46" fmla="*/ 2147483647 w 215"/>
              <a:gd name="T47" fmla="*/ 2147483647 h 227"/>
              <a:gd name="T48" fmla="*/ 2147483647 w 215"/>
              <a:gd name="T49" fmla="*/ 2147483647 h 227"/>
              <a:gd name="T50" fmla="*/ 2147483647 w 215"/>
              <a:gd name="T51" fmla="*/ 2147483647 h 227"/>
              <a:gd name="T52" fmla="*/ 2147483647 w 215"/>
              <a:gd name="T53" fmla="*/ 2147483647 h 227"/>
              <a:gd name="T54" fmla="*/ 2147483647 w 215"/>
              <a:gd name="T55" fmla="*/ 2147483647 h 227"/>
              <a:gd name="T56" fmla="*/ 2147483647 w 215"/>
              <a:gd name="T57" fmla="*/ 2147483647 h 227"/>
              <a:gd name="T58" fmla="*/ 2147483647 w 215"/>
              <a:gd name="T59" fmla="*/ 2147483647 h 227"/>
              <a:gd name="T60" fmla="*/ 2147483647 w 215"/>
              <a:gd name="T61" fmla="*/ 2147483647 h 227"/>
              <a:gd name="T62" fmla="*/ 2147483647 w 215"/>
              <a:gd name="T63" fmla="*/ 2147483647 h 227"/>
              <a:gd name="T64" fmla="*/ 2147483647 w 215"/>
              <a:gd name="T65" fmla="*/ 2147483647 h 227"/>
              <a:gd name="T66" fmla="*/ 2147483647 w 215"/>
              <a:gd name="T67" fmla="*/ 2147483647 h 227"/>
              <a:gd name="T68" fmla="*/ 2147483647 w 215"/>
              <a:gd name="T69" fmla="*/ 2147483647 h 227"/>
              <a:gd name="T70" fmla="*/ 2147483647 w 215"/>
              <a:gd name="T71" fmla="*/ 2147483647 h 227"/>
              <a:gd name="T72" fmla="*/ 2147483647 w 215"/>
              <a:gd name="T73" fmla="*/ 2147483647 h 227"/>
              <a:gd name="T74" fmla="*/ 2147483647 w 215"/>
              <a:gd name="T75" fmla="*/ 2147483647 h 227"/>
              <a:gd name="T76" fmla="*/ 2147483647 w 215"/>
              <a:gd name="T77" fmla="*/ 2147483647 h 227"/>
              <a:gd name="T78" fmla="*/ 2147483647 w 215"/>
              <a:gd name="T79" fmla="*/ 0 h 227"/>
              <a:gd name="T80" fmla="*/ 2147483647 w 215"/>
              <a:gd name="T81" fmla="*/ 0 h 227"/>
              <a:gd name="T82" fmla="*/ 2147483647 w 215"/>
              <a:gd name="T83" fmla="*/ 2147483647 h 227"/>
              <a:gd name="T84" fmla="*/ 2147483647 w 215"/>
              <a:gd name="T85" fmla="*/ 2147483647 h 227"/>
              <a:gd name="T86" fmla="*/ 2147483647 w 215"/>
              <a:gd name="T87" fmla="*/ 2147483647 h 227"/>
              <a:gd name="T88" fmla="*/ 2147483647 w 215"/>
              <a:gd name="T89" fmla="*/ 2147483647 h 227"/>
              <a:gd name="T90" fmla="*/ 2147483647 w 215"/>
              <a:gd name="T91" fmla="*/ 2147483647 h 227"/>
              <a:gd name="T92" fmla="*/ 2147483647 w 215"/>
              <a:gd name="T93" fmla="*/ 2147483647 h 227"/>
              <a:gd name="T94" fmla="*/ 2147483647 w 215"/>
              <a:gd name="T95" fmla="*/ 2147483647 h 227"/>
              <a:gd name="T96" fmla="*/ 2147483647 w 215"/>
              <a:gd name="T97" fmla="*/ 2147483647 h 227"/>
              <a:gd name="T98" fmla="*/ 2147483647 w 215"/>
              <a:gd name="T99" fmla="*/ 2147483647 h 227"/>
              <a:gd name="T100" fmla="*/ 2147483647 w 215"/>
              <a:gd name="T101" fmla="*/ 2147483647 h 227"/>
              <a:gd name="T102" fmla="*/ 2147483647 w 215"/>
              <a:gd name="T103" fmla="*/ 2147483647 h 227"/>
              <a:gd name="T104" fmla="*/ 2147483647 w 215"/>
              <a:gd name="T105" fmla="*/ 2147483647 h 227"/>
              <a:gd name="T106" fmla="*/ 2147483647 w 215"/>
              <a:gd name="T107" fmla="*/ 2147483647 h 227"/>
              <a:gd name="T108" fmla="*/ 2147483647 w 215"/>
              <a:gd name="T109" fmla="*/ 2147483647 h 227"/>
              <a:gd name="T110" fmla="*/ 2147483647 w 215"/>
              <a:gd name="T111" fmla="*/ 2147483647 h 227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15"/>
              <a:gd name="T169" fmla="*/ 0 h 227"/>
              <a:gd name="T170" fmla="*/ 215 w 215"/>
              <a:gd name="T171" fmla="*/ 227 h 227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15" h="227">
                <a:moveTo>
                  <a:pt x="89" y="6"/>
                </a:moveTo>
                <a:lnTo>
                  <a:pt x="67" y="33"/>
                </a:lnTo>
                <a:lnTo>
                  <a:pt x="67" y="41"/>
                </a:lnTo>
                <a:lnTo>
                  <a:pt x="54" y="54"/>
                </a:lnTo>
                <a:lnTo>
                  <a:pt x="56" y="57"/>
                </a:lnTo>
                <a:lnTo>
                  <a:pt x="52" y="66"/>
                </a:lnTo>
                <a:lnTo>
                  <a:pt x="39" y="79"/>
                </a:lnTo>
                <a:lnTo>
                  <a:pt x="26" y="94"/>
                </a:lnTo>
                <a:lnTo>
                  <a:pt x="21" y="102"/>
                </a:lnTo>
                <a:lnTo>
                  <a:pt x="26" y="109"/>
                </a:lnTo>
                <a:lnTo>
                  <a:pt x="22" y="120"/>
                </a:lnTo>
                <a:lnTo>
                  <a:pt x="15" y="129"/>
                </a:lnTo>
                <a:lnTo>
                  <a:pt x="9" y="133"/>
                </a:lnTo>
                <a:lnTo>
                  <a:pt x="0" y="144"/>
                </a:lnTo>
                <a:lnTo>
                  <a:pt x="1" y="155"/>
                </a:lnTo>
                <a:lnTo>
                  <a:pt x="11" y="161"/>
                </a:lnTo>
                <a:lnTo>
                  <a:pt x="35" y="161"/>
                </a:lnTo>
                <a:lnTo>
                  <a:pt x="49" y="153"/>
                </a:lnTo>
                <a:lnTo>
                  <a:pt x="63" y="151"/>
                </a:lnTo>
                <a:lnTo>
                  <a:pt x="74" y="161"/>
                </a:lnTo>
                <a:lnTo>
                  <a:pt x="85" y="166"/>
                </a:lnTo>
                <a:lnTo>
                  <a:pt x="100" y="168"/>
                </a:lnTo>
                <a:lnTo>
                  <a:pt x="96" y="185"/>
                </a:lnTo>
                <a:lnTo>
                  <a:pt x="101" y="227"/>
                </a:lnTo>
                <a:lnTo>
                  <a:pt x="114" y="226"/>
                </a:lnTo>
                <a:lnTo>
                  <a:pt x="122" y="225"/>
                </a:lnTo>
                <a:lnTo>
                  <a:pt x="125" y="213"/>
                </a:lnTo>
                <a:lnTo>
                  <a:pt x="127" y="188"/>
                </a:lnTo>
                <a:lnTo>
                  <a:pt x="137" y="175"/>
                </a:lnTo>
                <a:lnTo>
                  <a:pt x="137" y="153"/>
                </a:lnTo>
                <a:lnTo>
                  <a:pt x="145" y="140"/>
                </a:lnTo>
                <a:lnTo>
                  <a:pt x="162" y="133"/>
                </a:lnTo>
                <a:lnTo>
                  <a:pt x="193" y="98"/>
                </a:lnTo>
                <a:lnTo>
                  <a:pt x="197" y="83"/>
                </a:lnTo>
                <a:lnTo>
                  <a:pt x="192" y="59"/>
                </a:lnTo>
                <a:lnTo>
                  <a:pt x="212" y="43"/>
                </a:lnTo>
                <a:lnTo>
                  <a:pt x="215" y="16"/>
                </a:lnTo>
                <a:lnTo>
                  <a:pt x="201" y="4"/>
                </a:lnTo>
                <a:lnTo>
                  <a:pt x="192" y="2"/>
                </a:lnTo>
                <a:lnTo>
                  <a:pt x="175" y="0"/>
                </a:lnTo>
                <a:lnTo>
                  <a:pt x="137" y="0"/>
                </a:lnTo>
                <a:lnTo>
                  <a:pt x="126" y="9"/>
                </a:lnTo>
                <a:lnTo>
                  <a:pt x="117" y="20"/>
                </a:lnTo>
                <a:lnTo>
                  <a:pt x="119" y="30"/>
                </a:lnTo>
                <a:lnTo>
                  <a:pt x="132" y="39"/>
                </a:lnTo>
                <a:lnTo>
                  <a:pt x="141" y="50"/>
                </a:lnTo>
                <a:lnTo>
                  <a:pt x="141" y="65"/>
                </a:lnTo>
                <a:lnTo>
                  <a:pt x="126" y="76"/>
                </a:lnTo>
                <a:lnTo>
                  <a:pt x="111" y="79"/>
                </a:lnTo>
                <a:lnTo>
                  <a:pt x="100" y="81"/>
                </a:lnTo>
                <a:lnTo>
                  <a:pt x="95" y="72"/>
                </a:lnTo>
                <a:lnTo>
                  <a:pt x="91" y="59"/>
                </a:lnTo>
                <a:lnTo>
                  <a:pt x="98" y="48"/>
                </a:lnTo>
                <a:lnTo>
                  <a:pt x="96" y="35"/>
                </a:lnTo>
                <a:lnTo>
                  <a:pt x="95" y="22"/>
                </a:lnTo>
                <a:lnTo>
                  <a:pt x="89" y="6"/>
                </a:lnTo>
                <a:close/>
              </a:path>
            </a:pathLst>
          </a:custGeom>
          <a:solidFill>
            <a:schemeClr val="accent4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60" name="Freeform 22"/>
          <p:cNvSpPr>
            <a:spLocks/>
          </p:cNvSpPr>
          <p:nvPr/>
        </p:nvSpPr>
        <p:spPr bwMode="auto">
          <a:xfrm>
            <a:off x="5395814" y="2560305"/>
            <a:ext cx="457589" cy="437893"/>
          </a:xfrm>
          <a:custGeom>
            <a:avLst/>
            <a:gdLst>
              <a:gd name="T0" fmla="*/ 2147483647 w 303"/>
              <a:gd name="T1" fmla="*/ 2147483647 h 277"/>
              <a:gd name="T2" fmla="*/ 2147483647 w 303"/>
              <a:gd name="T3" fmla="*/ 2147483647 h 277"/>
              <a:gd name="T4" fmla="*/ 2147483647 w 303"/>
              <a:gd name="T5" fmla="*/ 2147483647 h 277"/>
              <a:gd name="T6" fmla="*/ 2147483647 w 303"/>
              <a:gd name="T7" fmla="*/ 2147483647 h 277"/>
              <a:gd name="T8" fmla="*/ 2147483647 w 303"/>
              <a:gd name="T9" fmla="*/ 2147483647 h 277"/>
              <a:gd name="T10" fmla="*/ 2147483647 w 303"/>
              <a:gd name="T11" fmla="*/ 2147483647 h 277"/>
              <a:gd name="T12" fmla="*/ 2147483647 w 303"/>
              <a:gd name="T13" fmla="*/ 2147483647 h 277"/>
              <a:gd name="T14" fmla="*/ 2147483647 w 303"/>
              <a:gd name="T15" fmla="*/ 2147483647 h 277"/>
              <a:gd name="T16" fmla="*/ 2147483647 w 303"/>
              <a:gd name="T17" fmla="*/ 2147483647 h 277"/>
              <a:gd name="T18" fmla="*/ 2147483647 w 303"/>
              <a:gd name="T19" fmla="*/ 2147483647 h 277"/>
              <a:gd name="T20" fmla="*/ 2147483647 w 303"/>
              <a:gd name="T21" fmla="*/ 2147483647 h 277"/>
              <a:gd name="T22" fmla="*/ 2147483647 w 303"/>
              <a:gd name="T23" fmla="*/ 2147483647 h 277"/>
              <a:gd name="T24" fmla="*/ 2147483647 w 303"/>
              <a:gd name="T25" fmla="*/ 2147483647 h 277"/>
              <a:gd name="T26" fmla="*/ 2147483647 w 303"/>
              <a:gd name="T27" fmla="*/ 2147483647 h 277"/>
              <a:gd name="T28" fmla="*/ 2147483647 w 303"/>
              <a:gd name="T29" fmla="*/ 2147483647 h 277"/>
              <a:gd name="T30" fmla="*/ 2147483647 w 303"/>
              <a:gd name="T31" fmla="*/ 2147483647 h 277"/>
              <a:gd name="T32" fmla="*/ 2147483647 w 303"/>
              <a:gd name="T33" fmla="*/ 2147483647 h 277"/>
              <a:gd name="T34" fmla="*/ 2147483647 w 303"/>
              <a:gd name="T35" fmla="*/ 2147483647 h 277"/>
              <a:gd name="T36" fmla="*/ 2147483647 w 303"/>
              <a:gd name="T37" fmla="*/ 2147483647 h 277"/>
              <a:gd name="T38" fmla="*/ 2147483647 w 303"/>
              <a:gd name="T39" fmla="*/ 2147483647 h 277"/>
              <a:gd name="T40" fmla="*/ 2147483647 w 303"/>
              <a:gd name="T41" fmla="*/ 2147483647 h 277"/>
              <a:gd name="T42" fmla="*/ 2147483647 w 303"/>
              <a:gd name="T43" fmla="*/ 2147483647 h 277"/>
              <a:gd name="T44" fmla="*/ 2147483647 w 303"/>
              <a:gd name="T45" fmla="*/ 2147483647 h 277"/>
              <a:gd name="T46" fmla="*/ 2147483647 w 303"/>
              <a:gd name="T47" fmla="*/ 2147483647 h 277"/>
              <a:gd name="T48" fmla="*/ 2147483647 w 303"/>
              <a:gd name="T49" fmla="*/ 0 h 277"/>
              <a:gd name="T50" fmla="*/ 2147483647 w 303"/>
              <a:gd name="T51" fmla="*/ 2147483647 h 277"/>
              <a:gd name="T52" fmla="*/ 2147483647 w 303"/>
              <a:gd name="T53" fmla="*/ 2147483647 h 277"/>
              <a:gd name="T54" fmla="*/ 2147483647 w 303"/>
              <a:gd name="T55" fmla="*/ 2147483647 h 277"/>
              <a:gd name="T56" fmla="*/ 2147483647 w 303"/>
              <a:gd name="T57" fmla="*/ 2147483647 h 277"/>
              <a:gd name="T58" fmla="*/ 2147483647 w 303"/>
              <a:gd name="T59" fmla="*/ 2147483647 h 277"/>
              <a:gd name="T60" fmla="*/ 2147483647 w 303"/>
              <a:gd name="T61" fmla="*/ 2147483647 h 277"/>
              <a:gd name="T62" fmla="*/ 2147483647 w 303"/>
              <a:gd name="T63" fmla="*/ 2147483647 h 277"/>
              <a:gd name="T64" fmla="*/ 2147483647 w 303"/>
              <a:gd name="T65" fmla="*/ 2147483647 h 277"/>
              <a:gd name="T66" fmla="*/ 2147483647 w 303"/>
              <a:gd name="T67" fmla="*/ 2147483647 h 277"/>
              <a:gd name="T68" fmla="*/ 2147483647 w 303"/>
              <a:gd name="T69" fmla="*/ 2147483647 h 277"/>
              <a:gd name="T70" fmla="*/ 2147483647 w 303"/>
              <a:gd name="T71" fmla="*/ 2147483647 h 27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03"/>
              <a:gd name="T109" fmla="*/ 0 h 277"/>
              <a:gd name="T110" fmla="*/ 303 w 303"/>
              <a:gd name="T111" fmla="*/ 277 h 277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03" h="277">
                <a:moveTo>
                  <a:pt x="112" y="104"/>
                </a:moveTo>
                <a:lnTo>
                  <a:pt x="108" y="115"/>
                </a:lnTo>
                <a:lnTo>
                  <a:pt x="112" y="130"/>
                </a:lnTo>
                <a:lnTo>
                  <a:pt x="106" y="139"/>
                </a:lnTo>
                <a:lnTo>
                  <a:pt x="97" y="133"/>
                </a:lnTo>
                <a:lnTo>
                  <a:pt x="86" y="135"/>
                </a:lnTo>
                <a:lnTo>
                  <a:pt x="86" y="146"/>
                </a:lnTo>
                <a:lnTo>
                  <a:pt x="63" y="167"/>
                </a:lnTo>
                <a:lnTo>
                  <a:pt x="50" y="172"/>
                </a:lnTo>
                <a:lnTo>
                  <a:pt x="33" y="191"/>
                </a:lnTo>
                <a:lnTo>
                  <a:pt x="22" y="196"/>
                </a:lnTo>
                <a:lnTo>
                  <a:pt x="13" y="195"/>
                </a:lnTo>
                <a:lnTo>
                  <a:pt x="9" y="198"/>
                </a:lnTo>
                <a:lnTo>
                  <a:pt x="6" y="201"/>
                </a:lnTo>
                <a:lnTo>
                  <a:pt x="11" y="208"/>
                </a:lnTo>
                <a:lnTo>
                  <a:pt x="11" y="221"/>
                </a:lnTo>
                <a:lnTo>
                  <a:pt x="0" y="233"/>
                </a:lnTo>
                <a:lnTo>
                  <a:pt x="4" y="245"/>
                </a:lnTo>
                <a:lnTo>
                  <a:pt x="17" y="245"/>
                </a:lnTo>
                <a:lnTo>
                  <a:pt x="22" y="236"/>
                </a:lnTo>
                <a:lnTo>
                  <a:pt x="30" y="244"/>
                </a:lnTo>
                <a:lnTo>
                  <a:pt x="20" y="251"/>
                </a:lnTo>
                <a:lnTo>
                  <a:pt x="24" y="262"/>
                </a:lnTo>
                <a:lnTo>
                  <a:pt x="30" y="264"/>
                </a:lnTo>
                <a:lnTo>
                  <a:pt x="54" y="268"/>
                </a:lnTo>
                <a:lnTo>
                  <a:pt x="58" y="270"/>
                </a:lnTo>
                <a:lnTo>
                  <a:pt x="80" y="277"/>
                </a:lnTo>
                <a:lnTo>
                  <a:pt x="89" y="273"/>
                </a:lnTo>
                <a:lnTo>
                  <a:pt x="108" y="262"/>
                </a:lnTo>
                <a:lnTo>
                  <a:pt x="136" y="268"/>
                </a:lnTo>
                <a:lnTo>
                  <a:pt x="186" y="268"/>
                </a:lnTo>
                <a:lnTo>
                  <a:pt x="214" y="262"/>
                </a:lnTo>
                <a:lnTo>
                  <a:pt x="227" y="242"/>
                </a:lnTo>
                <a:lnTo>
                  <a:pt x="244" y="233"/>
                </a:lnTo>
                <a:lnTo>
                  <a:pt x="249" y="221"/>
                </a:lnTo>
                <a:lnTo>
                  <a:pt x="255" y="205"/>
                </a:lnTo>
                <a:lnTo>
                  <a:pt x="268" y="195"/>
                </a:lnTo>
                <a:lnTo>
                  <a:pt x="279" y="167"/>
                </a:lnTo>
                <a:lnTo>
                  <a:pt x="277" y="135"/>
                </a:lnTo>
                <a:lnTo>
                  <a:pt x="303" y="120"/>
                </a:lnTo>
                <a:lnTo>
                  <a:pt x="288" y="107"/>
                </a:lnTo>
                <a:lnTo>
                  <a:pt x="283" y="85"/>
                </a:lnTo>
                <a:lnTo>
                  <a:pt x="273" y="76"/>
                </a:lnTo>
                <a:lnTo>
                  <a:pt x="262" y="76"/>
                </a:lnTo>
                <a:lnTo>
                  <a:pt x="251" y="70"/>
                </a:lnTo>
                <a:lnTo>
                  <a:pt x="231" y="46"/>
                </a:lnTo>
                <a:lnTo>
                  <a:pt x="240" y="41"/>
                </a:lnTo>
                <a:lnTo>
                  <a:pt x="275" y="9"/>
                </a:lnTo>
                <a:lnTo>
                  <a:pt x="271" y="0"/>
                </a:lnTo>
                <a:lnTo>
                  <a:pt x="260" y="2"/>
                </a:lnTo>
                <a:lnTo>
                  <a:pt x="223" y="4"/>
                </a:lnTo>
                <a:lnTo>
                  <a:pt x="210" y="13"/>
                </a:lnTo>
                <a:lnTo>
                  <a:pt x="201" y="19"/>
                </a:lnTo>
                <a:lnTo>
                  <a:pt x="188" y="17"/>
                </a:lnTo>
                <a:lnTo>
                  <a:pt x="180" y="22"/>
                </a:lnTo>
                <a:lnTo>
                  <a:pt x="186" y="32"/>
                </a:lnTo>
                <a:lnTo>
                  <a:pt x="204" y="44"/>
                </a:lnTo>
                <a:lnTo>
                  <a:pt x="191" y="46"/>
                </a:lnTo>
                <a:lnTo>
                  <a:pt x="158" y="50"/>
                </a:lnTo>
                <a:lnTo>
                  <a:pt x="136" y="41"/>
                </a:lnTo>
                <a:lnTo>
                  <a:pt x="113" y="32"/>
                </a:lnTo>
                <a:lnTo>
                  <a:pt x="106" y="37"/>
                </a:lnTo>
                <a:lnTo>
                  <a:pt x="100" y="54"/>
                </a:lnTo>
                <a:lnTo>
                  <a:pt x="102" y="63"/>
                </a:lnTo>
                <a:lnTo>
                  <a:pt x="99" y="67"/>
                </a:lnTo>
                <a:lnTo>
                  <a:pt x="86" y="72"/>
                </a:lnTo>
                <a:lnTo>
                  <a:pt x="87" y="89"/>
                </a:lnTo>
                <a:lnTo>
                  <a:pt x="86" y="93"/>
                </a:lnTo>
                <a:lnTo>
                  <a:pt x="72" y="111"/>
                </a:lnTo>
                <a:lnTo>
                  <a:pt x="84" y="128"/>
                </a:lnTo>
                <a:lnTo>
                  <a:pt x="89" y="126"/>
                </a:lnTo>
                <a:lnTo>
                  <a:pt x="112" y="104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161" name="Group 23"/>
          <p:cNvGrpSpPr>
            <a:grpSpLocks/>
          </p:cNvGrpSpPr>
          <p:nvPr/>
        </p:nvGrpSpPr>
        <p:grpSpPr bwMode="auto">
          <a:xfrm>
            <a:off x="6952828" y="2591922"/>
            <a:ext cx="519508" cy="429989"/>
            <a:chOff x="1939" y="2035"/>
            <a:chExt cx="344" cy="272"/>
          </a:xfrm>
          <a:solidFill>
            <a:schemeClr val="bg1"/>
          </a:solidFill>
        </p:grpSpPr>
        <p:sp>
          <p:nvSpPr>
            <p:cNvPr id="202" name="Freeform 24"/>
            <p:cNvSpPr>
              <a:spLocks/>
            </p:cNvSpPr>
            <p:nvPr/>
          </p:nvSpPr>
          <p:spPr bwMode="auto">
            <a:xfrm>
              <a:off x="1939" y="2090"/>
              <a:ext cx="145" cy="179"/>
            </a:xfrm>
            <a:custGeom>
              <a:avLst/>
              <a:gdLst>
                <a:gd name="T0" fmla="*/ 11 w 145"/>
                <a:gd name="T1" fmla="*/ 153 h 179"/>
                <a:gd name="T2" fmla="*/ 19 w 145"/>
                <a:gd name="T3" fmla="*/ 166 h 179"/>
                <a:gd name="T4" fmla="*/ 35 w 145"/>
                <a:gd name="T5" fmla="*/ 166 h 179"/>
                <a:gd name="T6" fmla="*/ 50 w 145"/>
                <a:gd name="T7" fmla="*/ 170 h 179"/>
                <a:gd name="T8" fmla="*/ 61 w 145"/>
                <a:gd name="T9" fmla="*/ 179 h 179"/>
                <a:gd name="T10" fmla="*/ 73 w 145"/>
                <a:gd name="T11" fmla="*/ 179 h 179"/>
                <a:gd name="T12" fmla="*/ 65 w 145"/>
                <a:gd name="T13" fmla="*/ 168 h 179"/>
                <a:gd name="T14" fmla="*/ 71 w 145"/>
                <a:gd name="T15" fmla="*/ 153 h 179"/>
                <a:gd name="T16" fmla="*/ 78 w 145"/>
                <a:gd name="T17" fmla="*/ 136 h 179"/>
                <a:gd name="T18" fmla="*/ 82 w 145"/>
                <a:gd name="T19" fmla="*/ 117 h 179"/>
                <a:gd name="T20" fmla="*/ 99 w 145"/>
                <a:gd name="T21" fmla="*/ 106 h 179"/>
                <a:gd name="T22" fmla="*/ 113 w 145"/>
                <a:gd name="T23" fmla="*/ 98 h 179"/>
                <a:gd name="T24" fmla="*/ 112 w 145"/>
                <a:gd name="T25" fmla="*/ 87 h 179"/>
                <a:gd name="T26" fmla="*/ 112 w 145"/>
                <a:gd name="T27" fmla="*/ 69 h 179"/>
                <a:gd name="T28" fmla="*/ 115 w 145"/>
                <a:gd name="T29" fmla="*/ 61 h 179"/>
                <a:gd name="T30" fmla="*/ 128 w 145"/>
                <a:gd name="T31" fmla="*/ 59 h 179"/>
                <a:gd name="T32" fmla="*/ 134 w 145"/>
                <a:gd name="T33" fmla="*/ 63 h 179"/>
                <a:gd name="T34" fmla="*/ 145 w 145"/>
                <a:gd name="T35" fmla="*/ 50 h 179"/>
                <a:gd name="T36" fmla="*/ 141 w 145"/>
                <a:gd name="T37" fmla="*/ 39 h 179"/>
                <a:gd name="T38" fmla="*/ 134 w 145"/>
                <a:gd name="T39" fmla="*/ 37 h 179"/>
                <a:gd name="T40" fmla="*/ 121 w 145"/>
                <a:gd name="T41" fmla="*/ 37 h 179"/>
                <a:gd name="T42" fmla="*/ 115 w 145"/>
                <a:gd name="T43" fmla="*/ 37 h 179"/>
                <a:gd name="T44" fmla="*/ 112 w 145"/>
                <a:gd name="T45" fmla="*/ 20 h 179"/>
                <a:gd name="T46" fmla="*/ 113 w 145"/>
                <a:gd name="T47" fmla="*/ 4 h 179"/>
                <a:gd name="T48" fmla="*/ 104 w 145"/>
                <a:gd name="T49" fmla="*/ 0 h 179"/>
                <a:gd name="T50" fmla="*/ 100 w 145"/>
                <a:gd name="T51" fmla="*/ 6 h 179"/>
                <a:gd name="T52" fmla="*/ 78 w 145"/>
                <a:gd name="T53" fmla="*/ 2 h 179"/>
                <a:gd name="T54" fmla="*/ 73 w 145"/>
                <a:gd name="T55" fmla="*/ 7 h 179"/>
                <a:gd name="T56" fmla="*/ 78 w 145"/>
                <a:gd name="T57" fmla="*/ 22 h 179"/>
                <a:gd name="T58" fmla="*/ 76 w 145"/>
                <a:gd name="T59" fmla="*/ 37 h 179"/>
                <a:gd name="T60" fmla="*/ 67 w 145"/>
                <a:gd name="T61" fmla="*/ 26 h 179"/>
                <a:gd name="T62" fmla="*/ 63 w 145"/>
                <a:gd name="T63" fmla="*/ 17 h 179"/>
                <a:gd name="T64" fmla="*/ 50 w 145"/>
                <a:gd name="T65" fmla="*/ 19 h 179"/>
                <a:gd name="T66" fmla="*/ 45 w 145"/>
                <a:gd name="T67" fmla="*/ 28 h 179"/>
                <a:gd name="T68" fmla="*/ 41 w 145"/>
                <a:gd name="T69" fmla="*/ 32 h 179"/>
                <a:gd name="T70" fmla="*/ 41 w 145"/>
                <a:gd name="T71" fmla="*/ 45 h 179"/>
                <a:gd name="T72" fmla="*/ 39 w 145"/>
                <a:gd name="T73" fmla="*/ 43 h 179"/>
                <a:gd name="T74" fmla="*/ 28 w 145"/>
                <a:gd name="T75" fmla="*/ 26 h 179"/>
                <a:gd name="T76" fmla="*/ 22 w 145"/>
                <a:gd name="T77" fmla="*/ 20 h 179"/>
                <a:gd name="T78" fmla="*/ 15 w 145"/>
                <a:gd name="T79" fmla="*/ 24 h 179"/>
                <a:gd name="T80" fmla="*/ 17 w 145"/>
                <a:gd name="T81" fmla="*/ 33 h 179"/>
                <a:gd name="T82" fmla="*/ 17 w 145"/>
                <a:gd name="T83" fmla="*/ 39 h 179"/>
                <a:gd name="T84" fmla="*/ 7 w 145"/>
                <a:gd name="T85" fmla="*/ 43 h 179"/>
                <a:gd name="T86" fmla="*/ 7 w 145"/>
                <a:gd name="T87" fmla="*/ 56 h 179"/>
                <a:gd name="T88" fmla="*/ 15 w 145"/>
                <a:gd name="T89" fmla="*/ 69 h 179"/>
                <a:gd name="T90" fmla="*/ 15 w 145"/>
                <a:gd name="T91" fmla="*/ 78 h 179"/>
                <a:gd name="T92" fmla="*/ 11 w 145"/>
                <a:gd name="T93" fmla="*/ 87 h 179"/>
                <a:gd name="T94" fmla="*/ 0 w 145"/>
                <a:gd name="T95" fmla="*/ 96 h 179"/>
                <a:gd name="T96" fmla="*/ 2 w 145"/>
                <a:gd name="T97" fmla="*/ 106 h 179"/>
                <a:gd name="T98" fmla="*/ 13 w 145"/>
                <a:gd name="T99" fmla="*/ 115 h 179"/>
                <a:gd name="T100" fmla="*/ 17 w 145"/>
                <a:gd name="T101" fmla="*/ 124 h 179"/>
                <a:gd name="T102" fmla="*/ 15 w 145"/>
                <a:gd name="T103" fmla="*/ 142 h 179"/>
                <a:gd name="T104" fmla="*/ 11 w 145"/>
                <a:gd name="T105" fmla="*/ 153 h 17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5"/>
                <a:gd name="T160" fmla="*/ 0 h 179"/>
                <a:gd name="T161" fmla="*/ 145 w 145"/>
                <a:gd name="T162" fmla="*/ 179 h 17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5" h="179">
                  <a:moveTo>
                    <a:pt x="11" y="153"/>
                  </a:moveTo>
                  <a:lnTo>
                    <a:pt x="19" y="166"/>
                  </a:lnTo>
                  <a:lnTo>
                    <a:pt x="35" y="166"/>
                  </a:lnTo>
                  <a:lnTo>
                    <a:pt x="50" y="170"/>
                  </a:lnTo>
                  <a:lnTo>
                    <a:pt x="61" y="179"/>
                  </a:lnTo>
                  <a:lnTo>
                    <a:pt x="73" y="179"/>
                  </a:lnTo>
                  <a:lnTo>
                    <a:pt x="65" y="168"/>
                  </a:lnTo>
                  <a:lnTo>
                    <a:pt x="71" y="153"/>
                  </a:lnTo>
                  <a:lnTo>
                    <a:pt x="78" y="136"/>
                  </a:lnTo>
                  <a:lnTo>
                    <a:pt x="82" y="117"/>
                  </a:lnTo>
                  <a:lnTo>
                    <a:pt x="99" y="106"/>
                  </a:lnTo>
                  <a:lnTo>
                    <a:pt x="113" y="98"/>
                  </a:lnTo>
                  <a:lnTo>
                    <a:pt x="112" y="87"/>
                  </a:lnTo>
                  <a:lnTo>
                    <a:pt x="112" y="69"/>
                  </a:lnTo>
                  <a:lnTo>
                    <a:pt x="115" y="61"/>
                  </a:lnTo>
                  <a:lnTo>
                    <a:pt x="128" y="59"/>
                  </a:lnTo>
                  <a:lnTo>
                    <a:pt x="134" y="63"/>
                  </a:lnTo>
                  <a:lnTo>
                    <a:pt x="145" y="50"/>
                  </a:lnTo>
                  <a:lnTo>
                    <a:pt x="141" y="39"/>
                  </a:lnTo>
                  <a:lnTo>
                    <a:pt x="134" y="37"/>
                  </a:lnTo>
                  <a:lnTo>
                    <a:pt x="121" y="37"/>
                  </a:lnTo>
                  <a:lnTo>
                    <a:pt x="115" y="37"/>
                  </a:lnTo>
                  <a:lnTo>
                    <a:pt x="112" y="20"/>
                  </a:lnTo>
                  <a:lnTo>
                    <a:pt x="113" y="4"/>
                  </a:lnTo>
                  <a:lnTo>
                    <a:pt x="104" y="0"/>
                  </a:lnTo>
                  <a:lnTo>
                    <a:pt x="100" y="6"/>
                  </a:lnTo>
                  <a:lnTo>
                    <a:pt x="78" y="2"/>
                  </a:lnTo>
                  <a:lnTo>
                    <a:pt x="73" y="7"/>
                  </a:lnTo>
                  <a:lnTo>
                    <a:pt x="78" y="22"/>
                  </a:lnTo>
                  <a:lnTo>
                    <a:pt x="76" y="37"/>
                  </a:lnTo>
                  <a:lnTo>
                    <a:pt x="67" y="26"/>
                  </a:lnTo>
                  <a:lnTo>
                    <a:pt x="63" y="17"/>
                  </a:lnTo>
                  <a:lnTo>
                    <a:pt x="50" y="19"/>
                  </a:lnTo>
                  <a:lnTo>
                    <a:pt x="45" y="28"/>
                  </a:lnTo>
                  <a:lnTo>
                    <a:pt x="41" y="32"/>
                  </a:lnTo>
                  <a:lnTo>
                    <a:pt x="41" y="45"/>
                  </a:lnTo>
                  <a:lnTo>
                    <a:pt x="39" y="43"/>
                  </a:lnTo>
                  <a:lnTo>
                    <a:pt x="28" y="26"/>
                  </a:lnTo>
                  <a:lnTo>
                    <a:pt x="22" y="20"/>
                  </a:lnTo>
                  <a:lnTo>
                    <a:pt x="15" y="24"/>
                  </a:lnTo>
                  <a:lnTo>
                    <a:pt x="17" y="33"/>
                  </a:lnTo>
                  <a:lnTo>
                    <a:pt x="17" y="39"/>
                  </a:lnTo>
                  <a:lnTo>
                    <a:pt x="7" y="43"/>
                  </a:lnTo>
                  <a:lnTo>
                    <a:pt x="7" y="56"/>
                  </a:lnTo>
                  <a:lnTo>
                    <a:pt x="15" y="69"/>
                  </a:lnTo>
                  <a:lnTo>
                    <a:pt x="15" y="78"/>
                  </a:lnTo>
                  <a:lnTo>
                    <a:pt x="11" y="87"/>
                  </a:lnTo>
                  <a:lnTo>
                    <a:pt x="0" y="96"/>
                  </a:lnTo>
                  <a:lnTo>
                    <a:pt x="2" y="106"/>
                  </a:lnTo>
                  <a:lnTo>
                    <a:pt x="13" y="115"/>
                  </a:lnTo>
                  <a:lnTo>
                    <a:pt x="17" y="124"/>
                  </a:lnTo>
                  <a:lnTo>
                    <a:pt x="15" y="142"/>
                  </a:lnTo>
                  <a:lnTo>
                    <a:pt x="11" y="153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3" name="Freeform 25"/>
            <p:cNvSpPr>
              <a:spLocks/>
            </p:cNvSpPr>
            <p:nvPr/>
          </p:nvSpPr>
          <p:spPr bwMode="auto">
            <a:xfrm>
              <a:off x="1969" y="2035"/>
              <a:ext cx="109" cy="68"/>
            </a:xfrm>
            <a:custGeom>
              <a:avLst/>
              <a:gdLst>
                <a:gd name="T0" fmla="*/ 0 w 109"/>
                <a:gd name="T1" fmla="*/ 66 h 68"/>
                <a:gd name="T2" fmla="*/ 9 w 109"/>
                <a:gd name="T3" fmla="*/ 68 h 68"/>
                <a:gd name="T4" fmla="*/ 20 w 109"/>
                <a:gd name="T5" fmla="*/ 60 h 68"/>
                <a:gd name="T6" fmla="*/ 31 w 109"/>
                <a:gd name="T7" fmla="*/ 47 h 68"/>
                <a:gd name="T8" fmla="*/ 61 w 109"/>
                <a:gd name="T9" fmla="*/ 47 h 68"/>
                <a:gd name="T10" fmla="*/ 87 w 109"/>
                <a:gd name="T11" fmla="*/ 42 h 68"/>
                <a:gd name="T12" fmla="*/ 102 w 109"/>
                <a:gd name="T13" fmla="*/ 30 h 68"/>
                <a:gd name="T14" fmla="*/ 107 w 109"/>
                <a:gd name="T15" fmla="*/ 15 h 68"/>
                <a:gd name="T16" fmla="*/ 109 w 109"/>
                <a:gd name="T17" fmla="*/ 0 h 68"/>
                <a:gd name="T18" fmla="*/ 89 w 109"/>
                <a:gd name="T19" fmla="*/ 9 h 68"/>
                <a:gd name="T20" fmla="*/ 52 w 109"/>
                <a:gd name="T21" fmla="*/ 26 h 68"/>
                <a:gd name="T22" fmla="*/ 42 w 109"/>
                <a:gd name="T23" fmla="*/ 28 h 68"/>
                <a:gd name="T24" fmla="*/ 31 w 109"/>
                <a:gd name="T25" fmla="*/ 36 h 68"/>
                <a:gd name="T26" fmla="*/ 9 w 109"/>
                <a:gd name="T27" fmla="*/ 40 h 68"/>
                <a:gd name="T28" fmla="*/ 0 w 109"/>
                <a:gd name="T29" fmla="*/ 45 h 68"/>
                <a:gd name="T30" fmla="*/ 0 w 109"/>
                <a:gd name="T31" fmla="*/ 66 h 6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9"/>
                <a:gd name="T49" fmla="*/ 0 h 68"/>
                <a:gd name="T50" fmla="*/ 109 w 109"/>
                <a:gd name="T51" fmla="*/ 68 h 6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9" h="68">
                  <a:moveTo>
                    <a:pt x="0" y="66"/>
                  </a:moveTo>
                  <a:lnTo>
                    <a:pt x="9" y="68"/>
                  </a:lnTo>
                  <a:lnTo>
                    <a:pt x="20" y="60"/>
                  </a:lnTo>
                  <a:lnTo>
                    <a:pt x="31" y="47"/>
                  </a:lnTo>
                  <a:lnTo>
                    <a:pt x="61" y="47"/>
                  </a:lnTo>
                  <a:lnTo>
                    <a:pt x="87" y="42"/>
                  </a:lnTo>
                  <a:lnTo>
                    <a:pt x="102" y="30"/>
                  </a:lnTo>
                  <a:lnTo>
                    <a:pt x="107" y="15"/>
                  </a:lnTo>
                  <a:lnTo>
                    <a:pt x="109" y="0"/>
                  </a:lnTo>
                  <a:lnTo>
                    <a:pt x="89" y="9"/>
                  </a:lnTo>
                  <a:lnTo>
                    <a:pt x="52" y="26"/>
                  </a:lnTo>
                  <a:lnTo>
                    <a:pt x="42" y="28"/>
                  </a:lnTo>
                  <a:lnTo>
                    <a:pt x="31" y="36"/>
                  </a:lnTo>
                  <a:lnTo>
                    <a:pt x="9" y="40"/>
                  </a:lnTo>
                  <a:lnTo>
                    <a:pt x="0" y="45"/>
                  </a:lnTo>
                  <a:lnTo>
                    <a:pt x="0" y="66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4" name="Freeform 26"/>
            <p:cNvSpPr>
              <a:spLocks/>
            </p:cNvSpPr>
            <p:nvPr/>
          </p:nvSpPr>
          <p:spPr bwMode="auto">
            <a:xfrm>
              <a:off x="2025" y="2202"/>
              <a:ext cx="47" cy="57"/>
            </a:xfrm>
            <a:custGeom>
              <a:avLst/>
              <a:gdLst>
                <a:gd name="T0" fmla="*/ 15 w 47"/>
                <a:gd name="T1" fmla="*/ 0 h 57"/>
                <a:gd name="T2" fmla="*/ 45 w 47"/>
                <a:gd name="T3" fmla="*/ 20 h 57"/>
                <a:gd name="T4" fmla="*/ 47 w 47"/>
                <a:gd name="T5" fmla="*/ 29 h 57"/>
                <a:gd name="T6" fmla="*/ 36 w 47"/>
                <a:gd name="T7" fmla="*/ 40 h 57"/>
                <a:gd name="T8" fmla="*/ 26 w 47"/>
                <a:gd name="T9" fmla="*/ 48 h 57"/>
                <a:gd name="T10" fmla="*/ 28 w 47"/>
                <a:gd name="T11" fmla="*/ 57 h 57"/>
                <a:gd name="T12" fmla="*/ 15 w 47"/>
                <a:gd name="T13" fmla="*/ 55 h 57"/>
                <a:gd name="T14" fmla="*/ 2 w 47"/>
                <a:gd name="T15" fmla="*/ 40 h 57"/>
                <a:gd name="T16" fmla="*/ 0 w 47"/>
                <a:gd name="T17" fmla="*/ 29 h 57"/>
                <a:gd name="T18" fmla="*/ 6 w 47"/>
                <a:gd name="T19" fmla="*/ 17 h 57"/>
                <a:gd name="T20" fmla="*/ 15 w 47"/>
                <a:gd name="T21" fmla="*/ 0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"/>
                <a:gd name="T34" fmla="*/ 0 h 57"/>
                <a:gd name="T35" fmla="*/ 47 w 47"/>
                <a:gd name="T36" fmla="*/ 57 h 5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" h="57">
                  <a:moveTo>
                    <a:pt x="15" y="0"/>
                  </a:moveTo>
                  <a:lnTo>
                    <a:pt x="45" y="20"/>
                  </a:lnTo>
                  <a:lnTo>
                    <a:pt x="47" y="29"/>
                  </a:lnTo>
                  <a:lnTo>
                    <a:pt x="36" y="40"/>
                  </a:lnTo>
                  <a:lnTo>
                    <a:pt x="26" y="48"/>
                  </a:lnTo>
                  <a:lnTo>
                    <a:pt x="28" y="57"/>
                  </a:lnTo>
                  <a:lnTo>
                    <a:pt x="15" y="55"/>
                  </a:lnTo>
                  <a:lnTo>
                    <a:pt x="2" y="40"/>
                  </a:lnTo>
                  <a:lnTo>
                    <a:pt x="0" y="29"/>
                  </a:lnTo>
                  <a:lnTo>
                    <a:pt x="6" y="17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" name="Freeform 27"/>
            <p:cNvSpPr>
              <a:spLocks/>
            </p:cNvSpPr>
            <p:nvPr/>
          </p:nvSpPr>
          <p:spPr bwMode="auto">
            <a:xfrm>
              <a:off x="2084" y="2186"/>
              <a:ext cx="69" cy="83"/>
            </a:xfrm>
            <a:custGeom>
              <a:avLst/>
              <a:gdLst>
                <a:gd name="T0" fmla="*/ 65 w 69"/>
                <a:gd name="T1" fmla="*/ 0 h 83"/>
                <a:gd name="T2" fmla="*/ 69 w 69"/>
                <a:gd name="T3" fmla="*/ 4 h 83"/>
                <a:gd name="T4" fmla="*/ 65 w 69"/>
                <a:gd name="T5" fmla="*/ 9 h 83"/>
                <a:gd name="T6" fmla="*/ 69 w 69"/>
                <a:gd name="T7" fmla="*/ 18 h 83"/>
                <a:gd name="T8" fmla="*/ 64 w 69"/>
                <a:gd name="T9" fmla="*/ 29 h 83"/>
                <a:gd name="T10" fmla="*/ 54 w 69"/>
                <a:gd name="T11" fmla="*/ 37 h 83"/>
                <a:gd name="T12" fmla="*/ 58 w 69"/>
                <a:gd name="T13" fmla="*/ 46 h 83"/>
                <a:gd name="T14" fmla="*/ 54 w 69"/>
                <a:gd name="T15" fmla="*/ 54 h 83"/>
                <a:gd name="T16" fmla="*/ 58 w 69"/>
                <a:gd name="T17" fmla="*/ 63 h 83"/>
                <a:gd name="T18" fmla="*/ 45 w 69"/>
                <a:gd name="T19" fmla="*/ 83 h 83"/>
                <a:gd name="T20" fmla="*/ 16 w 69"/>
                <a:gd name="T21" fmla="*/ 63 h 83"/>
                <a:gd name="T22" fmla="*/ 0 w 69"/>
                <a:gd name="T23" fmla="*/ 52 h 83"/>
                <a:gd name="T24" fmla="*/ 9 w 69"/>
                <a:gd name="T25" fmla="*/ 46 h 83"/>
                <a:gd name="T26" fmla="*/ 9 w 69"/>
                <a:gd name="T27" fmla="*/ 33 h 83"/>
                <a:gd name="T28" fmla="*/ 27 w 69"/>
                <a:gd name="T29" fmla="*/ 22 h 83"/>
                <a:gd name="T30" fmla="*/ 36 w 69"/>
                <a:gd name="T31" fmla="*/ 26 h 83"/>
                <a:gd name="T32" fmla="*/ 45 w 69"/>
                <a:gd name="T33" fmla="*/ 22 h 83"/>
                <a:gd name="T34" fmla="*/ 60 w 69"/>
                <a:gd name="T35" fmla="*/ 11 h 83"/>
                <a:gd name="T36" fmla="*/ 65 w 69"/>
                <a:gd name="T37" fmla="*/ 0 h 8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9"/>
                <a:gd name="T58" fmla="*/ 0 h 83"/>
                <a:gd name="T59" fmla="*/ 69 w 69"/>
                <a:gd name="T60" fmla="*/ 83 h 8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9" h="83">
                  <a:moveTo>
                    <a:pt x="65" y="0"/>
                  </a:moveTo>
                  <a:lnTo>
                    <a:pt x="69" y="4"/>
                  </a:lnTo>
                  <a:lnTo>
                    <a:pt x="65" y="9"/>
                  </a:lnTo>
                  <a:lnTo>
                    <a:pt x="69" y="18"/>
                  </a:lnTo>
                  <a:lnTo>
                    <a:pt x="64" y="29"/>
                  </a:lnTo>
                  <a:lnTo>
                    <a:pt x="54" y="37"/>
                  </a:lnTo>
                  <a:lnTo>
                    <a:pt x="58" y="46"/>
                  </a:lnTo>
                  <a:lnTo>
                    <a:pt x="54" y="54"/>
                  </a:lnTo>
                  <a:lnTo>
                    <a:pt x="58" y="63"/>
                  </a:lnTo>
                  <a:lnTo>
                    <a:pt x="45" y="83"/>
                  </a:lnTo>
                  <a:lnTo>
                    <a:pt x="16" y="63"/>
                  </a:lnTo>
                  <a:lnTo>
                    <a:pt x="0" y="52"/>
                  </a:lnTo>
                  <a:lnTo>
                    <a:pt x="9" y="46"/>
                  </a:lnTo>
                  <a:lnTo>
                    <a:pt x="9" y="33"/>
                  </a:lnTo>
                  <a:lnTo>
                    <a:pt x="27" y="22"/>
                  </a:lnTo>
                  <a:lnTo>
                    <a:pt x="36" y="26"/>
                  </a:lnTo>
                  <a:lnTo>
                    <a:pt x="45" y="22"/>
                  </a:lnTo>
                  <a:lnTo>
                    <a:pt x="60" y="11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6" name="Freeform 28"/>
            <p:cNvSpPr>
              <a:spLocks/>
            </p:cNvSpPr>
            <p:nvPr/>
          </p:nvSpPr>
          <p:spPr bwMode="auto">
            <a:xfrm>
              <a:off x="2075" y="2272"/>
              <a:ext cx="28" cy="35"/>
            </a:xfrm>
            <a:custGeom>
              <a:avLst/>
              <a:gdLst>
                <a:gd name="T0" fmla="*/ 0 w 28"/>
                <a:gd name="T1" fmla="*/ 0 h 35"/>
                <a:gd name="T2" fmla="*/ 19 w 28"/>
                <a:gd name="T3" fmla="*/ 6 h 35"/>
                <a:gd name="T4" fmla="*/ 26 w 28"/>
                <a:gd name="T5" fmla="*/ 15 h 35"/>
                <a:gd name="T6" fmla="*/ 28 w 28"/>
                <a:gd name="T7" fmla="*/ 28 h 35"/>
                <a:gd name="T8" fmla="*/ 19 w 28"/>
                <a:gd name="T9" fmla="*/ 35 h 35"/>
                <a:gd name="T10" fmla="*/ 5 w 28"/>
                <a:gd name="T11" fmla="*/ 29 h 35"/>
                <a:gd name="T12" fmla="*/ 2 w 28"/>
                <a:gd name="T13" fmla="*/ 20 h 35"/>
                <a:gd name="T14" fmla="*/ 0 w 28"/>
                <a:gd name="T15" fmla="*/ 0 h 3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8"/>
                <a:gd name="T25" fmla="*/ 0 h 35"/>
                <a:gd name="T26" fmla="*/ 28 w 28"/>
                <a:gd name="T27" fmla="*/ 35 h 3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8" h="35">
                  <a:moveTo>
                    <a:pt x="0" y="0"/>
                  </a:moveTo>
                  <a:lnTo>
                    <a:pt x="19" y="6"/>
                  </a:lnTo>
                  <a:lnTo>
                    <a:pt x="26" y="15"/>
                  </a:lnTo>
                  <a:lnTo>
                    <a:pt x="28" y="28"/>
                  </a:lnTo>
                  <a:lnTo>
                    <a:pt x="19" y="35"/>
                  </a:lnTo>
                  <a:lnTo>
                    <a:pt x="5" y="29"/>
                  </a:lnTo>
                  <a:lnTo>
                    <a:pt x="2" y="2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7" name="Freeform 29"/>
            <p:cNvSpPr>
              <a:spLocks/>
            </p:cNvSpPr>
            <p:nvPr/>
          </p:nvSpPr>
          <p:spPr bwMode="auto">
            <a:xfrm>
              <a:off x="2267" y="2263"/>
              <a:ext cx="16" cy="29"/>
            </a:xfrm>
            <a:custGeom>
              <a:avLst/>
              <a:gdLst>
                <a:gd name="T0" fmla="*/ 5 w 16"/>
                <a:gd name="T1" fmla="*/ 0 h 29"/>
                <a:gd name="T2" fmla="*/ 0 w 16"/>
                <a:gd name="T3" fmla="*/ 5 h 29"/>
                <a:gd name="T4" fmla="*/ 0 w 16"/>
                <a:gd name="T5" fmla="*/ 20 h 29"/>
                <a:gd name="T6" fmla="*/ 11 w 16"/>
                <a:gd name="T7" fmla="*/ 29 h 29"/>
                <a:gd name="T8" fmla="*/ 16 w 16"/>
                <a:gd name="T9" fmla="*/ 16 h 29"/>
                <a:gd name="T10" fmla="*/ 5 w 16"/>
                <a:gd name="T11" fmla="*/ 0 h 2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29"/>
                <a:gd name="T20" fmla="*/ 16 w 16"/>
                <a:gd name="T21" fmla="*/ 29 h 2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29">
                  <a:moveTo>
                    <a:pt x="5" y="0"/>
                  </a:moveTo>
                  <a:lnTo>
                    <a:pt x="0" y="5"/>
                  </a:lnTo>
                  <a:lnTo>
                    <a:pt x="0" y="20"/>
                  </a:lnTo>
                  <a:lnTo>
                    <a:pt x="11" y="29"/>
                  </a:lnTo>
                  <a:lnTo>
                    <a:pt x="16" y="16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62" name="Group 30"/>
          <p:cNvGrpSpPr>
            <a:grpSpLocks/>
          </p:cNvGrpSpPr>
          <p:nvPr/>
        </p:nvGrpSpPr>
        <p:grpSpPr bwMode="auto">
          <a:xfrm>
            <a:off x="6662869" y="2939707"/>
            <a:ext cx="773221" cy="1081296"/>
            <a:chOff x="1747" y="2255"/>
            <a:chExt cx="512" cy="684"/>
          </a:xfrm>
          <a:solidFill>
            <a:schemeClr val="accent3"/>
          </a:solidFill>
        </p:grpSpPr>
        <p:sp>
          <p:nvSpPr>
            <p:cNvPr id="200" name="Freeform 31"/>
            <p:cNvSpPr>
              <a:spLocks/>
            </p:cNvSpPr>
            <p:nvPr/>
          </p:nvSpPr>
          <p:spPr bwMode="auto">
            <a:xfrm>
              <a:off x="2181" y="2320"/>
              <a:ext cx="24" cy="22"/>
            </a:xfrm>
            <a:custGeom>
              <a:avLst/>
              <a:gdLst>
                <a:gd name="T0" fmla="*/ 2 w 24"/>
                <a:gd name="T1" fmla="*/ 0 h 22"/>
                <a:gd name="T2" fmla="*/ 0 w 24"/>
                <a:gd name="T3" fmla="*/ 4 h 22"/>
                <a:gd name="T4" fmla="*/ 2 w 24"/>
                <a:gd name="T5" fmla="*/ 15 h 22"/>
                <a:gd name="T6" fmla="*/ 15 w 24"/>
                <a:gd name="T7" fmla="*/ 22 h 22"/>
                <a:gd name="T8" fmla="*/ 24 w 24"/>
                <a:gd name="T9" fmla="*/ 13 h 22"/>
                <a:gd name="T10" fmla="*/ 2 w 24"/>
                <a:gd name="T11" fmla="*/ 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22"/>
                <a:gd name="T20" fmla="*/ 24 w 24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22">
                  <a:moveTo>
                    <a:pt x="2" y="0"/>
                  </a:moveTo>
                  <a:lnTo>
                    <a:pt x="0" y="4"/>
                  </a:lnTo>
                  <a:lnTo>
                    <a:pt x="2" y="15"/>
                  </a:lnTo>
                  <a:lnTo>
                    <a:pt x="15" y="22"/>
                  </a:lnTo>
                  <a:lnTo>
                    <a:pt x="24" y="1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1" name="Freeform 32"/>
            <p:cNvSpPr>
              <a:spLocks/>
            </p:cNvSpPr>
            <p:nvPr/>
          </p:nvSpPr>
          <p:spPr bwMode="auto">
            <a:xfrm>
              <a:off x="1747" y="2255"/>
              <a:ext cx="512" cy="684"/>
            </a:xfrm>
            <a:custGeom>
              <a:avLst/>
              <a:gdLst>
                <a:gd name="T0" fmla="*/ 201 w 512"/>
                <a:gd name="T1" fmla="*/ 15 h 684"/>
                <a:gd name="T2" fmla="*/ 207 w 512"/>
                <a:gd name="T3" fmla="*/ 48 h 684"/>
                <a:gd name="T4" fmla="*/ 203 w 512"/>
                <a:gd name="T5" fmla="*/ 72 h 684"/>
                <a:gd name="T6" fmla="*/ 231 w 512"/>
                <a:gd name="T7" fmla="*/ 107 h 684"/>
                <a:gd name="T8" fmla="*/ 190 w 512"/>
                <a:gd name="T9" fmla="*/ 96 h 684"/>
                <a:gd name="T10" fmla="*/ 158 w 512"/>
                <a:gd name="T11" fmla="*/ 122 h 684"/>
                <a:gd name="T12" fmla="*/ 136 w 512"/>
                <a:gd name="T13" fmla="*/ 100 h 684"/>
                <a:gd name="T14" fmla="*/ 95 w 512"/>
                <a:gd name="T15" fmla="*/ 122 h 684"/>
                <a:gd name="T16" fmla="*/ 103 w 512"/>
                <a:gd name="T17" fmla="*/ 157 h 684"/>
                <a:gd name="T18" fmla="*/ 82 w 512"/>
                <a:gd name="T19" fmla="*/ 176 h 684"/>
                <a:gd name="T20" fmla="*/ 86 w 512"/>
                <a:gd name="T21" fmla="*/ 209 h 684"/>
                <a:gd name="T22" fmla="*/ 58 w 512"/>
                <a:gd name="T23" fmla="*/ 244 h 684"/>
                <a:gd name="T24" fmla="*/ 28 w 512"/>
                <a:gd name="T25" fmla="*/ 272 h 684"/>
                <a:gd name="T26" fmla="*/ 19 w 512"/>
                <a:gd name="T27" fmla="*/ 326 h 684"/>
                <a:gd name="T28" fmla="*/ 15 w 512"/>
                <a:gd name="T29" fmla="*/ 350 h 684"/>
                <a:gd name="T30" fmla="*/ 2 w 512"/>
                <a:gd name="T31" fmla="*/ 400 h 684"/>
                <a:gd name="T32" fmla="*/ 19 w 512"/>
                <a:gd name="T33" fmla="*/ 424 h 684"/>
                <a:gd name="T34" fmla="*/ 0 w 512"/>
                <a:gd name="T35" fmla="*/ 455 h 684"/>
                <a:gd name="T36" fmla="*/ 28 w 512"/>
                <a:gd name="T37" fmla="*/ 489 h 684"/>
                <a:gd name="T38" fmla="*/ 81 w 512"/>
                <a:gd name="T39" fmla="*/ 496 h 684"/>
                <a:gd name="T40" fmla="*/ 90 w 512"/>
                <a:gd name="T41" fmla="*/ 520 h 684"/>
                <a:gd name="T42" fmla="*/ 66 w 512"/>
                <a:gd name="T43" fmla="*/ 553 h 684"/>
                <a:gd name="T44" fmla="*/ 45 w 512"/>
                <a:gd name="T45" fmla="*/ 608 h 684"/>
                <a:gd name="T46" fmla="*/ 73 w 512"/>
                <a:gd name="T47" fmla="*/ 641 h 684"/>
                <a:gd name="T48" fmla="*/ 99 w 512"/>
                <a:gd name="T49" fmla="*/ 628 h 684"/>
                <a:gd name="T50" fmla="*/ 125 w 512"/>
                <a:gd name="T51" fmla="*/ 638 h 684"/>
                <a:gd name="T52" fmla="*/ 149 w 512"/>
                <a:gd name="T53" fmla="*/ 660 h 684"/>
                <a:gd name="T54" fmla="*/ 197 w 512"/>
                <a:gd name="T55" fmla="*/ 667 h 684"/>
                <a:gd name="T56" fmla="*/ 229 w 512"/>
                <a:gd name="T57" fmla="*/ 673 h 684"/>
                <a:gd name="T58" fmla="*/ 277 w 512"/>
                <a:gd name="T59" fmla="*/ 673 h 684"/>
                <a:gd name="T60" fmla="*/ 308 w 512"/>
                <a:gd name="T61" fmla="*/ 669 h 684"/>
                <a:gd name="T62" fmla="*/ 342 w 512"/>
                <a:gd name="T63" fmla="*/ 669 h 684"/>
                <a:gd name="T64" fmla="*/ 382 w 512"/>
                <a:gd name="T65" fmla="*/ 678 h 684"/>
                <a:gd name="T66" fmla="*/ 373 w 512"/>
                <a:gd name="T67" fmla="*/ 649 h 684"/>
                <a:gd name="T68" fmla="*/ 432 w 512"/>
                <a:gd name="T69" fmla="*/ 593 h 684"/>
                <a:gd name="T70" fmla="*/ 403 w 512"/>
                <a:gd name="T71" fmla="*/ 567 h 684"/>
                <a:gd name="T72" fmla="*/ 347 w 512"/>
                <a:gd name="T73" fmla="*/ 511 h 684"/>
                <a:gd name="T74" fmla="*/ 333 w 512"/>
                <a:gd name="T75" fmla="*/ 461 h 684"/>
                <a:gd name="T76" fmla="*/ 352 w 512"/>
                <a:gd name="T77" fmla="*/ 449 h 684"/>
                <a:gd name="T78" fmla="*/ 463 w 512"/>
                <a:gd name="T79" fmla="*/ 400 h 684"/>
                <a:gd name="T80" fmla="*/ 503 w 512"/>
                <a:gd name="T81" fmla="*/ 397 h 684"/>
                <a:gd name="T82" fmla="*/ 512 w 512"/>
                <a:gd name="T83" fmla="*/ 363 h 684"/>
                <a:gd name="T84" fmla="*/ 501 w 512"/>
                <a:gd name="T85" fmla="*/ 300 h 684"/>
                <a:gd name="T86" fmla="*/ 492 w 512"/>
                <a:gd name="T87" fmla="*/ 256 h 684"/>
                <a:gd name="T88" fmla="*/ 479 w 512"/>
                <a:gd name="T89" fmla="*/ 207 h 684"/>
                <a:gd name="T90" fmla="*/ 458 w 512"/>
                <a:gd name="T91" fmla="*/ 130 h 684"/>
                <a:gd name="T92" fmla="*/ 414 w 512"/>
                <a:gd name="T93" fmla="*/ 85 h 684"/>
                <a:gd name="T94" fmla="*/ 379 w 512"/>
                <a:gd name="T95" fmla="*/ 83 h 684"/>
                <a:gd name="T96" fmla="*/ 319 w 512"/>
                <a:gd name="T97" fmla="*/ 106 h 684"/>
                <a:gd name="T98" fmla="*/ 314 w 512"/>
                <a:gd name="T99" fmla="*/ 87 h 684"/>
                <a:gd name="T100" fmla="*/ 284 w 512"/>
                <a:gd name="T101" fmla="*/ 59 h 684"/>
                <a:gd name="T102" fmla="*/ 260 w 512"/>
                <a:gd name="T103" fmla="*/ 15 h 684"/>
                <a:gd name="T104" fmla="*/ 225 w 512"/>
                <a:gd name="T105" fmla="*/ 2 h 68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12"/>
                <a:gd name="T160" fmla="*/ 0 h 684"/>
                <a:gd name="T161" fmla="*/ 512 w 512"/>
                <a:gd name="T162" fmla="*/ 684 h 68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12" h="684">
                  <a:moveTo>
                    <a:pt x="212" y="0"/>
                  </a:moveTo>
                  <a:lnTo>
                    <a:pt x="201" y="7"/>
                  </a:lnTo>
                  <a:lnTo>
                    <a:pt x="201" y="15"/>
                  </a:lnTo>
                  <a:lnTo>
                    <a:pt x="203" y="22"/>
                  </a:lnTo>
                  <a:lnTo>
                    <a:pt x="205" y="33"/>
                  </a:lnTo>
                  <a:lnTo>
                    <a:pt x="207" y="48"/>
                  </a:lnTo>
                  <a:lnTo>
                    <a:pt x="201" y="54"/>
                  </a:lnTo>
                  <a:lnTo>
                    <a:pt x="201" y="63"/>
                  </a:lnTo>
                  <a:lnTo>
                    <a:pt x="203" y="72"/>
                  </a:lnTo>
                  <a:lnTo>
                    <a:pt x="218" y="85"/>
                  </a:lnTo>
                  <a:lnTo>
                    <a:pt x="227" y="87"/>
                  </a:lnTo>
                  <a:lnTo>
                    <a:pt x="231" y="107"/>
                  </a:lnTo>
                  <a:lnTo>
                    <a:pt x="210" y="102"/>
                  </a:lnTo>
                  <a:lnTo>
                    <a:pt x="199" y="91"/>
                  </a:lnTo>
                  <a:lnTo>
                    <a:pt x="190" y="96"/>
                  </a:lnTo>
                  <a:lnTo>
                    <a:pt x="173" y="117"/>
                  </a:lnTo>
                  <a:lnTo>
                    <a:pt x="166" y="124"/>
                  </a:lnTo>
                  <a:lnTo>
                    <a:pt x="158" y="122"/>
                  </a:lnTo>
                  <a:lnTo>
                    <a:pt x="157" y="113"/>
                  </a:lnTo>
                  <a:lnTo>
                    <a:pt x="151" y="106"/>
                  </a:lnTo>
                  <a:lnTo>
                    <a:pt x="136" y="100"/>
                  </a:lnTo>
                  <a:lnTo>
                    <a:pt x="114" y="100"/>
                  </a:lnTo>
                  <a:lnTo>
                    <a:pt x="107" y="109"/>
                  </a:lnTo>
                  <a:lnTo>
                    <a:pt x="95" y="122"/>
                  </a:lnTo>
                  <a:lnTo>
                    <a:pt x="105" y="131"/>
                  </a:lnTo>
                  <a:lnTo>
                    <a:pt x="105" y="148"/>
                  </a:lnTo>
                  <a:lnTo>
                    <a:pt x="103" y="157"/>
                  </a:lnTo>
                  <a:lnTo>
                    <a:pt x="99" y="165"/>
                  </a:lnTo>
                  <a:lnTo>
                    <a:pt x="86" y="174"/>
                  </a:lnTo>
                  <a:lnTo>
                    <a:pt x="82" y="176"/>
                  </a:lnTo>
                  <a:lnTo>
                    <a:pt x="84" y="189"/>
                  </a:lnTo>
                  <a:lnTo>
                    <a:pt x="90" y="198"/>
                  </a:lnTo>
                  <a:lnTo>
                    <a:pt x="86" y="209"/>
                  </a:lnTo>
                  <a:lnTo>
                    <a:pt x="77" y="222"/>
                  </a:lnTo>
                  <a:lnTo>
                    <a:pt x="66" y="235"/>
                  </a:lnTo>
                  <a:lnTo>
                    <a:pt x="58" y="244"/>
                  </a:lnTo>
                  <a:lnTo>
                    <a:pt x="45" y="254"/>
                  </a:lnTo>
                  <a:lnTo>
                    <a:pt x="35" y="257"/>
                  </a:lnTo>
                  <a:lnTo>
                    <a:pt x="28" y="272"/>
                  </a:lnTo>
                  <a:lnTo>
                    <a:pt x="26" y="294"/>
                  </a:lnTo>
                  <a:lnTo>
                    <a:pt x="19" y="307"/>
                  </a:lnTo>
                  <a:lnTo>
                    <a:pt x="19" y="326"/>
                  </a:lnTo>
                  <a:lnTo>
                    <a:pt x="11" y="335"/>
                  </a:lnTo>
                  <a:lnTo>
                    <a:pt x="9" y="341"/>
                  </a:lnTo>
                  <a:lnTo>
                    <a:pt x="15" y="350"/>
                  </a:lnTo>
                  <a:lnTo>
                    <a:pt x="19" y="365"/>
                  </a:lnTo>
                  <a:lnTo>
                    <a:pt x="28" y="378"/>
                  </a:lnTo>
                  <a:lnTo>
                    <a:pt x="2" y="400"/>
                  </a:lnTo>
                  <a:lnTo>
                    <a:pt x="7" y="413"/>
                  </a:lnTo>
                  <a:lnTo>
                    <a:pt x="17" y="422"/>
                  </a:lnTo>
                  <a:lnTo>
                    <a:pt x="19" y="424"/>
                  </a:lnTo>
                  <a:lnTo>
                    <a:pt x="19" y="433"/>
                  </a:lnTo>
                  <a:lnTo>
                    <a:pt x="6" y="442"/>
                  </a:lnTo>
                  <a:lnTo>
                    <a:pt x="0" y="455"/>
                  </a:lnTo>
                  <a:lnTo>
                    <a:pt x="6" y="472"/>
                  </a:lnTo>
                  <a:lnTo>
                    <a:pt x="13" y="483"/>
                  </a:lnTo>
                  <a:lnTo>
                    <a:pt x="28" y="489"/>
                  </a:lnTo>
                  <a:lnTo>
                    <a:pt x="47" y="492"/>
                  </a:lnTo>
                  <a:lnTo>
                    <a:pt x="66" y="494"/>
                  </a:lnTo>
                  <a:lnTo>
                    <a:pt x="81" y="496"/>
                  </a:lnTo>
                  <a:lnTo>
                    <a:pt x="92" y="504"/>
                  </a:lnTo>
                  <a:lnTo>
                    <a:pt x="103" y="513"/>
                  </a:lnTo>
                  <a:lnTo>
                    <a:pt x="90" y="520"/>
                  </a:lnTo>
                  <a:lnTo>
                    <a:pt x="79" y="531"/>
                  </a:lnTo>
                  <a:lnTo>
                    <a:pt x="68" y="541"/>
                  </a:lnTo>
                  <a:lnTo>
                    <a:pt x="66" y="553"/>
                  </a:lnTo>
                  <a:lnTo>
                    <a:pt x="60" y="580"/>
                  </a:lnTo>
                  <a:lnTo>
                    <a:pt x="51" y="597"/>
                  </a:lnTo>
                  <a:lnTo>
                    <a:pt x="45" y="608"/>
                  </a:lnTo>
                  <a:lnTo>
                    <a:pt x="60" y="628"/>
                  </a:lnTo>
                  <a:lnTo>
                    <a:pt x="64" y="634"/>
                  </a:lnTo>
                  <a:lnTo>
                    <a:pt x="73" y="641"/>
                  </a:lnTo>
                  <a:lnTo>
                    <a:pt x="82" y="640"/>
                  </a:lnTo>
                  <a:lnTo>
                    <a:pt x="94" y="634"/>
                  </a:lnTo>
                  <a:lnTo>
                    <a:pt x="99" y="628"/>
                  </a:lnTo>
                  <a:lnTo>
                    <a:pt x="101" y="625"/>
                  </a:lnTo>
                  <a:lnTo>
                    <a:pt x="118" y="628"/>
                  </a:lnTo>
                  <a:lnTo>
                    <a:pt x="125" y="638"/>
                  </a:lnTo>
                  <a:lnTo>
                    <a:pt x="131" y="649"/>
                  </a:lnTo>
                  <a:lnTo>
                    <a:pt x="138" y="658"/>
                  </a:lnTo>
                  <a:lnTo>
                    <a:pt x="149" y="660"/>
                  </a:lnTo>
                  <a:lnTo>
                    <a:pt x="171" y="658"/>
                  </a:lnTo>
                  <a:lnTo>
                    <a:pt x="182" y="656"/>
                  </a:lnTo>
                  <a:lnTo>
                    <a:pt x="197" y="667"/>
                  </a:lnTo>
                  <a:lnTo>
                    <a:pt x="208" y="662"/>
                  </a:lnTo>
                  <a:lnTo>
                    <a:pt x="219" y="665"/>
                  </a:lnTo>
                  <a:lnTo>
                    <a:pt x="229" y="673"/>
                  </a:lnTo>
                  <a:lnTo>
                    <a:pt x="247" y="665"/>
                  </a:lnTo>
                  <a:lnTo>
                    <a:pt x="264" y="665"/>
                  </a:lnTo>
                  <a:lnTo>
                    <a:pt x="277" y="673"/>
                  </a:lnTo>
                  <a:lnTo>
                    <a:pt x="286" y="677"/>
                  </a:lnTo>
                  <a:lnTo>
                    <a:pt x="297" y="669"/>
                  </a:lnTo>
                  <a:lnTo>
                    <a:pt x="308" y="669"/>
                  </a:lnTo>
                  <a:lnTo>
                    <a:pt x="327" y="665"/>
                  </a:lnTo>
                  <a:lnTo>
                    <a:pt x="340" y="673"/>
                  </a:lnTo>
                  <a:lnTo>
                    <a:pt x="342" y="669"/>
                  </a:lnTo>
                  <a:lnTo>
                    <a:pt x="356" y="678"/>
                  </a:lnTo>
                  <a:lnTo>
                    <a:pt x="368" y="684"/>
                  </a:lnTo>
                  <a:lnTo>
                    <a:pt x="382" y="678"/>
                  </a:lnTo>
                  <a:lnTo>
                    <a:pt x="384" y="669"/>
                  </a:lnTo>
                  <a:lnTo>
                    <a:pt x="375" y="656"/>
                  </a:lnTo>
                  <a:lnTo>
                    <a:pt x="373" y="649"/>
                  </a:lnTo>
                  <a:lnTo>
                    <a:pt x="368" y="627"/>
                  </a:lnTo>
                  <a:lnTo>
                    <a:pt x="419" y="593"/>
                  </a:lnTo>
                  <a:lnTo>
                    <a:pt x="432" y="593"/>
                  </a:lnTo>
                  <a:lnTo>
                    <a:pt x="434" y="588"/>
                  </a:lnTo>
                  <a:lnTo>
                    <a:pt x="416" y="581"/>
                  </a:lnTo>
                  <a:lnTo>
                    <a:pt x="403" y="567"/>
                  </a:lnTo>
                  <a:lnTo>
                    <a:pt x="370" y="538"/>
                  </a:lnTo>
                  <a:lnTo>
                    <a:pt x="366" y="515"/>
                  </a:lnTo>
                  <a:lnTo>
                    <a:pt x="347" y="511"/>
                  </a:lnTo>
                  <a:lnTo>
                    <a:pt x="345" y="489"/>
                  </a:lnTo>
                  <a:lnTo>
                    <a:pt x="341" y="470"/>
                  </a:lnTo>
                  <a:lnTo>
                    <a:pt x="333" y="461"/>
                  </a:lnTo>
                  <a:lnTo>
                    <a:pt x="338" y="452"/>
                  </a:lnTo>
                  <a:lnTo>
                    <a:pt x="342" y="448"/>
                  </a:lnTo>
                  <a:lnTo>
                    <a:pt x="352" y="449"/>
                  </a:lnTo>
                  <a:lnTo>
                    <a:pt x="383" y="440"/>
                  </a:lnTo>
                  <a:lnTo>
                    <a:pt x="449" y="406"/>
                  </a:lnTo>
                  <a:lnTo>
                    <a:pt x="463" y="400"/>
                  </a:lnTo>
                  <a:lnTo>
                    <a:pt x="477" y="391"/>
                  </a:lnTo>
                  <a:lnTo>
                    <a:pt x="488" y="403"/>
                  </a:lnTo>
                  <a:lnTo>
                    <a:pt x="503" y="397"/>
                  </a:lnTo>
                  <a:lnTo>
                    <a:pt x="507" y="382"/>
                  </a:lnTo>
                  <a:lnTo>
                    <a:pt x="506" y="373"/>
                  </a:lnTo>
                  <a:lnTo>
                    <a:pt x="512" y="363"/>
                  </a:lnTo>
                  <a:lnTo>
                    <a:pt x="504" y="351"/>
                  </a:lnTo>
                  <a:lnTo>
                    <a:pt x="495" y="330"/>
                  </a:lnTo>
                  <a:lnTo>
                    <a:pt x="501" y="300"/>
                  </a:lnTo>
                  <a:lnTo>
                    <a:pt x="491" y="285"/>
                  </a:lnTo>
                  <a:lnTo>
                    <a:pt x="487" y="270"/>
                  </a:lnTo>
                  <a:lnTo>
                    <a:pt x="492" y="256"/>
                  </a:lnTo>
                  <a:lnTo>
                    <a:pt x="489" y="244"/>
                  </a:lnTo>
                  <a:lnTo>
                    <a:pt x="468" y="221"/>
                  </a:lnTo>
                  <a:lnTo>
                    <a:pt x="479" y="207"/>
                  </a:lnTo>
                  <a:lnTo>
                    <a:pt x="479" y="183"/>
                  </a:lnTo>
                  <a:lnTo>
                    <a:pt x="481" y="155"/>
                  </a:lnTo>
                  <a:lnTo>
                    <a:pt x="458" y="130"/>
                  </a:lnTo>
                  <a:lnTo>
                    <a:pt x="447" y="115"/>
                  </a:lnTo>
                  <a:lnTo>
                    <a:pt x="434" y="102"/>
                  </a:lnTo>
                  <a:lnTo>
                    <a:pt x="414" y="85"/>
                  </a:lnTo>
                  <a:lnTo>
                    <a:pt x="401" y="76"/>
                  </a:lnTo>
                  <a:lnTo>
                    <a:pt x="392" y="74"/>
                  </a:lnTo>
                  <a:lnTo>
                    <a:pt x="379" y="83"/>
                  </a:lnTo>
                  <a:lnTo>
                    <a:pt x="369" y="89"/>
                  </a:lnTo>
                  <a:lnTo>
                    <a:pt x="340" y="111"/>
                  </a:lnTo>
                  <a:lnTo>
                    <a:pt x="319" y="106"/>
                  </a:lnTo>
                  <a:lnTo>
                    <a:pt x="310" y="106"/>
                  </a:lnTo>
                  <a:lnTo>
                    <a:pt x="310" y="98"/>
                  </a:lnTo>
                  <a:lnTo>
                    <a:pt x="314" y="87"/>
                  </a:lnTo>
                  <a:lnTo>
                    <a:pt x="319" y="78"/>
                  </a:lnTo>
                  <a:lnTo>
                    <a:pt x="292" y="61"/>
                  </a:lnTo>
                  <a:lnTo>
                    <a:pt x="284" y="59"/>
                  </a:lnTo>
                  <a:lnTo>
                    <a:pt x="271" y="48"/>
                  </a:lnTo>
                  <a:lnTo>
                    <a:pt x="266" y="28"/>
                  </a:lnTo>
                  <a:lnTo>
                    <a:pt x="260" y="15"/>
                  </a:lnTo>
                  <a:lnTo>
                    <a:pt x="251" y="17"/>
                  </a:lnTo>
                  <a:lnTo>
                    <a:pt x="240" y="4"/>
                  </a:lnTo>
                  <a:lnTo>
                    <a:pt x="22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163" name="Freeform 33"/>
          <p:cNvSpPr>
            <a:spLocks/>
          </p:cNvSpPr>
          <p:nvPr/>
        </p:nvSpPr>
        <p:spPr bwMode="auto">
          <a:xfrm>
            <a:off x="7369642" y="3026652"/>
            <a:ext cx="832119" cy="818876"/>
          </a:xfrm>
          <a:custGeom>
            <a:avLst/>
            <a:gdLst>
              <a:gd name="T0" fmla="*/ 2147483647 w 551"/>
              <a:gd name="T1" fmla="*/ 2147483647 h 518"/>
              <a:gd name="T2" fmla="*/ 0 w 551"/>
              <a:gd name="T3" fmla="*/ 2147483647 h 518"/>
              <a:gd name="T4" fmla="*/ 2147483647 w 551"/>
              <a:gd name="T5" fmla="*/ 2147483647 h 518"/>
              <a:gd name="T6" fmla="*/ 2147483647 w 551"/>
              <a:gd name="T7" fmla="*/ 2147483647 h 518"/>
              <a:gd name="T8" fmla="*/ 2147483647 w 551"/>
              <a:gd name="T9" fmla="*/ 2147483647 h 518"/>
              <a:gd name="T10" fmla="*/ 2147483647 w 551"/>
              <a:gd name="T11" fmla="*/ 2147483647 h 518"/>
              <a:gd name="T12" fmla="*/ 2147483647 w 551"/>
              <a:gd name="T13" fmla="*/ 2147483647 h 518"/>
              <a:gd name="T14" fmla="*/ 2147483647 w 551"/>
              <a:gd name="T15" fmla="*/ 2147483647 h 518"/>
              <a:gd name="T16" fmla="*/ 2147483647 w 551"/>
              <a:gd name="T17" fmla="*/ 2147483647 h 518"/>
              <a:gd name="T18" fmla="*/ 2147483647 w 551"/>
              <a:gd name="T19" fmla="*/ 2147483647 h 518"/>
              <a:gd name="T20" fmla="*/ 2147483647 w 551"/>
              <a:gd name="T21" fmla="*/ 2147483647 h 518"/>
              <a:gd name="T22" fmla="*/ 2147483647 w 551"/>
              <a:gd name="T23" fmla="*/ 2147483647 h 518"/>
              <a:gd name="T24" fmla="*/ 2147483647 w 551"/>
              <a:gd name="T25" fmla="*/ 2147483647 h 518"/>
              <a:gd name="T26" fmla="*/ 2147483647 w 551"/>
              <a:gd name="T27" fmla="*/ 2147483647 h 518"/>
              <a:gd name="T28" fmla="*/ 2147483647 w 551"/>
              <a:gd name="T29" fmla="*/ 2147483647 h 518"/>
              <a:gd name="T30" fmla="*/ 2147483647 w 551"/>
              <a:gd name="T31" fmla="*/ 2147483647 h 518"/>
              <a:gd name="T32" fmla="*/ 2147483647 w 551"/>
              <a:gd name="T33" fmla="*/ 2147483647 h 518"/>
              <a:gd name="T34" fmla="*/ 2147483647 w 551"/>
              <a:gd name="T35" fmla="*/ 2147483647 h 518"/>
              <a:gd name="T36" fmla="*/ 2147483647 w 551"/>
              <a:gd name="T37" fmla="*/ 2147483647 h 518"/>
              <a:gd name="T38" fmla="*/ 2147483647 w 551"/>
              <a:gd name="T39" fmla="*/ 2147483647 h 518"/>
              <a:gd name="T40" fmla="*/ 2147483647 w 551"/>
              <a:gd name="T41" fmla="*/ 2147483647 h 518"/>
              <a:gd name="T42" fmla="*/ 2147483647 w 551"/>
              <a:gd name="T43" fmla="*/ 2147483647 h 518"/>
              <a:gd name="T44" fmla="*/ 2147483647 w 551"/>
              <a:gd name="T45" fmla="*/ 2147483647 h 518"/>
              <a:gd name="T46" fmla="*/ 2147483647 w 551"/>
              <a:gd name="T47" fmla="*/ 2147483647 h 518"/>
              <a:gd name="T48" fmla="*/ 2147483647 w 551"/>
              <a:gd name="T49" fmla="*/ 2147483647 h 518"/>
              <a:gd name="T50" fmla="*/ 2147483647 w 551"/>
              <a:gd name="T51" fmla="*/ 2147483647 h 518"/>
              <a:gd name="T52" fmla="*/ 2147483647 w 551"/>
              <a:gd name="T53" fmla="*/ 2147483647 h 518"/>
              <a:gd name="T54" fmla="*/ 2147483647 w 551"/>
              <a:gd name="T55" fmla="*/ 2147483647 h 518"/>
              <a:gd name="T56" fmla="*/ 2147483647 w 551"/>
              <a:gd name="T57" fmla="*/ 2147483647 h 518"/>
              <a:gd name="T58" fmla="*/ 2147483647 w 551"/>
              <a:gd name="T59" fmla="*/ 2147483647 h 518"/>
              <a:gd name="T60" fmla="*/ 2147483647 w 551"/>
              <a:gd name="T61" fmla="*/ 2147483647 h 518"/>
              <a:gd name="T62" fmla="*/ 2147483647 w 551"/>
              <a:gd name="T63" fmla="*/ 2147483647 h 518"/>
              <a:gd name="T64" fmla="*/ 2147483647 w 551"/>
              <a:gd name="T65" fmla="*/ 2147483647 h 518"/>
              <a:gd name="T66" fmla="*/ 2147483647 w 551"/>
              <a:gd name="T67" fmla="*/ 2147483647 h 518"/>
              <a:gd name="T68" fmla="*/ 2147483647 w 551"/>
              <a:gd name="T69" fmla="*/ 2147483647 h 518"/>
              <a:gd name="T70" fmla="*/ 2147483647 w 551"/>
              <a:gd name="T71" fmla="*/ 2147483647 h 518"/>
              <a:gd name="T72" fmla="*/ 2147483647 w 551"/>
              <a:gd name="T73" fmla="*/ 2147483647 h 518"/>
              <a:gd name="T74" fmla="*/ 2147483647 w 551"/>
              <a:gd name="T75" fmla="*/ 2147483647 h 518"/>
              <a:gd name="T76" fmla="*/ 2147483647 w 551"/>
              <a:gd name="T77" fmla="*/ 2147483647 h 518"/>
              <a:gd name="T78" fmla="*/ 2147483647 w 551"/>
              <a:gd name="T79" fmla="*/ 2147483647 h 518"/>
              <a:gd name="T80" fmla="*/ 2147483647 w 551"/>
              <a:gd name="T81" fmla="*/ 2147483647 h 518"/>
              <a:gd name="T82" fmla="*/ 2147483647 w 551"/>
              <a:gd name="T83" fmla="*/ 2147483647 h 518"/>
              <a:gd name="T84" fmla="*/ 2147483647 w 551"/>
              <a:gd name="T85" fmla="*/ 2147483647 h 518"/>
              <a:gd name="T86" fmla="*/ 2147483647 w 551"/>
              <a:gd name="T87" fmla="*/ 2147483647 h 518"/>
              <a:gd name="T88" fmla="*/ 2147483647 w 551"/>
              <a:gd name="T89" fmla="*/ 2147483647 h 518"/>
              <a:gd name="T90" fmla="*/ 2147483647 w 551"/>
              <a:gd name="T91" fmla="*/ 2147483647 h 518"/>
              <a:gd name="T92" fmla="*/ 2147483647 w 551"/>
              <a:gd name="T93" fmla="*/ 2147483647 h 518"/>
              <a:gd name="T94" fmla="*/ 2147483647 w 551"/>
              <a:gd name="T95" fmla="*/ 2147483647 h 51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551"/>
              <a:gd name="T145" fmla="*/ 0 h 518"/>
              <a:gd name="T146" fmla="*/ 551 w 551"/>
              <a:gd name="T147" fmla="*/ 518 h 51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551" h="518">
                <a:moveTo>
                  <a:pt x="13" y="98"/>
                </a:moveTo>
                <a:lnTo>
                  <a:pt x="11" y="130"/>
                </a:lnTo>
                <a:lnTo>
                  <a:pt x="11" y="150"/>
                </a:lnTo>
                <a:lnTo>
                  <a:pt x="0" y="165"/>
                </a:lnTo>
                <a:lnTo>
                  <a:pt x="22" y="191"/>
                </a:lnTo>
                <a:lnTo>
                  <a:pt x="24" y="198"/>
                </a:lnTo>
                <a:lnTo>
                  <a:pt x="19" y="215"/>
                </a:lnTo>
                <a:lnTo>
                  <a:pt x="20" y="226"/>
                </a:lnTo>
                <a:lnTo>
                  <a:pt x="31" y="241"/>
                </a:lnTo>
                <a:lnTo>
                  <a:pt x="30" y="250"/>
                </a:lnTo>
                <a:lnTo>
                  <a:pt x="28" y="278"/>
                </a:lnTo>
                <a:lnTo>
                  <a:pt x="37" y="297"/>
                </a:lnTo>
                <a:lnTo>
                  <a:pt x="44" y="308"/>
                </a:lnTo>
                <a:lnTo>
                  <a:pt x="39" y="315"/>
                </a:lnTo>
                <a:lnTo>
                  <a:pt x="39" y="326"/>
                </a:lnTo>
                <a:lnTo>
                  <a:pt x="33" y="332"/>
                </a:lnTo>
                <a:lnTo>
                  <a:pt x="33" y="339"/>
                </a:lnTo>
                <a:lnTo>
                  <a:pt x="48" y="341"/>
                </a:lnTo>
                <a:lnTo>
                  <a:pt x="59" y="345"/>
                </a:lnTo>
                <a:lnTo>
                  <a:pt x="63" y="352"/>
                </a:lnTo>
                <a:lnTo>
                  <a:pt x="63" y="365"/>
                </a:lnTo>
                <a:lnTo>
                  <a:pt x="78" y="380"/>
                </a:lnTo>
                <a:lnTo>
                  <a:pt x="92" y="386"/>
                </a:lnTo>
                <a:lnTo>
                  <a:pt x="95" y="399"/>
                </a:lnTo>
                <a:lnTo>
                  <a:pt x="112" y="421"/>
                </a:lnTo>
                <a:lnTo>
                  <a:pt x="127" y="408"/>
                </a:lnTo>
                <a:lnTo>
                  <a:pt x="140" y="404"/>
                </a:lnTo>
                <a:lnTo>
                  <a:pt x="149" y="406"/>
                </a:lnTo>
                <a:lnTo>
                  <a:pt x="175" y="434"/>
                </a:lnTo>
                <a:lnTo>
                  <a:pt x="181" y="436"/>
                </a:lnTo>
                <a:lnTo>
                  <a:pt x="212" y="450"/>
                </a:lnTo>
                <a:lnTo>
                  <a:pt x="219" y="452"/>
                </a:lnTo>
                <a:lnTo>
                  <a:pt x="232" y="449"/>
                </a:lnTo>
                <a:lnTo>
                  <a:pt x="247" y="447"/>
                </a:lnTo>
                <a:lnTo>
                  <a:pt x="260" y="452"/>
                </a:lnTo>
                <a:lnTo>
                  <a:pt x="277" y="467"/>
                </a:lnTo>
                <a:lnTo>
                  <a:pt x="284" y="475"/>
                </a:lnTo>
                <a:lnTo>
                  <a:pt x="292" y="469"/>
                </a:lnTo>
                <a:lnTo>
                  <a:pt x="301" y="467"/>
                </a:lnTo>
                <a:lnTo>
                  <a:pt x="314" y="478"/>
                </a:lnTo>
                <a:lnTo>
                  <a:pt x="329" y="490"/>
                </a:lnTo>
                <a:lnTo>
                  <a:pt x="340" y="498"/>
                </a:lnTo>
                <a:lnTo>
                  <a:pt x="355" y="503"/>
                </a:lnTo>
                <a:lnTo>
                  <a:pt x="362" y="501"/>
                </a:lnTo>
                <a:lnTo>
                  <a:pt x="369" y="494"/>
                </a:lnTo>
                <a:lnTo>
                  <a:pt x="379" y="490"/>
                </a:lnTo>
                <a:lnTo>
                  <a:pt x="397" y="496"/>
                </a:lnTo>
                <a:lnTo>
                  <a:pt x="482" y="518"/>
                </a:lnTo>
                <a:lnTo>
                  <a:pt x="495" y="507"/>
                </a:lnTo>
                <a:lnTo>
                  <a:pt x="486" y="490"/>
                </a:lnTo>
                <a:lnTo>
                  <a:pt x="477" y="462"/>
                </a:lnTo>
                <a:lnTo>
                  <a:pt x="536" y="408"/>
                </a:lnTo>
                <a:lnTo>
                  <a:pt x="547" y="395"/>
                </a:lnTo>
                <a:lnTo>
                  <a:pt x="551" y="374"/>
                </a:lnTo>
                <a:lnTo>
                  <a:pt x="542" y="347"/>
                </a:lnTo>
                <a:lnTo>
                  <a:pt x="532" y="324"/>
                </a:lnTo>
                <a:lnTo>
                  <a:pt x="516" y="298"/>
                </a:lnTo>
                <a:lnTo>
                  <a:pt x="505" y="287"/>
                </a:lnTo>
                <a:lnTo>
                  <a:pt x="503" y="271"/>
                </a:lnTo>
                <a:lnTo>
                  <a:pt x="505" y="254"/>
                </a:lnTo>
                <a:lnTo>
                  <a:pt x="510" y="237"/>
                </a:lnTo>
                <a:lnTo>
                  <a:pt x="503" y="226"/>
                </a:lnTo>
                <a:lnTo>
                  <a:pt x="494" y="219"/>
                </a:lnTo>
                <a:lnTo>
                  <a:pt x="503" y="208"/>
                </a:lnTo>
                <a:lnTo>
                  <a:pt x="518" y="187"/>
                </a:lnTo>
                <a:lnTo>
                  <a:pt x="523" y="182"/>
                </a:lnTo>
                <a:lnTo>
                  <a:pt x="520" y="146"/>
                </a:lnTo>
                <a:lnTo>
                  <a:pt x="514" y="128"/>
                </a:lnTo>
                <a:lnTo>
                  <a:pt x="508" y="109"/>
                </a:lnTo>
                <a:lnTo>
                  <a:pt x="508" y="91"/>
                </a:lnTo>
                <a:lnTo>
                  <a:pt x="497" y="74"/>
                </a:lnTo>
                <a:lnTo>
                  <a:pt x="482" y="59"/>
                </a:lnTo>
                <a:lnTo>
                  <a:pt x="466" y="57"/>
                </a:lnTo>
                <a:lnTo>
                  <a:pt x="418" y="56"/>
                </a:lnTo>
                <a:lnTo>
                  <a:pt x="392" y="54"/>
                </a:lnTo>
                <a:lnTo>
                  <a:pt x="344" y="50"/>
                </a:lnTo>
                <a:lnTo>
                  <a:pt x="325" y="41"/>
                </a:lnTo>
                <a:lnTo>
                  <a:pt x="305" y="39"/>
                </a:lnTo>
                <a:lnTo>
                  <a:pt x="294" y="43"/>
                </a:lnTo>
                <a:lnTo>
                  <a:pt x="281" y="52"/>
                </a:lnTo>
                <a:lnTo>
                  <a:pt x="269" y="48"/>
                </a:lnTo>
                <a:lnTo>
                  <a:pt x="258" y="37"/>
                </a:lnTo>
                <a:lnTo>
                  <a:pt x="245" y="37"/>
                </a:lnTo>
                <a:lnTo>
                  <a:pt x="240" y="32"/>
                </a:lnTo>
                <a:lnTo>
                  <a:pt x="236" y="15"/>
                </a:lnTo>
                <a:lnTo>
                  <a:pt x="219" y="2"/>
                </a:lnTo>
                <a:lnTo>
                  <a:pt x="207" y="0"/>
                </a:lnTo>
                <a:lnTo>
                  <a:pt x="184" y="6"/>
                </a:lnTo>
                <a:lnTo>
                  <a:pt x="166" y="11"/>
                </a:lnTo>
                <a:lnTo>
                  <a:pt x="151" y="20"/>
                </a:lnTo>
                <a:lnTo>
                  <a:pt x="125" y="35"/>
                </a:lnTo>
                <a:lnTo>
                  <a:pt x="99" y="43"/>
                </a:lnTo>
                <a:lnTo>
                  <a:pt x="76" y="52"/>
                </a:lnTo>
                <a:lnTo>
                  <a:pt x="52" y="63"/>
                </a:lnTo>
                <a:lnTo>
                  <a:pt x="39" y="78"/>
                </a:lnTo>
                <a:lnTo>
                  <a:pt x="24" y="91"/>
                </a:lnTo>
                <a:lnTo>
                  <a:pt x="13" y="98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64" name="Freeform 56"/>
          <p:cNvSpPr>
            <a:spLocks/>
          </p:cNvSpPr>
          <p:nvPr/>
        </p:nvSpPr>
        <p:spPr bwMode="auto">
          <a:xfrm>
            <a:off x="7167275" y="3556234"/>
            <a:ext cx="608610" cy="347785"/>
          </a:xfrm>
          <a:custGeom>
            <a:avLst/>
            <a:gdLst>
              <a:gd name="T0" fmla="*/ 2147483647 w 403"/>
              <a:gd name="T1" fmla="*/ 2147483647 h 220"/>
              <a:gd name="T2" fmla="*/ 2147483647 w 403"/>
              <a:gd name="T3" fmla="*/ 2147483647 h 220"/>
              <a:gd name="T4" fmla="*/ 2147483647 w 403"/>
              <a:gd name="T5" fmla="*/ 2147483647 h 220"/>
              <a:gd name="T6" fmla="*/ 2147483647 w 403"/>
              <a:gd name="T7" fmla="*/ 2147483647 h 220"/>
              <a:gd name="T8" fmla="*/ 2147483647 w 403"/>
              <a:gd name="T9" fmla="*/ 2147483647 h 220"/>
              <a:gd name="T10" fmla="*/ 2147483647 w 403"/>
              <a:gd name="T11" fmla="*/ 2147483647 h 220"/>
              <a:gd name="T12" fmla="*/ 2147483647 w 403"/>
              <a:gd name="T13" fmla="*/ 2147483647 h 220"/>
              <a:gd name="T14" fmla="*/ 2147483647 w 403"/>
              <a:gd name="T15" fmla="*/ 2147483647 h 220"/>
              <a:gd name="T16" fmla="*/ 0 w 403"/>
              <a:gd name="T17" fmla="*/ 2147483647 h 220"/>
              <a:gd name="T18" fmla="*/ 2147483647 w 403"/>
              <a:gd name="T19" fmla="*/ 2147483647 h 220"/>
              <a:gd name="T20" fmla="*/ 2147483647 w 403"/>
              <a:gd name="T21" fmla="*/ 2147483647 h 220"/>
              <a:gd name="T22" fmla="*/ 2147483647 w 403"/>
              <a:gd name="T23" fmla="*/ 2147483647 h 220"/>
              <a:gd name="T24" fmla="*/ 2147483647 w 403"/>
              <a:gd name="T25" fmla="*/ 2147483647 h 220"/>
              <a:gd name="T26" fmla="*/ 2147483647 w 403"/>
              <a:gd name="T27" fmla="*/ 0 h 220"/>
              <a:gd name="T28" fmla="*/ 2147483647 w 403"/>
              <a:gd name="T29" fmla="*/ 2147483647 h 220"/>
              <a:gd name="T30" fmla="*/ 2147483647 w 403"/>
              <a:gd name="T31" fmla="*/ 2147483647 h 220"/>
              <a:gd name="T32" fmla="*/ 2147483647 w 403"/>
              <a:gd name="T33" fmla="*/ 2147483647 h 220"/>
              <a:gd name="T34" fmla="*/ 2147483647 w 403"/>
              <a:gd name="T35" fmla="*/ 2147483647 h 220"/>
              <a:gd name="T36" fmla="*/ 2147483647 w 403"/>
              <a:gd name="T37" fmla="*/ 2147483647 h 220"/>
              <a:gd name="T38" fmla="*/ 2147483647 w 403"/>
              <a:gd name="T39" fmla="*/ 2147483647 h 220"/>
              <a:gd name="T40" fmla="*/ 2147483647 w 403"/>
              <a:gd name="T41" fmla="*/ 2147483647 h 220"/>
              <a:gd name="T42" fmla="*/ 2147483647 w 403"/>
              <a:gd name="T43" fmla="*/ 2147483647 h 220"/>
              <a:gd name="T44" fmla="*/ 2147483647 w 403"/>
              <a:gd name="T45" fmla="*/ 2147483647 h 220"/>
              <a:gd name="T46" fmla="*/ 2147483647 w 403"/>
              <a:gd name="T47" fmla="*/ 2147483647 h 220"/>
              <a:gd name="T48" fmla="*/ 2147483647 w 403"/>
              <a:gd name="T49" fmla="*/ 2147483647 h 220"/>
              <a:gd name="T50" fmla="*/ 2147483647 w 403"/>
              <a:gd name="T51" fmla="*/ 2147483647 h 220"/>
              <a:gd name="T52" fmla="*/ 2147483647 w 403"/>
              <a:gd name="T53" fmla="*/ 2147483647 h 220"/>
              <a:gd name="T54" fmla="*/ 2147483647 w 403"/>
              <a:gd name="T55" fmla="*/ 2147483647 h 220"/>
              <a:gd name="T56" fmla="*/ 2147483647 w 403"/>
              <a:gd name="T57" fmla="*/ 2147483647 h 220"/>
              <a:gd name="T58" fmla="*/ 2147483647 w 403"/>
              <a:gd name="T59" fmla="*/ 2147483647 h 220"/>
              <a:gd name="T60" fmla="*/ 2147483647 w 403"/>
              <a:gd name="T61" fmla="*/ 2147483647 h 220"/>
              <a:gd name="T62" fmla="*/ 2147483647 w 403"/>
              <a:gd name="T63" fmla="*/ 2147483647 h 220"/>
              <a:gd name="T64" fmla="*/ 2147483647 w 403"/>
              <a:gd name="T65" fmla="*/ 2147483647 h 220"/>
              <a:gd name="T66" fmla="*/ 2147483647 w 403"/>
              <a:gd name="T67" fmla="*/ 2147483647 h 220"/>
              <a:gd name="T68" fmla="*/ 2147483647 w 403"/>
              <a:gd name="T69" fmla="*/ 2147483647 h 220"/>
              <a:gd name="T70" fmla="*/ 2147483647 w 403"/>
              <a:gd name="T71" fmla="*/ 2147483647 h 220"/>
              <a:gd name="T72" fmla="*/ 2147483647 w 403"/>
              <a:gd name="T73" fmla="*/ 2147483647 h 220"/>
              <a:gd name="T74" fmla="*/ 2147483647 w 403"/>
              <a:gd name="T75" fmla="*/ 2147483647 h 220"/>
              <a:gd name="T76" fmla="*/ 2147483647 w 403"/>
              <a:gd name="T77" fmla="*/ 2147483647 h 220"/>
              <a:gd name="T78" fmla="*/ 2147483647 w 403"/>
              <a:gd name="T79" fmla="*/ 2147483647 h 220"/>
              <a:gd name="T80" fmla="*/ 2147483647 w 403"/>
              <a:gd name="T81" fmla="*/ 2147483647 h 220"/>
              <a:gd name="T82" fmla="*/ 2147483647 w 403"/>
              <a:gd name="T83" fmla="*/ 2147483647 h 220"/>
              <a:gd name="T84" fmla="*/ 2147483647 w 403"/>
              <a:gd name="T85" fmla="*/ 2147483647 h 220"/>
              <a:gd name="T86" fmla="*/ 2147483647 w 403"/>
              <a:gd name="T87" fmla="*/ 2147483647 h 220"/>
              <a:gd name="T88" fmla="*/ 2147483647 w 403"/>
              <a:gd name="T89" fmla="*/ 2147483647 h 220"/>
              <a:gd name="T90" fmla="*/ 2147483647 w 403"/>
              <a:gd name="T91" fmla="*/ 2147483647 h 220"/>
              <a:gd name="T92" fmla="*/ 2147483647 w 403"/>
              <a:gd name="T93" fmla="*/ 2147483647 h 220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03"/>
              <a:gd name="T142" fmla="*/ 0 h 220"/>
              <a:gd name="T143" fmla="*/ 403 w 403"/>
              <a:gd name="T144" fmla="*/ 220 h 220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03" h="220">
                <a:moveTo>
                  <a:pt x="99" y="211"/>
                </a:moveTo>
                <a:lnTo>
                  <a:pt x="96" y="199"/>
                </a:lnTo>
                <a:lnTo>
                  <a:pt x="83" y="192"/>
                </a:lnTo>
                <a:lnTo>
                  <a:pt x="36" y="149"/>
                </a:lnTo>
                <a:lnTo>
                  <a:pt x="33" y="126"/>
                </a:lnTo>
                <a:lnTo>
                  <a:pt x="12" y="123"/>
                </a:lnTo>
                <a:lnTo>
                  <a:pt x="13" y="102"/>
                </a:lnTo>
                <a:lnTo>
                  <a:pt x="6" y="82"/>
                </a:lnTo>
                <a:lnTo>
                  <a:pt x="0" y="71"/>
                </a:lnTo>
                <a:lnTo>
                  <a:pt x="4" y="59"/>
                </a:lnTo>
                <a:lnTo>
                  <a:pt x="19" y="59"/>
                </a:lnTo>
                <a:lnTo>
                  <a:pt x="45" y="53"/>
                </a:lnTo>
                <a:lnTo>
                  <a:pt x="126" y="11"/>
                </a:lnTo>
                <a:lnTo>
                  <a:pt x="143" y="0"/>
                </a:lnTo>
                <a:lnTo>
                  <a:pt x="154" y="13"/>
                </a:lnTo>
                <a:lnTo>
                  <a:pt x="171" y="6"/>
                </a:lnTo>
                <a:lnTo>
                  <a:pt x="187" y="7"/>
                </a:lnTo>
                <a:lnTo>
                  <a:pt x="197" y="14"/>
                </a:lnTo>
                <a:lnTo>
                  <a:pt x="197" y="33"/>
                </a:lnTo>
                <a:lnTo>
                  <a:pt x="227" y="52"/>
                </a:lnTo>
                <a:lnTo>
                  <a:pt x="229" y="65"/>
                </a:lnTo>
                <a:lnTo>
                  <a:pt x="240" y="80"/>
                </a:lnTo>
                <a:lnTo>
                  <a:pt x="248" y="86"/>
                </a:lnTo>
                <a:lnTo>
                  <a:pt x="253" y="80"/>
                </a:lnTo>
                <a:lnTo>
                  <a:pt x="274" y="69"/>
                </a:lnTo>
                <a:lnTo>
                  <a:pt x="283" y="71"/>
                </a:lnTo>
                <a:lnTo>
                  <a:pt x="309" y="100"/>
                </a:lnTo>
                <a:lnTo>
                  <a:pt x="315" y="99"/>
                </a:lnTo>
                <a:lnTo>
                  <a:pt x="342" y="115"/>
                </a:lnTo>
                <a:lnTo>
                  <a:pt x="382" y="113"/>
                </a:lnTo>
                <a:lnTo>
                  <a:pt x="403" y="126"/>
                </a:lnTo>
                <a:lnTo>
                  <a:pt x="359" y="151"/>
                </a:lnTo>
                <a:lnTo>
                  <a:pt x="357" y="181"/>
                </a:lnTo>
                <a:lnTo>
                  <a:pt x="330" y="206"/>
                </a:lnTo>
                <a:lnTo>
                  <a:pt x="301" y="205"/>
                </a:lnTo>
                <a:lnTo>
                  <a:pt x="285" y="212"/>
                </a:lnTo>
                <a:lnTo>
                  <a:pt x="265" y="220"/>
                </a:lnTo>
                <a:lnTo>
                  <a:pt x="240" y="204"/>
                </a:lnTo>
                <a:lnTo>
                  <a:pt x="224" y="212"/>
                </a:lnTo>
                <a:lnTo>
                  <a:pt x="209" y="215"/>
                </a:lnTo>
                <a:lnTo>
                  <a:pt x="197" y="196"/>
                </a:lnTo>
                <a:lnTo>
                  <a:pt x="162" y="197"/>
                </a:lnTo>
                <a:lnTo>
                  <a:pt x="151" y="205"/>
                </a:lnTo>
                <a:lnTo>
                  <a:pt x="143" y="213"/>
                </a:lnTo>
                <a:lnTo>
                  <a:pt x="128" y="213"/>
                </a:lnTo>
                <a:lnTo>
                  <a:pt x="112" y="216"/>
                </a:lnTo>
                <a:lnTo>
                  <a:pt x="99" y="211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65" name="Freeform 57"/>
          <p:cNvSpPr>
            <a:spLocks/>
          </p:cNvSpPr>
          <p:nvPr/>
        </p:nvSpPr>
        <p:spPr bwMode="auto">
          <a:xfrm>
            <a:off x="7227683" y="4202799"/>
            <a:ext cx="549712" cy="564361"/>
          </a:xfrm>
          <a:custGeom>
            <a:avLst/>
            <a:gdLst>
              <a:gd name="T0" fmla="*/ 2147483647 w 364"/>
              <a:gd name="T1" fmla="*/ 2147483647 h 357"/>
              <a:gd name="T2" fmla="*/ 2147483647 w 364"/>
              <a:gd name="T3" fmla="*/ 2147483647 h 357"/>
              <a:gd name="T4" fmla="*/ 2147483647 w 364"/>
              <a:gd name="T5" fmla="*/ 2147483647 h 357"/>
              <a:gd name="T6" fmla="*/ 2147483647 w 364"/>
              <a:gd name="T7" fmla="*/ 2147483647 h 357"/>
              <a:gd name="T8" fmla="*/ 2147483647 w 364"/>
              <a:gd name="T9" fmla="*/ 2147483647 h 357"/>
              <a:gd name="T10" fmla="*/ 2147483647 w 364"/>
              <a:gd name="T11" fmla="*/ 2147483647 h 357"/>
              <a:gd name="T12" fmla="*/ 2147483647 w 364"/>
              <a:gd name="T13" fmla="*/ 2147483647 h 357"/>
              <a:gd name="T14" fmla="*/ 2147483647 w 364"/>
              <a:gd name="T15" fmla="*/ 2147483647 h 357"/>
              <a:gd name="T16" fmla="*/ 2147483647 w 364"/>
              <a:gd name="T17" fmla="*/ 2147483647 h 357"/>
              <a:gd name="T18" fmla="*/ 2147483647 w 364"/>
              <a:gd name="T19" fmla="*/ 2147483647 h 357"/>
              <a:gd name="T20" fmla="*/ 2147483647 w 364"/>
              <a:gd name="T21" fmla="*/ 2147483647 h 357"/>
              <a:gd name="T22" fmla="*/ 2147483647 w 364"/>
              <a:gd name="T23" fmla="*/ 2147483647 h 357"/>
              <a:gd name="T24" fmla="*/ 2147483647 w 364"/>
              <a:gd name="T25" fmla="*/ 2147483647 h 357"/>
              <a:gd name="T26" fmla="*/ 2147483647 w 364"/>
              <a:gd name="T27" fmla="*/ 2147483647 h 357"/>
              <a:gd name="T28" fmla="*/ 2147483647 w 364"/>
              <a:gd name="T29" fmla="*/ 2147483647 h 357"/>
              <a:gd name="T30" fmla="*/ 2147483647 w 364"/>
              <a:gd name="T31" fmla="*/ 2147483647 h 357"/>
              <a:gd name="T32" fmla="*/ 2147483647 w 364"/>
              <a:gd name="T33" fmla="*/ 2147483647 h 357"/>
              <a:gd name="T34" fmla="*/ 2147483647 w 364"/>
              <a:gd name="T35" fmla="*/ 2147483647 h 357"/>
              <a:gd name="T36" fmla="*/ 2147483647 w 364"/>
              <a:gd name="T37" fmla="*/ 2147483647 h 357"/>
              <a:gd name="T38" fmla="*/ 2147483647 w 364"/>
              <a:gd name="T39" fmla="*/ 2147483647 h 357"/>
              <a:gd name="T40" fmla="*/ 2147483647 w 364"/>
              <a:gd name="T41" fmla="*/ 2147483647 h 357"/>
              <a:gd name="T42" fmla="*/ 2147483647 w 364"/>
              <a:gd name="T43" fmla="*/ 2147483647 h 357"/>
              <a:gd name="T44" fmla="*/ 2147483647 w 364"/>
              <a:gd name="T45" fmla="*/ 2147483647 h 357"/>
              <a:gd name="T46" fmla="*/ 2147483647 w 364"/>
              <a:gd name="T47" fmla="*/ 2147483647 h 357"/>
              <a:gd name="T48" fmla="*/ 2147483647 w 364"/>
              <a:gd name="T49" fmla="*/ 2147483647 h 357"/>
              <a:gd name="T50" fmla="*/ 2147483647 w 364"/>
              <a:gd name="T51" fmla="*/ 2147483647 h 357"/>
              <a:gd name="T52" fmla="*/ 2147483647 w 364"/>
              <a:gd name="T53" fmla="*/ 2147483647 h 357"/>
              <a:gd name="T54" fmla="*/ 2147483647 w 364"/>
              <a:gd name="T55" fmla="*/ 2147483647 h 357"/>
              <a:gd name="T56" fmla="*/ 2147483647 w 364"/>
              <a:gd name="T57" fmla="*/ 2147483647 h 357"/>
              <a:gd name="T58" fmla="*/ 2147483647 w 364"/>
              <a:gd name="T59" fmla="*/ 2147483647 h 357"/>
              <a:gd name="T60" fmla="*/ 2147483647 w 364"/>
              <a:gd name="T61" fmla="*/ 2147483647 h 357"/>
              <a:gd name="T62" fmla="*/ 2147483647 w 364"/>
              <a:gd name="T63" fmla="*/ 2147483647 h 357"/>
              <a:gd name="T64" fmla="*/ 2147483647 w 364"/>
              <a:gd name="T65" fmla="*/ 2147483647 h 357"/>
              <a:gd name="T66" fmla="*/ 2147483647 w 364"/>
              <a:gd name="T67" fmla="*/ 2147483647 h 357"/>
              <a:gd name="T68" fmla="*/ 2147483647 w 364"/>
              <a:gd name="T69" fmla="*/ 2147483647 h 357"/>
              <a:gd name="T70" fmla="*/ 2147483647 w 364"/>
              <a:gd name="T71" fmla="*/ 2147483647 h 357"/>
              <a:gd name="T72" fmla="*/ 2147483647 w 364"/>
              <a:gd name="T73" fmla="*/ 2147483647 h 357"/>
              <a:gd name="T74" fmla="*/ 2147483647 w 364"/>
              <a:gd name="T75" fmla="*/ 2147483647 h 357"/>
              <a:gd name="T76" fmla="*/ 2147483647 w 364"/>
              <a:gd name="T77" fmla="*/ 2147483647 h 357"/>
              <a:gd name="T78" fmla="*/ 2147483647 w 364"/>
              <a:gd name="T79" fmla="*/ 0 h 357"/>
              <a:gd name="T80" fmla="*/ 2147483647 w 364"/>
              <a:gd name="T81" fmla="*/ 2147483647 h 357"/>
              <a:gd name="T82" fmla="*/ 2147483647 w 364"/>
              <a:gd name="T83" fmla="*/ 2147483647 h 357"/>
              <a:gd name="T84" fmla="*/ 2147483647 w 364"/>
              <a:gd name="T85" fmla="*/ 2147483647 h 357"/>
              <a:gd name="T86" fmla="*/ 2147483647 w 364"/>
              <a:gd name="T87" fmla="*/ 2147483647 h 357"/>
              <a:gd name="T88" fmla="*/ 0 w 364"/>
              <a:gd name="T89" fmla="*/ 2147483647 h 357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64"/>
              <a:gd name="T136" fmla="*/ 0 h 357"/>
              <a:gd name="T137" fmla="*/ 364 w 364"/>
              <a:gd name="T138" fmla="*/ 357 h 357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64" h="357">
                <a:moveTo>
                  <a:pt x="0" y="80"/>
                </a:moveTo>
                <a:lnTo>
                  <a:pt x="7" y="102"/>
                </a:lnTo>
                <a:lnTo>
                  <a:pt x="15" y="119"/>
                </a:lnTo>
                <a:lnTo>
                  <a:pt x="22" y="130"/>
                </a:lnTo>
                <a:lnTo>
                  <a:pt x="31" y="132"/>
                </a:lnTo>
                <a:lnTo>
                  <a:pt x="41" y="126"/>
                </a:lnTo>
                <a:lnTo>
                  <a:pt x="46" y="115"/>
                </a:lnTo>
                <a:lnTo>
                  <a:pt x="56" y="98"/>
                </a:lnTo>
                <a:lnTo>
                  <a:pt x="69" y="108"/>
                </a:lnTo>
                <a:lnTo>
                  <a:pt x="82" y="111"/>
                </a:lnTo>
                <a:lnTo>
                  <a:pt x="91" y="117"/>
                </a:lnTo>
                <a:lnTo>
                  <a:pt x="89" y="135"/>
                </a:lnTo>
                <a:lnTo>
                  <a:pt x="89" y="147"/>
                </a:lnTo>
                <a:lnTo>
                  <a:pt x="102" y="167"/>
                </a:lnTo>
                <a:lnTo>
                  <a:pt x="117" y="184"/>
                </a:lnTo>
                <a:lnTo>
                  <a:pt x="115" y="189"/>
                </a:lnTo>
                <a:lnTo>
                  <a:pt x="98" y="189"/>
                </a:lnTo>
                <a:lnTo>
                  <a:pt x="106" y="199"/>
                </a:lnTo>
                <a:lnTo>
                  <a:pt x="156" y="256"/>
                </a:lnTo>
                <a:lnTo>
                  <a:pt x="161" y="260"/>
                </a:lnTo>
                <a:lnTo>
                  <a:pt x="176" y="260"/>
                </a:lnTo>
                <a:lnTo>
                  <a:pt x="188" y="263"/>
                </a:lnTo>
                <a:lnTo>
                  <a:pt x="210" y="273"/>
                </a:lnTo>
                <a:lnTo>
                  <a:pt x="229" y="291"/>
                </a:lnTo>
                <a:lnTo>
                  <a:pt x="233" y="299"/>
                </a:lnTo>
                <a:lnTo>
                  <a:pt x="240" y="314"/>
                </a:lnTo>
                <a:lnTo>
                  <a:pt x="246" y="313"/>
                </a:lnTo>
                <a:lnTo>
                  <a:pt x="251" y="313"/>
                </a:lnTo>
                <a:lnTo>
                  <a:pt x="266" y="319"/>
                </a:lnTo>
                <a:lnTo>
                  <a:pt x="275" y="326"/>
                </a:lnTo>
                <a:lnTo>
                  <a:pt x="303" y="357"/>
                </a:lnTo>
                <a:lnTo>
                  <a:pt x="291" y="325"/>
                </a:lnTo>
                <a:lnTo>
                  <a:pt x="284" y="313"/>
                </a:lnTo>
                <a:lnTo>
                  <a:pt x="290" y="301"/>
                </a:lnTo>
                <a:lnTo>
                  <a:pt x="286" y="291"/>
                </a:lnTo>
                <a:lnTo>
                  <a:pt x="272" y="275"/>
                </a:lnTo>
                <a:lnTo>
                  <a:pt x="246" y="245"/>
                </a:lnTo>
                <a:lnTo>
                  <a:pt x="229" y="232"/>
                </a:lnTo>
                <a:lnTo>
                  <a:pt x="223" y="226"/>
                </a:lnTo>
                <a:lnTo>
                  <a:pt x="214" y="228"/>
                </a:lnTo>
                <a:lnTo>
                  <a:pt x="201" y="217"/>
                </a:lnTo>
                <a:lnTo>
                  <a:pt x="199" y="217"/>
                </a:lnTo>
                <a:lnTo>
                  <a:pt x="192" y="210"/>
                </a:lnTo>
                <a:lnTo>
                  <a:pt x="188" y="197"/>
                </a:lnTo>
                <a:lnTo>
                  <a:pt x="184" y="184"/>
                </a:lnTo>
                <a:lnTo>
                  <a:pt x="169" y="165"/>
                </a:lnTo>
                <a:lnTo>
                  <a:pt x="139" y="134"/>
                </a:lnTo>
                <a:lnTo>
                  <a:pt x="137" y="126"/>
                </a:lnTo>
                <a:lnTo>
                  <a:pt x="139" y="122"/>
                </a:lnTo>
                <a:lnTo>
                  <a:pt x="154" y="119"/>
                </a:lnTo>
                <a:lnTo>
                  <a:pt x="196" y="132"/>
                </a:lnTo>
                <a:lnTo>
                  <a:pt x="223" y="102"/>
                </a:lnTo>
                <a:lnTo>
                  <a:pt x="246" y="121"/>
                </a:lnTo>
                <a:lnTo>
                  <a:pt x="255" y="122"/>
                </a:lnTo>
                <a:lnTo>
                  <a:pt x="260" y="130"/>
                </a:lnTo>
                <a:lnTo>
                  <a:pt x="268" y="122"/>
                </a:lnTo>
                <a:lnTo>
                  <a:pt x="283" y="122"/>
                </a:lnTo>
                <a:lnTo>
                  <a:pt x="296" y="124"/>
                </a:lnTo>
                <a:lnTo>
                  <a:pt x="314" y="115"/>
                </a:lnTo>
                <a:lnTo>
                  <a:pt x="333" y="122"/>
                </a:lnTo>
                <a:lnTo>
                  <a:pt x="344" y="132"/>
                </a:lnTo>
                <a:lnTo>
                  <a:pt x="357" y="135"/>
                </a:lnTo>
                <a:lnTo>
                  <a:pt x="358" y="126"/>
                </a:lnTo>
                <a:lnTo>
                  <a:pt x="364" y="111"/>
                </a:lnTo>
                <a:lnTo>
                  <a:pt x="357" y="104"/>
                </a:lnTo>
                <a:lnTo>
                  <a:pt x="345" y="91"/>
                </a:lnTo>
                <a:lnTo>
                  <a:pt x="344" y="78"/>
                </a:lnTo>
                <a:lnTo>
                  <a:pt x="344" y="69"/>
                </a:lnTo>
                <a:lnTo>
                  <a:pt x="345" y="58"/>
                </a:lnTo>
                <a:lnTo>
                  <a:pt x="329" y="54"/>
                </a:lnTo>
                <a:lnTo>
                  <a:pt x="321" y="52"/>
                </a:lnTo>
                <a:lnTo>
                  <a:pt x="313" y="58"/>
                </a:lnTo>
                <a:lnTo>
                  <a:pt x="303" y="65"/>
                </a:lnTo>
                <a:lnTo>
                  <a:pt x="294" y="65"/>
                </a:lnTo>
                <a:lnTo>
                  <a:pt x="279" y="50"/>
                </a:lnTo>
                <a:lnTo>
                  <a:pt x="266" y="43"/>
                </a:lnTo>
                <a:lnTo>
                  <a:pt x="253" y="45"/>
                </a:lnTo>
                <a:lnTo>
                  <a:pt x="242" y="33"/>
                </a:lnTo>
                <a:lnTo>
                  <a:pt x="212" y="2"/>
                </a:lnTo>
                <a:lnTo>
                  <a:pt x="199" y="0"/>
                </a:lnTo>
                <a:lnTo>
                  <a:pt x="178" y="26"/>
                </a:lnTo>
                <a:lnTo>
                  <a:pt x="157" y="24"/>
                </a:lnTo>
                <a:lnTo>
                  <a:pt x="148" y="33"/>
                </a:lnTo>
                <a:lnTo>
                  <a:pt x="145" y="45"/>
                </a:lnTo>
                <a:lnTo>
                  <a:pt x="106" y="87"/>
                </a:lnTo>
                <a:lnTo>
                  <a:pt x="80" y="80"/>
                </a:lnTo>
                <a:lnTo>
                  <a:pt x="54" y="74"/>
                </a:lnTo>
                <a:lnTo>
                  <a:pt x="41" y="80"/>
                </a:lnTo>
                <a:lnTo>
                  <a:pt x="24" y="87"/>
                </a:lnTo>
                <a:lnTo>
                  <a:pt x="0" y="80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166" name="Group 58"/>
          <p:cNvGrpSpPr>
            <a:grpSpLocks/>
          </p:cNvGrpSpPr>
          <p:nvPr/>
        </p:nvGrpSpPr>
        <p:grpSpPr bwMode="auto">
          <a:xfrm>
            <a:off x="7869517" y="4833555"/>
            <a:ext cx="884976" cy="965894"/>
            <a:chOff x="2546" y="3453"/>
            <a:chExt cx="586" cy="611"/>
          </a:xfrm>
          <a:solidFill>
            <a:schemeClr val="accent5"/>
          </a:solidFill>
        </p:grpSpPr>
        <p:sp>
          <p:nvSpPr>
            <p:cNvPr id="191" name="Freeform 59"/>
            <p:cNvSpPr>
              <a:spLocks/>
            </p:cNvSpPr>
            <p:nvPr/>
          </p:nvSpPr>
          <p:spPr bwMode="auto">
            <a:xfrm>
              <a:off x="2559" y="3773"/>
              <a:ext cx="24" cy="25"/>
            </a:xfrm>
            <a:custGeom>
              <a:avLst/>
              <a:gdLst>
                <a:gd name="T0" fmla="*/ 18 w 24"/>
                <a:gd name="T1" fmla="*/ 0 h 25"/>
                <a:gd name="T2" fmla="*/ 24 w 24"/>
                <a:gd name="T3" fmla="*/ 7 h 25"/>
                <a:gd name="T4" fmla="*/ 22 w 24"/>
                <a:gd name="T5" fmla="*/ 16 h 25"/>
                <a:gd name="T6" fmla="*/ 24 w 24"/>
                <a:gd name="T7" fmla="*/ 23 h 25"/>
                <a:gd name="T8" fmla="*/ 18 w 24"/>
                <a:gd name="T9" fmla="*/ 25 h 25"/>
                <a:gd name="T10" fmla="*/ 7 w 24"/>
                <a:gd name="T11" fmla="*/ 23 h 25"/>
                <a:gd name="T12" fmla="*/ 0 w 24"/>
                <a:gd name="T13" fmla="*/ 14 h 25"/>
                <a:gd name="T14" fmla="*/ 18 w 24"/>
                <a:gd name="T15" fmla="*/ 0 h 2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"/>
                <a:gd name="T25" fmla="*/ 0 h 25"/>
                <a:gd name="T26" fmla="*/ 24 w 24"/>
                <a:gd name="T27" fmla="*/ 25 h 2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" h="25">
                  <a:moveTo>
                    <a:pt x="18" y="0"/>
                  </a:moveTo>
                  <a:lnTo>
                    <a:pt x="24" y="7"/>
                  </a:lnTo>
                  <a:lnTo>
                    <a:pt x="22" y="16"/>
                  </a:lnTo>
                  <a:lnTo>
                    <a:pt x="24" y="23"/>
                  </a:lnTo>
                  <a:lnTo>
                    <a:pt x="18" y="25"/>
                  </a:lnTo>
                  <a:lnTo>
                    <a:pt x="7" y="23"/>
                  </a:lnTo>
                  <a:lnTo>
                    <a:pt x="0" y="14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192" name="Freeform 60"/>
            <p:cNvSpPr>
              <a:spLocks/>
            </p:cNvSpPr>
            <p:nvPr/>
          </p:nvSpPr>
          <p:spPr bwMode="auto">
            <a:xfrm>
              <a:off x="2608" y="3783"/>
              <a:ext cx="184" cy="163"/>
            </a:xfrm>
            <a:custGeom>
              <a:avLst/>
              <a:gdLst>
                <a:gd name="T0" fmla="*/ 26 w 184"/>
                <a:gd name="T1" fmla="*/ 7 h 163"/>
                <a:gd name="T2" fmla="*/ 17 w 184"/>
                <a:gd name="T3" fmla="*/ 11 h 163"/>
                <a:gd name="T4" fmla="*/ 20 w 184"/>
                <a:gd name="T5" fmla="*/ 20 h 163"/>
                <a:gd name="T6" fmla="*/ 11 w 184"/>
                <a:gd name="T7" fmla="*/ 31 h 163"/>
                <a:gd name="T8" fmla="*/ 4 w 184"/>
                <a:gd name="T9" fmla="*/ 30 h 163"/>
                <a:gd name="T10" fmla="*/ 0 w 184"/>
                <a:gd name="T11" fmla="*/ 35 h 163"/>
                <a:gd name="T12" fmla="*/ 2 w 184"/>
                <a:gd name="T13" fmla="*/ 46 h 163"/>
                <a:gd name="T14" fmla="*/ 32 w 184"/>
                <a:gd name="T15" fmla="*/ 57 h 163"/>
                <a:gd name="T16" fmla="*/ 39 w 184"/>
                <a:gd name="T17" fmla="*/ 82 h 163"/>
                <a:gd name="T18" fmla="*/ 48 w 184"/>
                <a:gd name="T19" fmla="*/ 113 h 163"/>
                <a:gd name="T20" fmla="*/ 59 w 184"/>
                <a:gd name="T21" fmla="*/ 130 h 163"/>
                <a:gd name="T22" fmla="*/ 72 w 184"/>
                <a:gd name="T23" fmla="*/ 119 h 163"/>
                <a:gd name="T24" fmla="*/ 89 w 184"/>
                <a:gd name="T25" fmla="*/ 141 h 163"/>
                <a:gd name="T26" fmla="*/ 106 w 184"/>
                <a:gd name="T27" fmla="*/ 163 h 163"/>
                <a:gd name="T28" fmla="*/ 113 w 184"/>
                <a:gd name="T29" fmla="*/ 146 h 163"/>
                <a:gd name="T30" fmla="*/ 108 w 184"/>
                <a:gd name="T31" fmla="*/ 135 h 163"/>
                <a:gd name="T32" fmla="*/ 115 w 184"/>
                <a:gd name="T33" fmla="*/ 130 h 163"/>
                <a:gd name="T34" fmla="*/ 141 w 184"/>
                <a:gd name="T35" fmla="*/ 150 h 163"/>
                <a:gd name="T36" fmla="*/ 149 w 184"/>
                <a:gd name="T37" fmla="*/ 144 h 163"/>
                <a:gd name="T38" fmla="*/ 151 w 184"/>
                <a:gd name="T39" fmla="*/ 137 h 163"/>
                <a:gd name="T40" fmla="*/ 138 w 184"/>
                <a:gd name="T41" fmla="*/ 111 h 163"/>
                <a:gd name="T42" fmla="*/ 138 w 184"/>
                <a:gd name="T43" fmla="*/ 106 h 163"/>
                <a:gd name="T44" fmla="*/ 126 w 184"/>
                <a:gd name="T45" fmla="*/ 85 h 163"/>
                <a:gd name="T46" fmla="*/ 121 w 184"/>
                <a:gd name="T47" fmla="*/ 70 h 163"/>
                <a:gd name="T48" fmla="*/ 126 w 184"/>
                <a:gd name="T49" fmla="*/ 69 h 163"/>
                <a:gd name="T50" fmla="*/ 141 w 184"/>
                <a:gd name="T51" fmla="*/ 72 h 163"/>
                <a:gd name="T52" fmla="*/ 158 w 184"/>
                <a:gd name="T53" fmla="*/ 87 h 163"/>
                <a:gd name="T54" fmla="*/ 167 w 184"/>
                <a:gd name="T55" fmla="*/ 76 h 163"/>
                <a:gd name="T56" fmla="*/ 182 w 184"/>
                <a:gd name="T57" fmla="*/ 78 h 163"/>
                <a:gd name="T58" fmla="*/ 184 w 184"/>
                <a:gd name="T59" fmla="*/ 74 h 163"/>
                <a:gd name="T60" fmla="*/ 165 w 184"/>
                <a:gd name="T61" fmla="*/ 50 h 163"/>
                <a:gd name="T62" fmla="*/ 151 w 184"/>
                <a:gd name="T63" fmla="*/ 52 h 163"/>
                <a:gd name="T64" fmla="*/ 147 w 184"/>
                <a:gd name="T65" fmla="*/ 44 h 163"/>
                <a:gd name="T66" fmla="*/ 138 w 184"/>
                <a:gd name="T67" fmla="*/ 26 h 163"/>
                <a:gd name="T68" fmla="*/ 130 w 184"/>
                <a:gd name="T69" fmla="*/ 33 h 163"/>
                <a:gd name="T70" fmla="*/ 112 w 184"/>
                <a:gd name="T71" fmla="*/ 26 h 163"/>
                <a:gd name="T72" fmla="*/ 100 w 184"/>
                <a:gd name="T73" fmla="*/ 7 h 163"/>
                <a:gd name="T74" fmla="*/ 78 w 184"/>
                <a:gd name="T75" fmla="*/ 9 h 163"/>
                <a:gd name="T76" fmla="*/ 61 w 184"/>
                <a:gd name="T77" fmla="*/ 11 h 163"/>
                <a:gd name="T78" fmla="*/ 50 w 184"/>
                <a:gd name="T79" fmla="*/ 0 h 163"/>
                <a:gd name="T80" fmla="*/ 41 w 184"/>
                <a:gd name="T81" fmla="*/ 6 h 163"/>
                <a:gd name="T82" fmla="*/ 26 w 184"/>
                <a:gd name="T83" fmla="*/ 7 h 16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4"/>
                <a:gd name="T127" fmla="*/ 0 h 163"/>
                <a:gd name="T128" fmla="*/ 184 w 184"/>
                <a:gd name="T129" fmla="*/ 163 h 16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4" h="163">
                  <a:moveTo>
                    <a:pt x="26" y="7"/>
                  </a:moveTo>
                  <a:lnTo>
                    <a:pt x="17" y="11"/>
                  </a:lnTo>
                  <a:lnTo>
                    <a:pt x="20" y="20"/>
                  </a:lnTo>
                  <a:lnTo>
                    <a:pt x="11" y="31"/>
                  </a:lnTo>
                  <a:lnTo>
                    <a:pt x="4" y="30"/>
                  </a:lnTo>
                  <a:lnTo>
                    <a:pt x="0" y="35"/>
                  </a:lnTo>
                  <a:lnTo>
                    <a:pt x="2" y="46"/>
                  </a:lnTo>
                  <a:lnTo>
                    <a:pt x="32" y="57"/>
                  </a:lnTo>
                  <a:lnTo>
                    <a:pt x="39" y="82"/>
                  </a:lnTo>
                  <a:lnTo>
                    <a:pt x="48" y="113"/>
                  </a:lnTo>
                  <a:lnTo>
                    <a:pt x="59" y="130"/>
                  </a:lnTo>
                  <a:lnTo>
                    <a:pt x="72" y="119"/>
                  </a:lnTo>
                  <a:lnTo>
                    <a:pt x="89" y="141"/>
                  </a:lnTo>
                  <a:lnTo>
                    <a:pt x="106" y="163"/>
                  </a:lnTo>
                  <a:lnTo>
                    <a:pt x="113" y="146"/>
                  </a:lnTo>
                  <a:lnTo>
                    <a:pt x="108" y="135"/>
                  </a:lnTo>
                  <a:lnTo>
                    <a:pt x="115" y="130"/>
                  </a:lnTo>
                  <a:lnTo>
                    <a:pt x="141" y="150"/>
                  </a:lnTo>
                  <a:lnTo>
                    <a:pt x="149" y="144"/>
                  </a:lnTo>
                  <a:lnTo>
                    <a:pt x="151" y="137"/>
                  </a:lnTo>
                  <a:lnTo>
                    <a:pt x="138" y="111"/>
                  </a:lnTo>
                  <a:lnTo>
                    <a:pt x="138" y="106"/>
                  </a:lnTo>
                  <a:lnTo>
                    <a:pt x="126" y="85"/>
                  </a:lnTo>
                  <a:lnTo>
                    <a:pt x="121" y="70"/>
                  </a:lnTo>
                  <a:lnTo>
                    <a:pt x="126" y="69"/>
                  </a:lnTo>
                  <a:lnTo>
                    <a:pt x="141" y="72"/>
                  </a:lnTo>
                  <a:lnTo>
                    <a:pt x="158" y="87"/>
                  </a:lnTo>
                  <a:lnTo>
                    <a:pt x="167" y="76"/>
                  </a:lnTo>
                  <a:lnTo>
                    <a:pt x="182" y="78"/>
                  </a:lnTo>
                  <a:lnTo>
                    <a:pt x="184" y="74"/>
                  </a:lnTo>
                  <a:lnTo>
                    <a:pt x="165" y="50"/>
                  </a:lnTo>
                  <a:lnTo>
                    <a:pt x="151" y="52"/>
                  </a:lnTo>
                  <a:lnTo>
                    <a:pt x="147" y="44"/>
                  </a:lnTo>
                  <a:lnTo>
                    <a:pt x="138" y="26"/>
                  </a:lnTo>
                  <a:lnTo>
                    <a:pt x="130" y="33"/>
                  </a:lnTo>
                  <a:lnTo>
                    <a:pt x="112" y="26"/>
                  </a:lnTo>
                  <a:lnTo>
                    <a:pt x="100" y="7"/>
                  </a:lnTo>
                  <a:lnTo>
                    <a:pt x="78" y="9"/>
                  </a:lnTo>
                  <a:lnTo>
                    <a:pt x="61" y="11"/>
                  </a:lnTo>
                  <a:lnTo>
                    <a:pt x="50" y="0"/>
                  </a:lnTo>
                  <a:lnTo>
                    <a:pt x="41" y="6"/>
                  </a:lnTo>
                  <a:lnTo>
                    <a:pt x="26" y="7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193" name="Freeform 61"/>
            <p:cNvSpPr>
              <a:spLocks/>
            </p:cNvSpPr>
            <p:nvPr/>
          </p:nvSpPr>
          <p:spPr bwMode="auto">
            <a:xfrm>
              <a:off x="2546" y="3453"/>
              <a:ext cx="430" cy="386"/>
            </a:xfrm>
            <a:custGeom>
              <a:avLst/>
              <a:gdLst>
                <a:gd name="T0" fmla="*/ 78 w 430"/>
                <a:gd name="T1" fmla="*/ 102 h 386"/>
                <a:gd name="T2" fmla="*/ 55 w 430"/>
                <a:gd name="T3" fmla="*/ 167 h 386"/>
                <a:gd name="T4" fmla="*/ 44 w 430"/>
                <a:gd name="T5" fmla="*/ 182 h 386"/>
                <a:gd name="T6" fmla="*/ 24 w 430"/>
                <a:gd name="T7" fmla="*/ 200 h 386"/>
                <a:gd name="T8" fmla="*/ 0 w 430"/>
                <a:gd name="T9" fmla="*/ 204 h 386"/>
                <a:gd name="T10" fmla="*/ 31 w 430"/>
                <a:gd name="T11" fmla="*/ 260 h 386"/>
                <a:gd name="T12" fmla="*/ 57 w 430"/>
                <a:gd name="T13" fmla="*/ 260 h 386"/>
                <a:gd name="T14" fmla="*/ 48 w 430"/>
                <a:gd name="T15" fmla="*/ 278 h 386"/>
                <a:gd name="T16" fmla="*/ 57 w 430"/>
                <a:gd name="T17" fmla="*/ 308 h 386"/>
                <a:gd name="T18" fmla="*/ 76 w 430"/>
                <a:gd name="T19" fmla="*/ 330 h 386"/>
                <a:gd name="T20" fmla="*/ 91 w 430"/>
                <a:gd name="T21" fmla="*/ 317 h 386"/>
                <a:gd name="T22" fmla="*/ 107 w 430"/>
                <a:gd name="T23" fmla="*/ 319 h 386"/>
                <a:gd name="T24" fmla="*/ 159 w 430"/>
                <a:gd name="T25" fmla="*/ 325 h 386"/>
                <a:gd name="T26" fmla="*/ 190 w 430"/>
                <a:gd name="T27" fmla="*/ 341 h 386"/>
                <a:gd name="T28" fmla="*/ 207 w 430"/>
                <a:gd name="T29" fmla="*/ 362 h 386"/>
                <a:gd name="T30" fmla="*/ 229 w 430"/>
                <a:gd name="T31" fmla="*/ 353 h 386"/>
                <a:gd name="T32" fmla="*/ 271 w 430"/>
                <a:gd name="T33" fmla="*/ 386 h 386"/>
                <a:gd name="T34" fmla="*/ 278 w 430"/>
                <a:gd name="T35" fmla="*/ 367 h 386"/>
                <a:gd name="T36" fmla="*/ 277 w 430"/>
                <a:gd name="T37" fmla="*/ 336 h 386"/>
                <a:gd name="T38" fmla="*/ 259 w 430"/>
                <a:gd name="T39" fmla="*/ 323 h 386"/>
                <a:gd name="T40" fmla="*/ 215 w 430"/>
                <a:gd name="T41" fmla="*/ 295 h 386"/>
                <a:gd name="T42" fmla="*/ 189 w 430"/>
                <a:gd name="T43" fmla="*/ 286 h 386"/>
                <a:gd name="T44" fmla="*/ 179 w 430"/>
                <a:gd name="T45" fmla="*/ 273 h 386"/>
                <a:gd name="T46" fmla="*/ 194 w 430"/>
                <a:gd name="T47" fmla="*/ 258 h 386"/>
                <a:gd name="T48" fmla="*/ 183 w 430"/>
                <a:gd name="T49" fmla="*/ 236 h 386"/>
                <a:gd name="T50" fmla="*/ 202 w 430"/>
                <a:gd name="T51" fmla="*/ 245 h 386"/>
                <a:gd name="T52" fmla="*/ 215 w 430"/>
                <a:gd name="T53" fmla="*/ 238 h 386"/>
                <a:gd name="T54" fmla="*/ 190 w 430"/>
                <a:gd name="T55" fmla="*/ 202 h 386"/>
                <a:gd name="T56" fmla="*/ 170 w 430"/>
                <a:gd name="T57" fmla="*/ 160 h 386"/>
                <a:gd name="T58" fmla="*/ 165 w 430"/>
                <a:gd name="T59" fmla="*/ 134 h 386"/>
                <a:gd name="T60" fmla="*/ 176 w 430"/>
                <a:gd name="T61" fmla="*/ 117 h 386"/>
                <a:gd name="T62" fmla="*/ 185 w 430"/>
                <a:gd name="T63" fmla="*/ 139 h 386"/>
                <a:gd name="T64" fmla="*/ 190 w 430"/>
                <a:gd name="T65" fmla="*/ 147 h 386"/>
                <a:gd name="T66" fmla="*/ 227 w 430"/>
                <a:gd name="T67" fmla="*/ 176 h 386"/>
                <a:gd name="T68" fmla="*/ 231 w 430"/>
                <a:gd name="T69" fmla="*/ 156 h 386"/>
                <a:gd name="T70" fmla="*/ 257 w 430"/>
                <a:gd name="T71" fmla="*/ 176 h 386"/>
                <a:gd name="T72" fmla="*/ 246 w 430"/>
                <a:gd name="T73" fmla="*/ 152 h 386"/>
                <a:gd name="T74" fmla="*/ 257 w 430"/>
                <a:gd name="T75" fmla="*/ 141 h 386"/>
                <a:gd name="T76" fmla="*/ 288 w 430"/>
                <a:gd name="T77" fmla="*/ 148 h 386"/>
                <a:gd name="T78" fmla="*/ 275 w 430"/>
                <a:gd name="T79" fmla="*/ 130 h 386"/>
                <a:gd name="T80" fmla="*/ 246 w 430"/>
                <a:gd name="T81" fmla="*/ 113 h 386"/>
                <a:gd name="T82" fmla="*/ 248 w 430"/>
                <a:gd name="T83" fmla="*/ 98 h 386"/>
                <a:gd name="T84" fmla="*/ 299 w 430"/>
                <a:gd name="T85" fmla="*/ 87 h 386"/>
                <a:gd name="T86" fmla="*/ 350 w 430"/>
                <a:gd name="T87" fmla="*/ 82 h 386"/>
                <a:gd name="T88" fmla="*/ 378 w 430"/>
                <a:gd name="T89" fmla="*/ 87 h 386"/>
                <a:gd name="T90" fmla="*/ 406 w 430"/>
                <a:gd name="T91" fmla="*/ 76 h 386"/>
                <a:gd name="T92" fmla="*/ 428 w 430"/>
                <a:gd name="T93" fmla="*/ 48 h 386"/>
                <a:gd name="T94" fmla="*/ 428 w 430"/>
                <a:gd name="T95" fmla="*/ 6 h 386"/>
                <a:gd name="T96" fmla="*/ 408 w 430"/>
                <a:gd name="T97" fmla="*/ 0 h 386"/>
                <a:gd name="T98" fmla="*/ 402 w 430"/>
                <a:gd name="T99" fmla="*/ 20 h 386"/>
                <a:gd name="T100" fmla="*/ 389 w 430"/>
                <a:gd name="T101" fmla="*/ 35 h 386"/>
                <a:gd name="T102" fmla="*/ 371 w 430"/>
                <a:gd name="T103" fmla="*/ 45 h 386"/>
                <a:gd name="T104" fmla="*/ 338 w 430"/>
                <a:gd name="T105" fmla="*/ 33 h 386"/>
                <a:gd name="T106" fmla="*/ 306 w 430"/>
                <a:gd name="T107" fmla="*/ 20 h 386"/>
                <a:gd name="T108" fmla="*/ 271 w 430"/>
                <a:gd name="T109" fmla="*/ 45 h 386"/>
                <a:gd name="T110" fmla="*/ 231 w 430"/>
                <a:gd name="T111" fmla="*/ 56 h 386"/>
                <a:gd name="T112" fmla="*/ 202 w 430"/>
                <a:gd name="T113" fmla="*/ 61 h 386"/>
                <a:gd name="T114" fmla="*/ 183 w 430"/>
                <a:gd name="T115" fmla="*/ 78 h 386"/>
                <a:gd name="T116" fmla="*/ 153 w 430"/>
                <a:gd name="T117" fmla="*/ 82 h 386"/>
                <a:gd name="T118" fmla="*/ 126 w 430"/>
                <a:gd name="T119" fmla="*/ 97 h 386"/>
                <a:gd name="T120" fmla="*/ 98 w 430"/>
                <a:gd name="T121" fmla="*/ 97 h 38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30"/>
                <a:gd name="T184" fmla="*/ 0 h 386"/>
                <a:gd name="T185" fmla="*/ 430 w 430"/>
                <a:gd name="T186" fmla="*/ 386 h 38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30" h="386">
                  <a:moveTo>
                    <a:pt x="87" y="95"/>
                  </a:moveTo>
                  <a:lnTo>
                    <a:pt x="78" y="102"/>
                  </a:lnTo>
                  <a:lnTo>
                    <a:pt x="68" y="135"/>
                  </a:lnTo>
                  <a:lnTo>
                    <a:pt x="55" y="167"/>
                  </a:lnTo>
                  <a:lnTo>
                    <a:pt x="50" y="171"/>
                  </a:lnTo>
                  <a:lnTo>
                    <a:pt x="44" y="182"/>
                  </a:lnTo>
                  <a:lnTo>
                    <a:pt x="37" y="193"/>
                  </a:lnTo>
                  <a:lnTo>
                    <a:pt x="24" y="200"/>
                  </a:lnTo>
                  <a:lnTo>
                    <a:pt x="13" y="204"/>
                  </a:lnTo>
                  <a:lnTo>
                    <a:pt x="0" y="204"/>
                  </a:lnTo>
                  <a:lnTo>
                    <a:pt x="17" y="241"/>
                  </a:lnTo>
                  <a:lnTo>
                    <a:pt x="31" y="260"/>
                  </a:lnTo>
                  <a:lnTo>
                    <a:pt x="44" y="260"/>
                  </a:lnTo>
                  <a:lnTo>
                    <a:pt x="57" y="260"/>
                  </a:lnTo>
                  <a:lnTo>
                    <a:pt x="61" y="269"/>
                  </a:lnTo>
                  <a:lnTo>
                    <a:pt x="48" y="278"/>
                  </a:lnTo>
                  <a:lnTo>
                    <a:pt x="48" y="290"/>
                  </a:lnTo>
                  <a:lnTo>
                    <a:pt x="57" y="308"/>
                  </a:lnTo>
                  <a:lnTo>
                    <a:pt x="68" y="323"/>
                  </a:lnTo>
                  <a:lnTo>
                    <a:pt x="76" y="330"/>
                  </a:lnTo>
                  <a:lnTo>
                    <a:pt x="80" y="319"/>
                  </a:lnTo>
                  <a:lnTo>
                    <a:pt x="91" y="317"/>
                  </a:lnTo>
                  <a:lnTo>
                    <a:pt x="104" y="328"/>
                  </a:lnTo>
                  <a:lnTo>
                    <a:pt x="107" y="319"/>
                  </a:lnTo>
                  <a:lnTo>
                    <a:pt x="128" y="321"/>
                  </a:lnTo>
                  <a:lnTo>
                    <a:pt x="159" y="325"/>
                  </a:lnTo>
                  <a:lnTo>
                    <a:pt x="181" y="332"/>
                  </a:lnTo>
                  <a:lnTo>
                    <a:pt x="190" y="341"/>
                  </a:lnTo>
                  <a:lnTo>
                    <a:pt x="200" y="354"/>
                  </a:lnTo>
                  <a:lnTo>
                    <a:pt x="207" y="362"/>
                  </a:lnTo>
                  <a:lnTo>
                    <a:pt x="216" y="354"/>
                  </a:lnTo>
                  <a:lnTo>
                    <a:pt x="229" y="353"/>
                  </a:lnTo>
                  <a:lnTo>
                    <a:pt x="248" y="366"/>
                  </a:lnTo>
                  <a:lnTo>
                    <a:pt x="271" y="386"/>
                  </a:lnTo>
                  <a:lnTo>
                    <a:pt x="277" y="382"/>
                  </a:lnTo>
                  <a:lnTo>
                    <a:pt x="278" y="367"/>
                  </a:lnTo>
                  <a:lnTo>
                    <a:pt x="278" y="351"/>
                  </a:lnTo>
                  <a:lnTo>
                    <a:pt x="277" y="336"/>
                  </a:lnTo>
                  <a:lnTo>
                    <a:pt x="266" y="319"/>
                  </a:lnTo>
                  <a:lnTo>
                    <a:pt x="259" y="323"/>
                  </a:lnTo>
                  <a:lnTo>
                    <a:pt x="242" y="315"/>
                  </a:lnTo>
                  <a:lnTo>
                    <a:pt x="215" y="295"/>
                  </a:lnTo>
                  <a:lnTo>
                    <a:pt x="207" y="288"/>
                  </a:lnTo>
                  <a:lnTo>
                    <a:pt x="189" y="286"/>
                  </a:lnTo>
                  <a:lnTo>
                    <a:pt x="179" y="280"/>
                  </a:lnTo>
                  <a:lnTo>
                    <a:pt x="179" y="273"/>
                  </a:lnTo>
                  <a:lnTo>
                    <a:pt x="190" y="262"/>
                  </a:lnTo>
                  <a:lnTo>
                    <a:pt x="194" y="258"/>
                  </a:lnTo>
                  <a:lnTo>
                    <a:pt x="187" y="249"/>
                  </a:lnTo>
                  <a:lnTo>
                    <a:pt x="183" y="236"/>
                  </a:lnTo>
                  <a:lnTo>
                    <a:pt x="187" y="230"/>
                  </a:lnTo>
                  <a:lnTo>
                    <a:pt x="202" y="245"/>
                  </a:lnTo>
                  <a:lnTo>
                    <a:pt x="215" y="251"/>
                  </a:lnTo>
                  <a:lnTo>
                    <a:pt x="215" y="238"/>
                  </a:lnTo>
                  <a:lnTo>
                    <a:pt x="207" y="223"/>
                  </a:lnTo>
                  <a:lnTo>
                    <a:pt x="190" y="202"/>
                  </a:lnTo>
                  <a:lnTo>
                    <a:pt x="172" y="174"/>
                  </a:lnTo>
                  <a:lnTo>
                    <a:pt x="170" y="160"/>
                  </a:lnTo>
                  <a:lnTo>
                    <a:pt x="168" y="147"/>
                  </a:lnTo>
                  <a:lnTo>
                    <a:pt x="165" y="134"/>
                  </a:lnTo>
                  <a:lnTo>
                    <a:pt x="163" y="121"/>
                  </a:lnTo>
                  <a:lnTo>
                    <a:pt x="176" y="117"/>
                  </a:lnTo>
                  <a:lnTo>
                    <a:pt x="174" y="126"/>
                  </a:lnTo>
                  <a:lnTo>
                    <a:pt x="185" y="139"/>
                  </a:lnTo>
                  <a:lnTo>
                    <a:pt x="192" y="139"/>
                  </a:lnTo>
                  <a:lnTo>
                    <a:pt x="190" y="147"/>
                  </a:lnTo>
                  <a:lnTo>
                    <a:pt x="226" y="182"/>
                  </a:lnTo>
                  <a:lnTo>
                    <a:pt x="227" y="176"/>
                  </a:lnTo>
                  <a:lnTo>
                    <a:pt x="220" y="160"/>
                  </a:lnTo>
                  <a:lnTo>
                    <a:pt x="231" y="156"/>
                  </a:lnTo>
                  <a:lnTo>
                    <a:pt x="248" y="163"/>
                  </a:lnTo>
                  <a:lnTo>
                    <a:pt x="257" y="176"/>
                  </a:lnTo>
                  <a:lnTo>
                    <a:pt x="259" y="167"/>
                  </a:lnTo>
                  <a:lnTo>
                    <a:pt x="246" y="152"/>
                  </a:lnTo>
                  <a:lnTo>
                    <a:pt x="248" y="145"/>
                  </a:lnTo>
                  <a:lnTo>
                    <a:pt x="257" y="141"/>
                  </a:lnTo>
                  <a:lnTo>
                    <a:pt x="282" y="152"/>
                  </a:lnTo>
                  <a:lnTo>
                    <a:pt x="288" y="148"/>
                  </a:lnTo>
                  <a:lnTo>
                    <a:pt x="286" y="137"/>
                  </a:lnTo>
                  <a:lnTo>
                    <a:pt x="275" y="130"/>
                  </a:lnTo>
                  <a:lnTo>
                    <a:pt x="257" y="122"/>
                  </a:lnTo>
                  <a:lnTo>
                    <a:pt x="246" y="113"/>
                  </a:lnTo>
                  <a:lnTo>
                    <a:pt x="244" y="106"/>
                  </a:lnTo>
                  <a:lnTo>
                    <a:pt x="248" y="98"/>
                  </a:lnTo>
                  <a:lnTo>
                    <a:pt x="273" y="95"/>
                  </a:lnTo>
                  <a:lnTo>
                    <a:pt x="299" y="87"/>
                  </a:lnTo>
                  <a:lnTo>
                    <a:pt x="317" y="89"/>
                  </a:lnTo>
                  <a:lnTo>
                    <a:pt x="350" y="82"/>
                  </a:lnTo>
                  <a:lnTo>
                    <a:pt x="356" y="78"/>
                  </a:lnTo>
                  <a:lnTo>
                    <a:pt x="378" y="87"/>
                  </a:lnTo>
                  <a:lnTo>
                    <a:pt x="397" y="97"/>
                  </a:lnTo>
                  <a:lnTo>
                    <a:pt x="406" y="76"/>
                  </a:lnTo>
                  <a:lnTo>
                    <a:pt x="423" y="54"/>
                  </a:lnTo>
                  <a:lnTo>
                    <a:pt x="428" y="48"/>
                  </a:lnTo>
                  <a:lnTo>
                    <a:pt x="430" y="9"/>
                  </a:lnTo>
                  <a:lnTo>
                    <a:pt x="428" y="6"/>
                  </a:lnTo>
                  <a:lnTo>
                    <a:pt x="419" y="0"/>
                  </a:lnTo>
                  <a:lnTo>
                    <a:pt x="408" y="0"/>
                  </a:lnTo>
                  <a:lnTo>
                    <a:pt x="402" y="6"/>
                  </a:lnTo>
                  <a:lnTo>
                    <a:pt x="402" y="20"/>
                  </a:lnTo>
                  <a:lnTo>
                    <a:pt x="404" y="32"/>
                  </a:lnTo>
                  <a:lnTo>
                    <a:pt x="389" y="35"/>
                  </a:lnTo>
                  <a:lnTo>
                    <a:pt x="378" y="43"/>
                  </a:lnTo>
                  <a:lnTo>
                    <a:pt x="371" y="45"/>
                  </a:lnTo>
                  <a:lnTo>
                    <a:pt x="347" y="39"/>
                  </a:lnTo>
                  <a:lnTo>
                    <a:pt x="338" y="33"/>
                  </a:lnTo>
                  <a:lnTo>
                    <a:pt x="325" y="41"/>
                  </a:lnTo>
                  <a:lnTo>
                    <a:pt x="306" y="20"/>
                  </a:lnTo>
                  <a:lnTo>
                    <a:pt x="286" y="35"/>
                  </a:lnTo>
                  <a:lnTo>
                    <a:pt x="271" y="45"/>
                  </a:lnTo>
                  <a:lnTo>
                    <a:pt x="255" y="52"/>
                  </a:lnTo>
                  <a:lnTo>
                    <a:pt x="231" y="56"/>
                  </a:lnTo>
                  <a:lnTo>
                    <a:pt x="215" y="61"/>
                  </a:lnTo>
                  <a:lnTo>
                    <a:pt x="202" y="61"/>
                  </a:lnTo>
                  <a:lnTo>
                    <a:pt x="196" y="63"/>
                  </a:lnTo>
                  <a:lnTo>
                    <a:pt x="183" y="78"/>
                  </a:lnTo>
                  <a:lnTo>
                    <a:pt x="172" y="78"/>
                  </a:lnTo>
                  <a:lnTo>
                    <a:pt x="153" y="82"/>
                  </a:lnTo>
                  <a:lnTo>
                    <a:pt x="135" y="80"/>
                  </a:lnTo>
                  <a:lnTo>
                    <a:pt x="126" y="97"/>
                  </a:lnTo>
                  <a:lnTo>
                    <a:pt x="111" y="98"/>
                  </a:lnTo>
                  <a:lnTo>
                    <a:pt x="98" y="97"/>
                  </a:lnTo>
                  <a:lnTo>
                    <a:pt x="87" y="95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194" name="Freeform 62"/>
            <p:cNvSpPr>
              <a:spLocks/>
            </p:cNvSpPr>
            <p:nvPr/>
          </p:nvSpPr>
          <p:spPr bwMode="auto">
            <a:xfrm>
              <a:off x="2760" y="3718"/>
              <a:ext cx="107" cy="87"/>
            </a:xfrm>
            <a:custGeom>
              <a:avLst/>
              <a:gdLst>
                <a:gd name="T0" fmla="*/ 9 w 107"/>
                <a:gd name="T1" fmla="*/ 0 h 87"/>
                <a:gd name="T2" fmla="*/ 0 w 107"/>
                <a:gd name="T3" fmla="*/ 7 h 87"/>
                <a:gd name="T4" fmla="*/ 11 w 107"/>
                <a:gd name="T5" fmla="*/ 26 h 87"/>
                <a:gd name="T6" fmla="*/ 24 w 107"/>
                <a:gd name="T7" fmla="*/ 30 h 87"/>
                <a:gd name="T8" fmla="*/ 39 w 107"/>
                <a:gd name="T9" fmla="*/ 46 h 87"/>
                <a:gd name="T10" fmla="*/ 52 w 107"/>
                <a:gd name="T11" fmla="*/ 54 h 87"/>
                <a:gd name="T12" fmla="*/ 74 w 107"/>
                <a:gd name="T13" fmla="*/ 70 h 87"/>
                <a:gd name="T14" fmla="*/ 87 w 107"/>
                <a:gd name="T15" fmla="*/ 76 h 87"/>
                <a:gd name="T16" fmla="*/ 103 w 107"/>
                <a:gd name="T17" fmla="*/ 87 h 87"/>
                <a:gd name="T18" fmla="*/ 107 w 107"/>
                <a:gd name="T19" fmla="*/ 81 h 87"/>
                <a:gd name="T20" fmla="*/ 74 w 107"/>
                <a:gd name="T21" fmla="*/ 56 h 87"/>
                <a:gd name="T22" fmla="*/ 72 w 107"/>
                <a:gd name="T23" fmla="*/ 44 h 87"/>
                <a:gd name="T24" fmla="*/ 68 w 107"/>
                <a:gd name="T25" fmla="*/ 33 h 87"/>
                <a:gd name="T26" fmla="*/ 54 w 107"/>
                <a:gd name="T27" fmla="*/ 20 h 87"/>
                <a:gd name="T28" fmla="*/ 50 w 107"/>
                <a:gd name="T29" fmla="*/ 22 h 87"/>
                <a:gd name="T30" fmla="*/ 32 w 107"/>
                <a:gd name="T31" fmla="*/ 9 h 87"/>
                <a:gd name="T32" fmla="*/ 22 w 107"/>
                <a:gd name="T33" fmla="*/ 4 h 87"/>
                <a:gd name="T34" fmla="*/ 9 w 107"/>
                <a:gd name="T35" fmla="*/ 0 h 8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7"/>
                <a:gd name="T55" fmla="*/ 0 h 87"/>
                <a:gd name="T56" fmla="*/ 107 w 107"/>
                <a:gd name="T57" fmla="*/ 87 h 8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7" h="87">
                  <a:moveTo>
                    <a:pt x="9" y="0"/>
                  </a:moveTo>
                  <a:lnTo>
                    <a:pt x="0" y="7"/>
                  </a:lnTo>
                  <a:lnTo>
                    <a:pt x="11" y="26"/>
                  </a:lnTo>
                  <a:lnTo>
                    <a:pt x="24" y="30"/>
                  </a:lnTo>
                  <a:lnTo>
                    <a:pt x="39" y="46"/>
                  </a:lnTo>
                  <a:lnTo>
                    <a:pt x="52" y="54"/>
                  </a:lnTo>
                  <a:lnTo>
                    <a:pt x="74" y="70"/>
                  </a:lnTo>
                  <a:lnTo>
                    <a:pt x="87" y="76"/>
                  </a:lnTo>
                  <a:lnTo>
                    <a:pt x="103" y="87"/>
                  </a:lnTo>
                  <a:lnTo>
                    <a:pt x="107" y="81"/>
                  </a:lnTo>
                  <a:lnTo>
                    <a:pt x="74" y="56"/>
                  </a:lnTo>
                  <a:lnTo>
                    <a:pt x="72" y="44"/>
                  </a:lnTo>
                  <a:lnTo>
                    <a:pt x="68" y="33"/>
                  </a:lnTo>
                  <a:lnTo>
                    <a:pt x="54" y="20"/>
                  </a:lnTo>
                  <a:lnTo>
                    <a:pt x="50" y="22"/>
                  </a:lnTo>
                  <a:lnTo>
                    <a:pt x="32" y="9"/>
                  </a:lnTo>
                  <a:lnTo>
                    <a:pt x="22" y="4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195" name="Freeform 63"/>
            <p:cNvSpPr>
              <a:spLocks/>
            </p:cNvSpPr>
            <p:nvPr/>
          </p:nvSpPr>
          <p:spPr bwMode="auto">
            <a:xfrm>
              <a:off x="2794" y="4010"/>
              <a:ext cx="201" cy="54"/>
            </a:xfrm>
            <a:custGeom>
              <a:avLst/>
              <a:gdLst>
                <a:gd name="T0" fmla="*/ 42 w 201"/>
                <a:gd name="T1" fmla="*/ 11 h 54"/>
                <a:gd name="T2" fmla="*/ 57 w 201"/>
                <a:gd name="T3" fmla="*/ 4 h 54"/>
                <a:gd name="T4" fmla="*/ 64 w 201"/>
                <a:gd name="T5" fmla="*/ 11 h 54"/>
                <a:gd name="T6" fmla="*/ 70 w 201"/>
                <a:gd name="T7" fmla="*/ 13 h 54"/>
                <a:gd name="T8" fmla="*/ 81 w 201"/>
                <a:gd name="T9" fmla="*/ 7 h 54"/>
                <a:gd name="T10" fmla="*/ 88 w 201"/>
                <a:gd name="T11" fmla="*/ 4 h 54"/>
                <a:gd name="T12" fmla="*/ 120 w 201"/>
                <a:gd name="T13" fmla="*/ 7 h 54"/>
                <a:gd name="T14" fmla="*/ 151 w 201"/>
                <a:gd name="T15" fmla="*/ 6 h 54"/>
                <a:gd name="T16" fmla="*/ 160 w 201"/>
                <a:gd name="T17" fmla="*/ 15 h 54"/>
                <a:gd name="T18" fmla="*/ 160 w 201"/>
                <a:gd name="T19" fmla="*/ 20 h 54"/>
                <a:gd name="T20" fmla="*/ 182 w 201"/>
                <a:gd name="T21" fmla="*/ 17 h 54"/>
                <a:gd name="T22" fmla="*/ 194 w 201"/>
                <a:gd name="T23" fmla="*/ 19 h 54"/>
                <a:gd name="T24" fmla="*/ 201 w 201"/>
                <a:gd name="T25" fmla="*/ 26 h 54"/>
                <a:gd name="T26" fmla="*/ 194 w 201"/>
                <a:gd name="T27" fmla="*/ 35 h 54"/>
                <a:gd name="T28" fmla="*/ 175 w 201"/>
                <a:gd name="T29" fmla="*/ 34 h 54"/>
                <a:gd name="T30" fmla="*/ 162 w 201"/>
                <a:gd name="T31" fmla="*/ 41 h 54"/>
                <a:gd name="T32" fmla="*/ 140 w 201"/>
                <a:gd name="T33" fmla="*/ 41 h 54"/>
                <a:gd name="T34" fmla="*/ 118 w 201"/>
                <a:gd name="T35" fmla="*/ 50 h 54"/>
                <a:gd name="T36" fmla="*/ 99 w 201"/>
                <a:gd name="T37" fmla="*/ 54 h 54"/>
                <a:gd name="T38" fmla="*/ 84 w 201"/>
                <a:gd name="T39" fmla="*/ 45 h 54"/>
                <a:gd name="T40" fmla="*/ 64 w 201"/>
                <a:gd name="T41" fmla="*/ 34 h 54"/>
                <a:gd name="T42" fmla="*/ 44 w 201"/>
                <a:gd name="T43" fmla="*/ 34 h 54"/>
                <a:gd name="T44" fmla="*/ 17 w 201"/>
                <a:gd name="T45" fmla="*/ 28 h 54"/>
                <a:gd name="T46" fmla="*/ 7 w 201"/>
                <a:gd name="T47" fmla="*/ 20 h 54"/>
                <a:gd name="T48" fmla="*/ 0 w 201"/>
                <a:gd name="T49" fmla="*/ 6 h 54"/>
                <a:gd name="T50" fmla="*/ 4 w 201"/>
                <a:gd name="T51" fmla="*/ 0 h 54"/>
                <a:gd name="T52" fmla="*/ 27 w 201"/>
                <a:gd name="T53" fmla="*/ 4 h 54"/>
                <a:gd name="T54" fmla="*/ 42 w 201"/>
                <a:gd name="T55" fmla="*/ 11 h 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01"/>
                <a:gd name="T85" fmla="*/ 0 h 54"/>
                <a:gd name="T86" fmla="*/ 201 w 201"/>
                <a:gd name="T87" fmla="*/ 54 h 5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01" h="54">
                  <a:moveTo>
                    <a:pt x="42" y="11"/>
                  </a:moveTo>
                  <a:lnTo>
                    <a:pt x="57" y="4"/>
                  </a:lnTo>
                  <a:lnTo>
                    <a:pt x="64" y="11"/>
                  </a:lnTo>
                  <a:lnTo>
                    <a:pt x="70" y="13"/>
                  </a:lnTo>
                  <a:lnTo>
                    <a:pt x="81" y="7"/>
                  </a:lnTo>
                  <a:lnTo>
                    <a:pt x="88" y="4"/>
                  </a:lnTo>
                  <a:lnTo>
                    <a:pt x="120" y="7"/>
                  </a:lnTo>
                  <a:lnTo>
                    <a:pt x="151" y="6"/>
                  </a:lnTo>
                  <a:lnTo>
                    <a:pt x="160" y="15"/>
                  </a:lnTo>
                  <a:lnTo>
                    <a:pt x="160" y="20"/>
                  </a:lnTo>
                  <a:lnTo>
                    <a:pt x="182" y="17"/>
                  </a:lnTo>
                  <a:lnTo>
                    <a:pt x="194" y="19"/>
                  </a:lnTo>
                  <a:lnTo>
                    <a:pt x="201" y="26"/>
                  </a:lnTo>
                  <a:lnTo>
                    <a:pt x="194" y="35"/>
                  </a:lnTo>
                  <a:lnTo>
                    <a:pt x="175" y="34"/>
                  </a:lnTo>
                  <a:lnTo>
                    <a:pt x="162" y="41"/>
                  </a:lnTo>
                  <a:lnTo>
                    <a:pt x="140" y="41"/>
                  </a:lnTo>
                  <a:lnTo>
                    <a:pt x="118" y="50"/>
                  </a:lnTo>
                  <a:lnTo>
                    <a:pt x="99" y="54"/>
                  </a:lnTo>
                  <a:lnTo>
                    <a:pt x="84" y="45"/>
                  </a:lnTo>
                  <a:lnTo>
                    <a:pt x="64" y="34"/>
                  </a:lnTo>
                  <a:lnTo>
                    <a:pt x="44" y="34"/>
                  </a:lnTo>
                  <a:lnTo>
                    <a:pt x="17" y="28"/>
                  </a:lnTo>
                  <a:lnTo>
                    <a:pt x="7" y="20"/>
                  </a:lnTo>
                  <a:lnTo>
                    <a:pt x="0" y="6"/>
                  </a:lnTo>
                  <a:lnTo>
                    <a:pt x="4" y="0"/>
                  </a:lnTo>
                  <a:lnTo>
                    <a:pt x="27" y="4"/>
                  </a:lnTo>
                  <a:lnTo>
                    <a:pt x="42" y="11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196" name="Freeform 64"/>
            <p:cNvSpPr>
              <a:spLocks/>
            </p:cNvSpPr>
            <p:nvPr/>
          </p:nvSpPr>
          <p:spPr bwMode="auto">
            <a:xfrm>
              <a:off x="2880" y="3615"/>
              <a:ext cx="30" cy="28"/>
            </a:xfrm>
            <a:custGeom>
              <a:avLst/>
              <a:gdLst>
                <a:gd name="T0" fmla="*/ 30 w 30"/>
                <a:gd name="T1" fmla="*/ 0 h 28"/>
                <a:gd name="T2" fmla="*/ 11 w 30"/>
                <a:gd name="T3" fmla="*/ 0 h 28"/>
                <a:gd name="T4" fmla="*/ 2 w 30"/>
                <a:gd name="T5" fmla="*/ 6 h 28"/>
                <a:gd name="T6" fmla="*/ 0 w 30"/>
                <a:gd name="T7" fmla="*/ 15 h 28"/>
                <a:gd name="T8" fmla="*/ 0 w 30"/>
                <a:gd name="T9" fmla="*/ 26 h 28"/>
                <a:gd name="T10" fmla="*/ 9 w 30"/>
                <a:gd name="T11" fmla="*/ 28 h 28"/>
                <a:gd name="T12" fmla="*/ 26 w 30"/>
                <a:gd name="T13" fmla="*/ 17 h 28"/>
                <a:gd name="T14" fmla="*/ 30 w 30"/>
                <a:gd name="T15" fmla="*/ 0 h 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0"/>
                <a:gd name="T25" fmla="*/ 0 h 28"/>
                <a:gd name="T26" fmla="*/ 30 w 30"/>
                <a:gd name="T27" fmla="*/ 28 h 2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0" h="28">
                  <a:moveTo>
                    <a:pt x="30" y="0"/>
                  </a:moveTo>
                  <a:lnTo>
                    <a:pt x="11" y="0"/>
                  </a:lnTo>
                  <a:lnTo>
                    <a:pt x="2" y="6"/>
                  </a:lnTo>
                  <a:lnTo>
                    <a:pt x="0" y="15"/>
                  </a:lnTo>
                  <a:lnTo>
                    <a:pt x="0" y="26"/>
                  </a:lnTo>
                  <a:lnTo>
                    <a:pt x="9" y="28"/>
                  </a:lnTo>
                  <a:lnTo>
                    <a:pt x="26" y="17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197" name="Freeform 65"/>
            <p:cNvSpPr>
              <a:spLocks/>
            </p:cNvSpPr>
            <p:nvPr/>
          </p:nvSpPr>
          <p:spPr bwMode="auto">
            <a:xfrm>
              <a:off x="3084" y="3878"/>
              <a:ext cx="41" cy="22"/>
            </a:xfrm>
            <a:custGeom>
              <a:avLst/>
              <a:gdLst>
                <a:gd name="T0" fmla="*/ 41 w 41"/>
                <a:gd name="T1" fmla="*/ 6 h 22"/>
                <a:gd name="T2" fmla="*/ 22 w 41"/>
                <a:gd name="T3" fmla="*/ 22 h 22"/>
                <a:gd name="T4" fmla="*/ 9 w 41"/>
                <a:gd name="T5" fmla="*/ 22 h 22"/>
                <a:gd name="T6" fmla="*/ 0 w 41"/>
                <a:gd name="T7" fmla="*/ 15 h 22"/>
                <a:gd name="T8" fmla="*/ 6 w 41"/>
                <a:gd name="T9" fmla="*/ 2 h 22"/>
                <a:gd name="T10" fmla="*/ 26 w 41"/>
                <a:gd name="T11" fmla="*/ 0 h 22"/>
                <a:gd name="T12" fmla="*/ 41 w 41"/>
                <a:gd name="T13" fmla="*/ 6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22"/>
                <a:gd name="T23" fmla="*/ 41 w 41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22">
                  <a:moveTo>
                    <a:pt x="41" y="6"/>
                  </a:moveTo>
                  <a:lnTo>
                    <a:pt x="22" y="22"/>
                  </a:lnTo>
                  <a:lnTo>
                    <a:pt x="9" y="22"/>
                  </a:lnTo>
                  <a:lnTo>
                    <a:pt x="0" y="15"/>
                  </a:lnTo>
                  <a:lnTo>
                    <a:pt x="6" y="2"/>
                  </a:lnTo>
                  <a:lnTo>
                    <a:pt x="26" y="0"/>
                  </a:lnTo>
                  <a:lnTo>
                    <a:pt x="41" y="6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198" name="Freeform 66"/>
            <p:cNvSpPr>
              <a:spLocks/>
            </p:cNvSpPr>
            <p:nvPr/>
          </p:nvSpPr>
          <p:spPr bwMode="auto">
            <a:xfrm>
              <a:off x="3090" y="3928"/>
              <a:ext cx="42" cy="34"/>
            </a:xfrm>
            <a:custGeom>
              <a:avLst/>
              <a:gdLst>
                <a:gd name="T0" fmla="*/ 42 w 42"/>
                <a:gd name="T1" fmla="*/ 0 h 34"/>
                <a:gd name="T2" fmla="*/ 42 w 42"/>
                <a:gd name="T3" fmla="*/ 11 h 34"/>
                <a:gd name="T4" fmla="*/ 16 w 42"/>
                <a:gd name="T5" fmla="*/ 29 h 34"/>
                <a:gd name="T6" fmla="*/ 5 w 42"/>
                <a:gd name="T7" fmla="*/ 34 h 34"/>
                <a:gd name="T8" fmla="*/ 0 w 42"/>
                <a:gd name="T9" fmla="*/ 32 h 34"/>
                <a:gd name="T10" fmla="*/ 4 w 42"/>
                <a:gd name="T11" fmla="*/ 20 h 34"/>
                <a:gd name="T12" fmla="*/ 22 w 42"/>
                <a:gd name="T13" fmla="*/ 6 h 34"/>
                <a:gd name="T14" fmla="*/ 42 w 42"/>
                <a:gd name="T15" fmla="*/ 0 h 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34"/>
                <a:gd name="T26" fmla="*/ 42 w 42"/>
                <a:gd name="T27" fmla="*/ 34 h 3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34">
                  <a:moveTo>
                    <a:pt x="42" y="0"/>
                  </a:moveTo>
                  <a:lnTo>
                    <a:pt x="42" y="11"/>
                  </a:lnTo>
                  <a:lnTo>
                    <a:pt x="16" y="29"/>
                  </a:lnTo>
                  <a:lnTo>
                    <a:pt x="5" y="34"/>
                  </a:lnTo>
                  <a:lnTo>
                    <a:pt x="0" y="32"/>
                  </a:lnTo>
                  <a:lnTo>
                    <a:pt x="4" y="20"/>
                  </a:lnTo>
                  <a:lnTo>
                    <a:pt x="22" y="6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199" name="Freeform 67"/>
            <p:cNvSpPr>
              <a:spLocks/>
            </p:cNvSpPr>
            <p:nvPr/>
          </p:nvSpPr>
          <p:spPr bwMode="auto">
            <a:xfrm>
              <a:off x="2936" y="3663"/>
              <a:ext cx="52" cy="37"/>
            </a:xfrm>
            <a:custGeom>
              <a:avLst/>
              <a:gdLst>
                <a:gd name="T0" fmla="*/ 28 w 52"/>
                <a:gd name="T1" fmla="*/ 0 h 37"/>
                <a:gd name="T2" fmla="*/ 52 w 52"/>
                <a:gd name="T3" fmla="*/ 26 h 37"/>
                <a:gd name="T4" fmla="*/ 48 w 52"/>
                <a:gd name="T5" fmla="*/ 33 h 37"/>
                <a:gd name="T6" fmla="*/ 35 w 52"/>
                <a:gd name="T7" fmla="*/ 37 h 37"/>
                <a:gd name="T8" fmla="*/ 33 w 52"/>
                <a:gd name="T9" fmla="*/ 28 h 37"/>
                <a:gd name="T10" fmla="*/ 28 w 52"/>
                <a:gd name="T11" fmla="*/ 24 h 37"/>
                <a:gd name="T12" fmla="*/ 20 w 52"/>
                <a:gd name="T13" fmla="*/ 28 h 37"/>
                <a:gd name="T14" fmla="*/ 11 w 52"/>
                <a:gd name="T15" fmla="*/ 22 h 37"/>
                <a:gd name="T16" fmla="*/ 7 w 52"/>
                <a:gd name="T17" fmla="*/ 17 h 37"/>
                <a:gd name="T18" fmla="*/ 13 w 52"/>
                <a:gd name="T19" fmla="*/ 13 h 37"/>
                <a:gd name="T20" fmla="*/ 2 w 52"/>
                <a:gd name="T21" fmla="*/ 19 h 37"/>
                <a:gd name="T22" fmla="*/ 0 w 52"/>
                <a:gd name="T23" fmla="*/ 13 h 37"/>
                <a:gd name="T24" fmla="*/ 15 w 52"/>
                <a:gd name="T25" fmla="*/ 7 h 37"/>
                <a:gd name="T26" fmla="*/ 28 w 52"/>
                <a:gd name="T27" fmla="*/ 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2"/>
                <a:gd name="T43" fmla="*/ 0 h 37"/>
                <a:gd name="T44" fmla="*/ 52 w 52"/>
                <a:gd name="T45" fmla="*/ 37 h 3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2" h="37">
                  <a:moveTo>
                    <a:pt x="28" y="0"/>
                  </a:moveTo>
                  <a:lnTo>
                    <a:pt x="52" y="26"/>
                  </a:lnTo>
                  <a:lnTo>
                    <a:pt x="48" y="33"/>
                  </a:lnTo>
                  <a:lnTo>
                    <a:pt x="35" y="37"/>
                  </a:lnTo>
                  <a:lnTo>
                    <a:pt x="33" y="28"/>
                  </a:lnTo>
                  <a:lnTo>
                    <a:pt x="28" y="24"/>
                  </a:lnTo>
                  <a:lnTo>
                    <a:pt x="20" y="28"/>
                  </a:lnTo>
                  <a:lnTo>
                    <a:pt x="11" y="22"/>
                  </a:lnTo>
                  <a:lnTo>
                    <a:pt x="7" y="17"/>
                  </a:lnTo>
                  <a:lnTo>
                    <a:pt x="13" y="1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15" y="7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</p:grpSp>
      <p:grpSp>
        <p:nvGrpSpPr>
          <p:cNvPr id="167" name="Group 68"/>
          <p:cNvGrpSpPr>
            <a:grpSpLocks/>
          </p:cNvGrpSpPr>
          <p:nvPr/>
        </p:nvGrpSpPr>
        <p:grpSpPr bwMode="auto">
          <a:xfrm>
            <a:off x="5664630" y="3385504"/>
            <a:ext cx="1153790" cy="1432243"/>
            <a:chOff x="1086" y="2537"/>
            <a:chExt cx="764" cy="906"/>
          </a:xfrm>
          <a:solidFill>
            <a:schemeClr val="accent4"/>
          </a:solidFill>
        </p:grpSpPr>
        <p:sp>
          <p:nvSpPr>
            <p:cNvPr id="189" name="Freeform 69"/>
            <p:cNvSpPr>
              <a:spLocks/>
            </p:cNvSpPr>
            <p:nvPr/>
          </p:nvSpPr>
          <p:spPr bwMode="auto">
            <a:xfrm>
              <a:off x="1782" y="3321"/>
              <a:ext cx="68" cy="122"/>
            </a:xfrm>
            <a:custGeom>
              <a:avLst/>
              <a:gdLst>
                <a:gd name="T0" fmla="*/ 68 w 68"/>
                <a:gd name="T1" fmla="*/ 0 h 122"/>
                <a:gd name="T2" fmla="*/ 46 w 68"/>
                <a:gd name="T3" fmla="*/ 26 h 122"/>
                <a:gd name="T4" fmla="*/ 20 w 68"/>
                <a:gd name="T5" fmla="*/ 26 h 122"/>
                <a:gd name="T6" fmla="*/ 0 w 68"/>
                <a:gd name="T7" fmla="*/ 41 h 122"/>
                <a:gd name="T8" fmla="*/ 4 w 68"/>
                <a:gd name="T9" fmla="*/ 62 h 122"/>
                <a:gd name="T10" fmla="*/ 4 w 68"/>
                <a:gd name="T11" fmla="*/ 96 h 122"/>
                <a:gd name="T12" fmla="*/ 20 w 68"/>
                <a:gd name="T13" fmla="*/ 122 h 122"/>
                <a:gd name="T14" fmla="*/ 38 w 68"/>
                <a:gd name="T15" fmla="*/ 115 h 122"/>
                <a:gd name="T16" fmla="*/ 42 w 68"/>
                <a:gd name="T17" fmla="*/ 100 h 122"/>
                <a:gd name="T18" fmla="*/ 61 w 68"/>
                <a:gd name="T19" fmla="*/ 66 h 122"/>
                <a:gd name="T20" fmla="*/ 61 w 68"/>
                <a:gd name="T21" fmla="*/ 48 h 122"/>
                <a:gd name="T22" fmla="*/ 68 w 68"/>
                <a:gd name="T23" fmla="*/ 0 h 1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8"/>
                <a:gd name="T37" fmla="*/ 0 h 122"/>
                <a:gd name="T38" fmla="*/ 68 w 68"/>
                <a:gd name="T39" fmla="*/ 122 h 1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8" h="122">
                  <a:moveTo>
                    <a:pt x="68" y="0"/>
                  </a:moveTo>
                  <a:lnTo>
                    <a:pt x="46" y="26"/>
                  </a:lnTo>
                  <a:lnTo>
                    <a:pt x="20" y="26"/>
                  </a:lnTo>
                  <a:lnTo>
                    <a:pt x="0" y="41"/>
                  </a:lnTo>
                  <a:lnTo>
                    <a:pt x="4" y="62"/>
                  </a:lnTo>
                  <a:lnTo>
                    <a:pt x="4" y="96"/>
                  </a:lnTo>
                  <a:lnTo>
                    <a:pt x="20" y="122"/>
                  </a:lnTo>
                  <a:lnTo>
                    <a:pt x="38" y="115"/>
                  </a:lnTo>
                  <a:lnTo>
                    <a:pt x="42" y="100"/>
                  </a:lnTo>
                  <a:lnTo>
                    <a:pt x="61" y="66"/>
                  </a:lnTo>
                  <a:lnTo>
                    <a:pt x="61" y="48"/>
                  </a:lnTo>
                  <a:lnTo>
                    <a:pt x="68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190" name="Freeform 70"/>
            <p:cNvSpPr>
              <a:spLocks/>
            </p:cNvSpPr>
            <p:nvPr/>
          </p:nvSpPr>
          <p:spPr bwMode="auto">
            <a:xfrm>
              <a:off x="1086" y="2537"/>
              <a:ext cx="764" cy="746"/>
            </a:xfrm>
            <a:custGeom>
              <a:avLst/>
              <a:gdLst>
                <a:gd name="T0" fmla="*/ 11 w 764"/>
                <a:gd name="T1" fmla="*/ 145 h 746"/>
                <a:gd name="T2" fmla="*/ 13 w 764"/>
                <a:gd name="T3" fmla="*/ 174 h 746"/>
                <a:gd name="T4" fmla="*/ 74 w 764"/>
                <a:gd name="T5" fmla="*/ 221 h 746"/>
                <a:gd name="T6" fmla="*/ 122 w 764"/>
                <a:gd name="T7" fmla="*/ 250 h 746"/>
                <a:gd name="T8" fmla="*/ 117 w 764"/>
                <a:gd name="T9" fmla="*/ 290 h 746"/>
                <a:gd name="T10" fmla="*/ 145 w 764"/>
                <a:gd name="T11" fmla="*/ 349 h 746"/>
                <a:gd name="T12" fmla="*/ 158 w 764"/>
                <a:gd name="T13" fmla="*/ 429 h 746"/>
                <a:gd name="T14" fmla="*/ 132 w 764"/>
                <a:gd name="T15" fmla="*/ 429 h 746"/>
                <a:gd name="T16" fmla="*/ 115 w 764"/>
                <a:gd name="T17" fmla="*/ 470 h 746"/>
                <a:gd name="T18" fmla="*/ 98 w 764"/>
                <a:gd name="T19" fmla="*/ 511 h 746"/>
                <a:gd name="T20" fmla="*/ 57 w 764"/>
                <a:gd name="T21" fmla="*/ 583 h 746"/>
                <a:gd name="T22" fmla="*/ 59 w 764"/>
                <a:gd name="T23" fmla="*/ 618 h 746"/>
                <a:gd name="T24" fmla="*/ 161 w 764"/>
                <a:gd name="T25" fmla="*/ 685 h 746"/>
                <a:gd name="T26" fmla="*/ 249 w 764"/>
                <a:gd name="T27" fmla="*/ 726 h 746"/>
                <a:gd name="T28" fmla="*/ 325 w 764"/>
                <a:gd name="T29" fmla="*/ 746 h 746"/>
                <a:gd name="T30" fmla="*/ 353 w 764"/>
                <a:gd name="T31" fmla="*/ 689 h 746"/>
                <a:gd name="T32" fmla="*/ 422 w 764"/>
                <a:gd name="T33" fmla="*/ 664 h 746"/>
                <a:gd name="T34" fmla="*/ 472 w 764"/>
                <a:gd name="T35" fmla="*/ 690 h 746"/>
                <a:gd name="T36" fmla="*/ 541 w 764"/>
                <a:gd name="T37" fmla="*/ 726 h 746"/>
                <a:gd name="T38" fmla="*/ 604 w 764"/>
                <a:gd name="T39" fmla="*/ 711 h 746"/>
                <a:gd name="T40" fmla="*/ 650 w 764"/>
                <a:gd name="T41" fmla="*/ 663 h 746"/>
                <a:gd name="T42" fmla="*/ 622 w 764"/>
                <a:gd name="T43" fmla="*/ 642 h 746"/>
                <a:gd name="T44" fmla="*/ 617 w 764"/>
                <a:gd name="T45" fmla="*/ 574 h 746"/>
                <a:gd name="T46" fmla="*/ 635 w 764"/>
                <a:gd name="T47" fmla="*/ 511 h 746"/>
                <a:gd name="T48" fmla="*/ 635 w 764"/>
                <a:gd name="T49" fmla="*/ 453 h 746"/>
                <a:gd name="T50" fmla="*/ 602 w 764"/>
                <a:gd name="T51" fmla="*/ 455 h 746"/>
                <a:gd name="T52" fmla="*/ 587 w 764"/>
                <a:gd name="T53" fmla="*/ 446 h 746"/>
                <a:gd name="T54" fmla="*/ 622 w 764"/>
                <a:gd name="T55" fmla="*/ 405 h 746"/>
                <a:gd name="T56" fmla="*/ 676 w 764"/>
                <a:gd name="T57" fmla="*/ 353 h 746"/>
                <a:gd name="T58" fmla="*/ 705 w 764"/>
                <a:gd name="T59" fmla="*/ 327 h 746"/>
                <a:gd name="T60" fmla="*/ 727 w 764"/>
                <a:gd name="T61" fmla="*/ 277 h 746"/>
                <a:gd name="T62" fmla="*/ 764 w 764"/>
                <a:gd name="T63" fmla="*/ 234 h 746"/>
                <a:gd name="T64" fmla="*/ 720 w 764"/>
                <a:gd name="T65" fmla="*/ 213 h 746"/>
                <a:gd name="T66" fmla="*/ 667 w 764"/>
                <a:gd name="T67" fmla="*/ 195 h 746"/>
                <a:gd name="T68" fmla="*/ 631 w 764"/>
                <a:gd name="T69" fmla="*/ 163 h 746"/>
                <a:gd name="T70" fmla="*/ 581 w 764"/>
                <a:gd name="T71" fmla="*/ 119 h 746"/>
                <a:gd name="T72" fmla="*/ 539 w 764"/>
                <a:gd name="T73" fmla="*/ 76 h 746"/>
                <a:gd name="T74" fmla="*/ 509 w 764"/>
                <a:gd name="T75" fmla="*/ 30 h 746"/>
                <a:gd name="T76" fmla="*/ 444 w 764"/>
                <a:gd name="T77" fmla="*/ 2 h 746"/>
                <a:gd name="T78" fmla="*/ 416 w 764"/>
                <a:gd name="T79" fmla="*/ 35 h 746"/>
                <a:gd name="T80" fmla="*/ 318 w 764"/>
                <a:gd name="T81" fmla="*/ 87 h 746"/>
                <a:gd name="T82" fmla="*/ 266 w 764"/>
                <a:gd name="T83" fmla="*/ 104 h 746"/>
                <a:gd name="T84" fmla="*/ 220 w 764"/>
                <a:gd name="T85" fmla="*/ 78 h 746"/>
                <a:gd name="T86" fmla="*/ 199 w 764"/>
                <a:gd name="T87" fmla="*/ 56 h 746"/>
                <a:gd name="T88" fmla="*/ 205 w 764"/>
                <a:gd name="T89" fmla="*/ 83 h 746"/>
                <a:gd name="T90" fmla="*/ 198 w 764"/>
                <a:gd name="T91" fmla="*/ 113 h 746"/>
                <a:gd name="T92" fmla="*/ 182 w 764"/>
                <a:gd name="T93" fmla="*/ 137 h 746"/>
                <a:gd name="T94" fmla="*/ 141 w 764"/>
                <a:gd name="T95" fmla="*/ 126 h 746"/>
                <a:gd name="T96" fmla="*/ 93 w 764"/>
                <a:gd name="T97" fmla="*/ 96 h 746"/>
                <a:gd name="T98" fmla="*/ 59 w 764"/>
                <a:gd name="T99" fmla="*/ 108 h 74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64"/>
                <a:gd name="T151" fmla="*/ 0 h 746"/>
                <a:gd name="T152" fmla="*/ 764 w 764"/>
                <a:gd name="T153" fmla="*/ 746 h 74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64" h="746">
                  <a:moveTo>
                    <a:pt x="13" y="106"/>
                  </a:moveTo>
                  <a:lnTo>
                    <a:pt x="20" y="124"/>
                  </a:lnTo>
                  <a:lnTo>
                    <a:pt x="13" y="139"/>
                  </a:lnTo>
                  <a:lnTo>
                    <a:pt x="11" y="145"/>
                  </a:lnTo>
                  <a:lnTo>
                    <a:pt x="0" y="141"/>
                  </a:lnTo>
                  <a:lnTo>
                    <a:pt x="4" y="150"/>
                  </a:lnTo>
                  <a:lnTo>
                    <a:pt x="4" y="159"/>
                  </a:lnTo>
                  <a:lnTo>
                    <a:pt x="13" y="174"/>
                  </a:lnTo>
                  <a:lnTo>
                    <a:pt x="30" y="169"/>
                  </a:lnTo>
                  <a:lnTo>
                    <a:pt x="52" y="193"/>
                  </a:lnTo>
                  <a:lnTo>
                    <a:pt x="61" y="209"/>
                  </a:lnTo>
                  <a:lnTo>
                    <a:pt x="74" y="221"/>
                  </a:lnTo>
                  <a:lnTo>
                    <a:pt x="91" y="221"/>
                  </a:lnTo>
                  <a:lnTo>
                    <a:pt x="98" y="235"/>
                  </a:lnTo>
                  <a:lnTo>
                    <a:pt x="113" y="248"/>
                  </a:lnTo>
                  <a:lnTo>
                    <a:pt x="122" y="250"/>
                  </a:lnTo>
                  <a:lnTo>
                    <a:pt x="124" y="256"/>
                  </a:lnTo>
                  <a:lnTo>
                    <a:pt x="119" y="268"/>
                  </a:lnTo>
                  <a:lnTo>
                    <a:pt x="119" y="279"/>
                  </a:lnTo>
                  <a:lnTo>
                    <a:pt x="117" y="290"/>
                  </a:lnTo>
                  <a:lnTo>
                    <a:pt x="113" y="309"/>
                  </a:lnTo>
                  <a:lnTo>
                    <a:pt x="128" y="327"/>
                  </a:lnTo>
                  <a:lnTo>
                    <a:pt x="145" y="340"/>
                  </a:lnTo>
                  <a:lnTo>
                    <a:pt x="145" y="349"/>
                  </a:lnTo>
                  <a:lnTo>
                    <a:pt x="143" y="381"/>
                  </a:lnTo>
                  <a:lnTo>
                    <a:pt x="139" y="407"/>
                  </a:lnTo>
                  <a:lnTo>
                    <a:pt x="143" y="418"/>
                  </a:lnTo>
                  <a:lnTo>
                    <a:pt x="158" y="429"/>
                  </a:lnTo>
                  <a:lnTo>
                    <a:pt x="158" y="451"/>
                  </a:lnTo>
                  <a:lnTo>
                    <a:pt x="158" y="466"/>
                  </a:lnTo>
                  <a:lnTo>
                    <a:pt x="141" y="444"/>
                  </a:lnTo>
                  <a:lnTo>
                    <a:pt x="132" y="429"/>
                  </a:lnTo>
                  <a:lnTo>
                    <a:pt x="126" y="433"/>
                  </a:lnTo>
                  <a:lnTo>
                    <a:pt x="130" y="444"/>
                  </a:lnTo>
                  <a:lnTo>
                    <a:pt x="124" y="457"/>
                  </a:lnTo>
                  <a:lnTo>
                    <a:pt x="115" y="470"/>
                  </a:lnTo>
                  <a:lnTo>
                    <a:pt x="109" y="479"/>
                  </a:lnTo>
                  <a:lnTo>
                    <a:pt x="117" y="488"/>
                  </a:lnTo>
                  <a:lnTo>
                    <a:pt x="111" y="498"/>
                  </a:lnTo>
                  <a:lnTo>
                    <a:pt x="98" y="511"/>
                  </a:lnTo>
                  <a:lnTo>
                    <a:pt x="96" y="522"/>
                  </a:lnTo>
                  <a:lnTo>
                    <a:pt x="89" y="535"/>
                  </a:lnTo>
                  <a:lnTo>
                    <a:pt x="69" y="559"/>
                  </a:lnTo>
                  <a:lnTo>
                    <a:pt x="57" y="583"/>
                  </a:lnTo>
                  <a:lnTo>
                    <a:pt x="57" y="587"/>
                  </a:lnTo>
                  <a:lnTo>
                    <a:pt x="63" y="594"/>
                  </a:lnTo>
                  <a:lnTo>
                    <a:pt x="56" y="605"/>
                  </a:lnTo>
                  <a:lnTo>
                    <a:pt x="59" y="618"/>
                  </a:lnTo>
                  <a:lnTo>
                    <a:pt x="70" y="635"/>
                  </a:lnTo>
                  <a:lnTo>
                    <a:pt x="117" y="661"/>
                  </a:lnTo>
                  <a:lnTo>
                    <a:pt x="150" y="689"/>
                  </a:lnTo>
                  <a:lnTo>
                    <a:pt x="161" y="685"/>
                  </a:lnTo>
                  <a:lnTo>
                    <a:pt x="178" y="679"/>
                  </a:lnTo>
                  <a:lnTo>
                    <a:pt x="236" y="703"/>
                  </a:lnTo>
                  <a:lnTo>
                    <a:pt x="244" y="711"/>
                  </a:lnTo>
                  <a:lnTo>
                    <a:pt x="249" y="726"/>
                  </a:lnTo>
                  <a:lnTo>
                    <a:pt x="259" y="731"/>
                  </a:lnTo>
                  <a:lnTo>
                    <a:pt x="272" y="733"/>
                  </a:lnTo>
                  <a:lnTo>
                    <a:pt x="292" y="744"/>
                  </a:lnTo>
                  <a:lnTo>
                    <a:pt x="325" y="746"/>
                  </a:lnTo>
                  <a:lnTo>
                    <a:pt x="335" y="733"/>
                  </a:lnTo>
                  <a:lnTo>
                    <a:pt x="338" y="718"/>
                  </a:lnTo>
                  <a:lnTo>
                    <a:pt x="338" y="702"/>
                  </a:lnTo>
                  <a:lnTo>
                    <a:pt x="353" y="689"/>
                  </a:lnTo>
                  <a:lnTo>
                    <a:pt x="381" y="674"/>
                  </a:lnTo>
                  <a:lnTo>
                    <a:pt x="394" y="672"/>
                  </a:lnTo>
                  <a:lnTo>
                    <a:pt x="409" y="664"/>
                  </a:lnTo>
                  <a:lnTo>
                    <a:pt x="422" y="664"/>
                  </a:lnTo>
                  <a:lnTo>
                    <a:pt x="437" y="674"/>
                  </a:lnTo>
                  <a:lnTo>
                    <a:pt x="448" y="687"/>
                  </a:lnTo>
                  <a:lnTo>
                    <a:pt x="461" y="687"/>
                  </a:lnTo>
                  <a:lnTo>
                    <a:pt x="472" y="690"/>
                  </a:lnTo>
                  <a:lnTo>
                    <a:pt x="494" y="692"/>
                  </a:lnTo>
                  <a:lnTo>
                    <a:pt x="509" y="711"/>
                  </a:lnTo>
                  <a:lnTo>
                    <a:pt x="522" y="720"/>
                  </a:lnTo>
                  <a:lnTo>
                    <a:pt x="541" y="726"/>
                  </a:lnTo>
                  <a:lnTo>
                    <a:pt x="557" y="735"/>
                  </a:lnTo>
                  <a:lnTo>
                    <a:pt x="566" y="737"/>
                  </a:lnTo>
                  <a:lnTo>
                    <a:pt x="589" y="714"/>
                  </a:lnTo>
                  <a:lnTo>
                    <a:pt x="604" y="711"/>
                  </a:lnTo>
                  <a:lnTo>
                    <a:pt x="615" y="702"/>
                  </a:lnTo>
                  <a:lnTo>
                    <a:pt x="631" y="690"/>
                  </a:lnTo>
                  <a:lnTo>
                    <a:pt x="652" y="689"/>
                  </a:lnTo>
                  <a:lnTo>
                    <a:pt x="650" y="663"/>
                  </a:lnTo>
                  <a:lnTo>
                    <a:pt x="646" y="655"/>
                  </a:lnTo>
                  <a:lnTo>
                    <a:pt x="637" y="642"/>
                  </a:lnTo>
                  <a:lnTo>
                    <a:pt x="630" y="644"/>
                  </a:lnTo>
                  <a:lnTo>
                    <a:pt x="622" y="642"/>
                  </a:lnTo>
                  <a:lnTo>
                    <a:pt x="615" y="631"/>
                  </a:lnTo>
                  <a:lnTo>
                    <a:pt x="613" y="605"/>
                  </a:lnTo>
                  <a:lnTo>
                    <a:pt x="628" y="588"/>
                  </a:lnTo>
                  <a:lnTo>
                    <a:pt x="617" y="574"/>
                  </a:lnTo>
                  <a:lnTo>
                    <a:pt x="617" y="568"/>
                  </a:lnTo>
                  <a:lnTo>
                    <a:pt x="639" y="546"/>
                  </a:lnTo>
                  <a:lnTo>
                    <a:pt x="639" y="538"/>
                  </a:lnTo>
                  <a:lnTo>
                    <a:pt x="635" y="511"/>
                  </a:lnTo>
                  <a:lnTo>
                    <a:pt x="648" y="498"/>
                  </a:lnTo>
                  <a:lnTo>
                    <a:pt x="637" y="483"/>
                  </a:lnTo>
                  <a:lnTo>
                    <a:pt x="637" y="472"/>
                  </a:lnTo>
                  <a:lnTo>
                    <a:pt x="635" y="453"/>
                  </a:lnTo>
                  <a:lnTo>
                    <a:pt x="630" y="448"/>
                  </a:lnTo>
                  <a:lnTo>
                    <a:pt x="617" y="448"/>
                  </a:lnTo>
                  <a:lnTo>
                    <a:pt x="605" y="451"/>
                  </a:lnTo>
                  <a:lnTo>
                    <a:pt x="602" y="455"/>
                  </a:lnTo>
                  <a:lnTo>
                    <a:pt x="594" y="462"/>
                  </a:lnTo>
                  <a:lnTo>
                    <a:pt x="583" y="466"/>
                  </a:lnTo>
                  <a:lnTo>
                    <a:pt x="579" y="455"/>
                  </a:lnTo>
                  <a:lnTo>
                    <a:pt x="587" y="446"/>
                  </a:lnTo>
                  <a:lnTo>
                    <a:pt x="591" y="438"/>
                  </a:lnTo>
                  <a:lnTo>
                    <a:pt x="591" y="429"/>
                  </a:lnTo>
                  <a:lnTo>
                    <a:pt x="611" y="409"/>
                  </a:lnTo>
                  <a:lnTo>
                    <a:pt x="622" y="405"/>
                  </a:lnTo>
                  <a:lnTo>
                    <a:pt x="624" y="390"/>
                  </a:lnTo>
                  <a:lnTo>
                    <a:pt x="635" y="377"/>
                  </a:lnTo>
                  <a:lnTo>
                    <a:pt x="667" y="353"/>
                  </a:lnTo>
                  <a:lnTo>
                    <a:pt x="676" y="353"/>
                  </a:lnTo>
                  <a:lnTo>
                    <a:pt x="680" y="344"/>
                  </a:lnTo>
                  <a:lnTo>
                    <a:pt x="691" y="333"/>
                  </a:lnTo>
                  <a:lnTo>
                    <a:pt x="700" y="333"/>
                  </a:lnTo>
                  <a:lnTo>
                    <a:pt x="705" y="327"/>
                  </a:lnTo>
                  <a:lnTo>
                    <a:pt x="710" y="323"/>
                  </a:lnTo>
                  <a:lnTo>
                    <a:pt x="718" y="310"/>
                  </a:lnTo>
                  <a:lnTo>
                    <a:pt x="725" y="290"/>
                  </a:lnTo>
                  <a:lnTo>
                    <a:pt x="727" y="277"/>
                  </a:lnTo>
                  <a:lnTo>
                    <a:pt x="727" y="266"/>
                  </a:lnTo>
                  <a:lnTo>
                    <a:pt x="738" y="252"/>
                  </a:lnTo>
                  <a:lnTo>
                    <a:pt x="755" y="243"/>
                  </a:lnTo>
                  <a:lnTo>
                    <a:pt x="764" y="234"/>
                  </a:lnTo>
                  <a:lnTo>
                    <a:pt x="764" y="230"/>
                  </a:lnTo>
                  <a:lnTo>
                    <a:pt x="749" y="219"/>
                  </a:lnTo>
                  <a:lnTo>
                    <a:pt x="742" y="215"/>
                  </a:lnTo>
                  <a:lnTo>
                    <a:pt x="720" y="213"/>
                  </a:lnTo>
                  <a:lnTo>
                    <a:pt x="694" y="209"/>
                  </a:lnTo>
                  <a:lnTo>
                    <a:pt x="685" y="208"/>
                  </a:lnTo>
                  <a:lnTo>
                    <a:pt x="676" y="204"/>
                  </a:lnTo>
                  <a:lnTo>
                    <a:pt x="667" y="195"/>
                  </a:lnTo>
                  <a:lnTo>
                    <a:pt x="659" y="180"/>
                  </a:lnTo>
                  <a:lnTo>
                    <a:pt x="652" y="171"/>
                  </a:lnTo>
                  <a:lnTo>
                    <a:pt x="642" y="167"/>
                  </a:lnTo>
                  <a:lnTo>
                    <a:pt x="631" y="163"/>
                  </a:lnTo>
                  <a:lnTo>
                    <a:pt x="626" y="161"/>
                  </a:lnTo>
                  <a:lnTo>
                    <a:pt x="611" y="148"/>
                  </a:lnTo>
                  <a:lnTo>
                    <a:pt x="592" y="133"/>
                  </a:lnTo>
                  <a:lnTo>
                    <a:pt x="581" y="119"/>
                  </a:lnTo>
                  <a:lnTo>
                    <a:pt x="568" y="115"/>
                  </a:lnTo>
                  <a:lnTo>
                    <a:pt x="561" y="109"/>
                  </a:lnTo>
                  <a:lnTo>
                    <a:pt x="555" y="95"/>
                  </a:lnTo>
                  <a:lnTo>
                    <a:pt x="539" y="76"/>
                  </a:lnTo>
                  <a:lnTo>
                    <a:pt x="535" y="63"/>
                  </a:lnTo>
                  <a:lnTo>
                    <a:pt x="522" y="50"/>
                  </a:lnTo>
                  <a:lnTo>
                    <a:pt x="516" y="39"/>
                  </a:lnTo>
                  <a:lnTo>
                    <a:pt x="509" y="30"/>
                  </a:lnTo>
                  <a:lnTo>
                    <a:pt x="496" y="20"/>
                  </a:lnTo>
                  <a:lnTo>
                    <a:pt x="483" y="6"/>
                  </a:lnTo>
                  <a:lnTo>
                    <a:pt x="472" y="0"/>
                  </a:lnTo>
                  <a:lnTo>
                    <a:pt x="444" y="2"/>
                  </a:lnTo>
                  <a:lnTo>
                    <a:pt x="433" y="2"/>
                  </a:lnTo>
                  <a:lnTo>
                    <a:pt x="418" y="13"/>
                  </a:lnTo>
                  <a:lnTo>
                    <a:pt x="427" y="22"/>
                  </a:lnTo>
                  <a:lnTo>
                    <a:pt x="416" y="35"/>
                  </a:lnTo>
                  <a:lnTo>
                    <a:pt x="388" y="70"/>
                  </a:lnTo>
                  <a:lnTo>
                    <a:pt x="374" y="78"/>
                  </a:lnTo>
                  <a:lnTo>
                    <a:pt x="335" y="82"/>
                  </a:lnTo>
                  <a:lnTo>
                    <a:pt x="318" y="87"/>
                  </a:lnTo>
                  <a:lnTo>
                    <a:pt x="309" y="96"/>
                  </a:lnTo>
                  <a:lnTo>
                    <a:pt x="305" y="104"/>
                  </a:lnTo>
                  <a:lnTo>
                    <a:pt x="290" y="100"/>
                  </a:lnTo>
                  <a:lnTo>
                    <a:pt x="266" y="104"/>
                  </a:lnTo>
                  <a:lnTo>
                    <a:pt x="251" y="102"/>
                  </a:lnTo>
                  <a:lnTo>
                    <a:pt x="238" y="93"/>
                  </a:lnTo>
                  <a:lnTo>
                    <a:pt x="229" y="82"/>
                  </a:lnTo>
                  <a:lnTo>
                    <a:pt x="220" y="78"/>
                  </a:lnTo>
                  <a:lnTo>
                    <a:pt x="227" y="69"/>
                  </a:lnTo>
                  <a:lnTo>
                    <a:pt x="216" y="59"/>
                  </a:lnTo>
                  <a:lnTo>
                    <a:pt x="207" y="57"/>
                  </a:lnTo>
                  <a:lnTo>
                    <a:pt x="199" y="56"/>
                  </a:lnTo>
                  <a:lnTo>
                    <a:pt x="198" y="59"/>
                  </a:lnTo>
                  <a:lnTo>
                    <a:pt x="205" y="67"/>
                  </a:lnTo>
                  <a:lnTo>
                    <a:pt x="201" y="72"/>
                  </a:lnTo>
                  <a:lnTo>
                    <a:pt x="205" y="83"/>
                  </a:lnTo>
                  <a:lnTo>
                    <a:pt x="207" y="96"/>
                  </a:lnTo>
                  <a:lnTo>
                    <a:pt x="207" y="106"/>
                  </a:lnTo>
                  <a:lnTo>
                    <a:pt x="205" y="108"/>
                  </a:lnTo>
                  <a:lnTo>
                    <a:pt x="198" y="113"/>
                  </a:lnTo>
                  <a:lnTo>
                    <a:pt x="196" y="122"/>
                  </a:lnTo>
                  <a:lnTo>
                    <a:pt x="196" y="132"/>
                  </a:lnTo>
                  <a:lnTo>
                    <a:pt x="194" y="139"/>
                  </a:lnTo>
                  <a:lnTo>
                    <a:pt x="182" y="137"/>
                  </a:lnTo>
                  <a:lnTo>
                    <a:pt x="169" y="130"/>
                  </a:lnTo>
                  <a:lnTo>
                    <a:pt x="161" y="137"/>
                  </a:lnTo>
                  <a:lnTo>
                    <a:pt x="148" y="128"/>
                  </a:lnTo>
                  <a:lnTo>
                    <a:pt x="141" y="126"/>
                  </a:lnTo>
                  <a:lnTo>
                    <a:pt x="132" y="133"/>
                  </a:lnTo>
                  <a:lnTo>
                    <a:pt x="124" y="132"/>
                  </a:lnTo>
                  <a:lnTo>
                    <a:pt x="124" y="126"/>
                  </a:lnTo>
                  <a:lnTo>
                    <a:pt x="93" y="96"/>
                  </a:lnTo>
                  <a:lnTo>
                    <a:pt x="85" y="95"/>
                  </a:lnTo>
                  <a:lnTo>
                    <a:pt x="80" y="100"/>
                  </a:lnTo>
                  <a:lnTo>
                    <a:pt x="67" y="106"/>
                  </a:lnTo>
                  <a:lnTo>
                    <a:pt x="59" y="108"/>
                  </a:lnTo>
                  <a:lnTo>
                    <a:pt x="50" y="98"/>
                  </a:lnTo>
                  <a:lnTo>
                    <a:pt x="28" y="98"/>
                  </a:lnTo>
                  <a:lnTo>
                    <a:pt x="13" y="106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</p:grpSp>
      <p:grpSp>
        <p:nvGrpSpPr>
          <p:cNvPr id="168" name="Group 72"/>
          <p:cNvGrpSpPr>
            <a:grpSpLocks/>
          </p:cNvGrpSpPr>
          <p:nvPr/>
        </p:nvGrpSpPr>
        <p:grpSpPr bwMode="auto">
          <a:xfrm>
            <a:off x="5676711" y="2182483"/>
            <a:ext cx="682609" cy="1191955"/>
            <a:chOff x="1094" y="1776"/>
            <a:chExt cx="452" cy="754"/>
          </a:xfrm>
          <a:solidFill>
            <a:schemeClr val="accent3"/>
          </a:solidFill>
        </p:grpSpPr>
        <p:sp>
          <p:nvSpPr>
            <p:cNvPr id="183" name="Freeform 73"/>
            <p:cNvSpPr>
              <a:spLocks/>
            </p:cNvSpPr>
            <p:nvPr/>
          </p:nvSpPr>
          <p:spPr bwMode="auto">
            <a:xfrm>
              <a:off x="1094" y="1785"/>
              <a:ext cx="452" cy="745"/>
            </a:xfrm>
            <a:custGeom>
              <a:avLst/>
              <a:gdLst>
                <a:gd name="T0" fmla="*/ 147 w 452"/>
                <a:gd name="T1" fmla="*/ 515 h 745"/>
                <a:gd name="T2" fmla="*/ 97 w 452"/>
                <a:gd name="T3" fmla="*/ 549 h 745"/>
                <a:gd name="T4" fmla="*/ 84 w 452"/>
                <a:gd name="T5" fmla="*/ 580 h 745"/>
                <a:gd name="T6" fmla="*/ 113 w 452"/>
                <a:gd name="T7" fmla="*/ 597 h 745"/>
                <a:gd name="T8" fmla="*/ 137 w 452"/>
                <a:gd name="T9" fmla="*/ 608 h 745"/>
                <a:gd name="T10" fmla="*/ 181 w 452"/>
                <a:gd name="T11" fmla="*/ 617 h 745"/>
                <a:gd name="T12" fmla="*/ 152 w 452"/>
                <a:gd name="T13" fmla="*/ 651 h 745"/>
                <a:gd name="T14" fmla="*/ 87 w 452"/>
                <a:gd name="T15" fmla="*/ 632 h 745"/>
                <a:gd name="T16" fmla="*/ 41 w 452"/>
                <a:gd name="T17" fmla="*/ 671 h 745"/>
                <a:gd name="T18" fmla="*/ 2 w 452"/>
                <a:gd name="T19" fmla="*/ 691 h 745"/>
                <a:gd name="T20" fmla="*/ 22 w 452"/>
                <a:gd name="T21" fmla="*/ 708 h 745"/>
                <a:gd name="T22" fmla="*/ 59 w 452"/>
                <a:gd name="T23" fmla="*/ 702 h 745"/>
                <a:gd name="T24" fmla="*/ 110 w 452"/>
                <a:gd name="T25" fmla="*/ 723 h 745"/>
                <a:gd name="T26" fmla="*/ 148 w 452"/>
                <a:gd name="T27" fmla="*/ 689 h 745"/>
                <a:gd name="T28" fmla="*/ 183 w 452"/>
                <a:gd name="T29" fmla="*/ 710 h 745"/>
                <a:gd name="T30" fmla="*/ 231 w 452"/>
                <a:gd name="T31" fmla="*/ 717 h 745"/>
                <a:gd name="T32" fmla="*/ 266 w 452"/>
                <a:gd name="T33" fmla="*/ 714 h 745"/>
                <a:gd name="T34" fmla="*/ 315 w 452"/>
                <a:gd name="T35" fmla="*/ 734 h 745"/>
                <a:gd name="T36" fmla="*/ 357 w 452"/>
                <a:gd name="T37" fmla="*/ 738 h 745"/>
                <a:gd name="T38" fmla="*/ 398 w 452"/>
                <a:gd name="T39" fmla="*/ 723 h 745"/>
                <a:gd name="T40" fmla="*/ 381 w 452"/>
                <a:gd name="T41" fmla="*/ 689 h 745"/>
                <a:gd name="T42" fmla="*/ 383 w 452"/>
                <a:gd name="T43" fmla="*/ 667 h 745"/>
                <a:gd name="T44" fmla="*/ 437 w 452"/>
                <a:gd name="T45" fmla="*/ 632 h 745"/>
                <a:gd name="T46" fmla="*/ 452 w 452"/>
                <a:gd name="T47" fmla="*/ 584 h 745"/>
                <a:gd name="T48" fmla="*/ 413 w 452"/>
                <a:gd name="T49" fmla="*/ 558 h 745"/>
                <a:gd name="T50" fmla="*/ 385 w 452"/>
                <a:gd name="T51" fmla="*/ 556 h 745"/>
                <a:gd name="T52" fmla="*/ 394 w 452"/>
                <a:gd name="T53" fmla="*/ 510 h 745"/>
                <a:gd name="T54" fmla="*/ 394 w 452"/>
                <a:gd name="T55" fmla="*/ 447 h 745"/>
                <a:gd name="T56" fmla="*/ 354 w 452"/>
                <a:gd name="T57" fmla="*/ 374 h 745"/>
                <a:gd name="T58" fmla="*/ 354 w 452"/>
                <a:gd name="T59" fmla="*/ 317 h 745"/>
                <a:gd name="T60" fmla="*/ 341 w 452"/>
                <a:gd name="T61" fmla="*/ 272 h 745"/>
                <a:gd name="T62" fmla="*/ 298 w 452"/>
                <a:gd name="T63" fmla="*/ 248 h 745"/>
                <a:gd name="T64" fmla="*/ 294 w 452"/>
                <a:gd name="T65" fmla="*/ 230 h 745"/>
                <a:gd name="T66" fmla="*/ 331 w 452"/>
                <a:gd name="T67" fmla="*/ 235 h 745"/>
                <a:gd name="T68" fmla="*/ 389 w 452"/>
                <a:gd name="T69" fmla="*/ 165 h 745"/>
                <a:gd name="T70" fmla="*/ 385 w 452"/>
                <a:gd name="T71" fmla="*/ 120 h 745"/>
                <a:gd name="T72" fmla="*/ 331 w 452"/>
                <a:gd name="T73" fmla="*/ 98 h 745"/>
                <a:gd name="T74" fmla="*/ 302 w 452"/>
                <a:gd name="T75" fmla="*/ 100 h 745"/>
                <a:gd name="T76" fmla="*/ 318 w 452"/>
                <a:gd name="T77" fmla="*/ 72 h 745"/>
                <a:gd name="T78" fmla="*/ 376 w 452"/>
                <a:gd name="T79" fmla="*/ 37 h 745"/>
                <a:gd name="T80" fmla="*/ 339 w 452"/>
                <a:gd name="T81" fmla="*/ 13 h 745"/>
                <a:gd name="T82" fmla="*/ 278 w 452"/>
                <a:gd name="T83" fmla="*/ 22 h 745"/>
                <a:gd name="T84" fmla="*/ 250 w 452"/>
                <a:gd name="T85" fmla="*/ 48 h 745"/>
                <a:gd name="T86" fmla="*/ 231 w 452"/>
                <a:gd name="T87" fmla="*/ 83 h 745"/>
                <a:gd name="T88" fmla="*/ 183 w 452"/>
                <a:gd name="T89" fmla="*/ 143 h 745"/>
                <a:gd name="T90" fmla="*/ 214 w 452"/>
                <a:gd name="T91" fmla="*/ 155 h 745"/>
                <a:gd name="T92" fmla="*/ 169 w 452"/>
                <a:gd name="T93" fmla="*/ 230 h 745"/>
                <a:gd name="T94" fmla="*/ 185 w 452"/>
                <a:gd name="T95" fmla="*/ 241 h 745"/>
                <a:gd name="T96" fmla="*/ 213 w 452"/>
                <a:gd name="T97" fmla="*/ 257 h 745"/>
                <a:gd name="T98" fmla="*/ 181 w 452"/>
                <a:gd name="T99" fmla="*/ 302 h 745"/>
                <a:gd name="T100" fmla="*/ 226 w 452"/>
                <a:gd name="T101" fmla="*/ 331 h 745"/>
                <a:gd name="T102" fmla="*/ 253 w 452"/>
                <a:gd name="T103" fmla="*/ 341 h 745"/>
                <a:gd name="T104" fmla="*/ 244 w 452"/>
                <a:gd name="T105" fmla="*/ 405 h 745"/>
                <a:gd name="T106" fmla="*/ 242 w 452"/>
                <a:gd name="T107" fmla="*/ 449 h 745"/>
                <a:gd name="T108" fmla="*/ 222 w 452"/>
                <a:gd name="T109" fmla="*/ 469 h 74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52"/>
                <a:gd name="T166" fmla="*/ 0 h 745"/>
                <a:gd name="T167" fmla="*/ 452 w 452"/>
                <a:gd name="T168" fmla="*/ 745 h 74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52" h="745">
                  <a:moveTo>
                    <a:pt x="135" y="478"/>
                  </a:moveTo>
                  <a:lnTo>
                    <a:pt x="156" y="497"/>
                  </a:lnTo>
                  <a:lnTo>
                    <a:pt x="147" y="515"/>
                  </a:lnTo>
                  <a:lnTo>
                    <a:pt x="134" y="530"/>
                  </a:lnTo>
                  <a:lnTo>
                    <a:pt x="113" y="540"/>
                  </a:lnTo>
                  <a:lnTo>
                    <a:pt x="97" y="549"/>
                  </a:lnTo>
                  <a:lnTo>
                    <a:pt x="80" y="551"/>
                  </a:lnTo>
                  <a:lnTo>
                    <a:pt x="71" y="558"/>
                  </a:lnTo>
                  <a:lnTo>
                    <a:pt x="84" y="580"/>
                  </a:lnTo>
                  <a:lnTo>
                    <a:pt x="104" y="580"/>
                  </a:lnTo>
                  <a:lnTo>
                    <a:pt x="113" y="582"/>
                  </a:lnTo>
                  <a:lnTo>
                    <a:pt x="113" y="597"/>
                  </a:lnTo>
                  <a:lnTo>
                    <a:pt x="124" y="597"/>
                  </a:lnTo>
                  <a:lnTo>
                    <a:pt x="132" y="593"/>
                  </a:lnTo>
                  <a:lnTo>
                    <a:pt x="137" y="608"/>
                  </a:lnTo>
                  <a:lnTo>
                    <a:pt x="148" y="621"/>
                  </a:lnTo>
                  <a:lnTo>
                    <a:pt x="167" y="621"/>
                  </a:lnTo>
                  <a:lnTo>
                    <a:pt x="181" y="617"/>
                  </a:lnTo>
                  <a:lnTo>
                    <a:pt x="192" y="621"/>
                  </a:lnTo>
                  <a:lnTo>
                    <a:pt x="163" y="645"/>
                  </a:lnTo>
                  <a:lnTo>
                    <a:pt x="152" y="651"/>
                  </a:lnTo>
                  <a:lnTo>
                    <a:pt x="137" y="645"/>
                  </a:lnTo>
                  <a:lnTo>
                    <a:pt x="104" y="632"/>
                  </a:lnTo>
                  <a:lnTo>
                    <a:pt x="87" y="632"/>
                  </a:lnTo>
                  <a:lnTo>
                    <a:pt x="72" y="645"/>
                  </a:lnTo>
                  <a:lnTo>
                    <a:pt x="52" y="662"/>
                  </a:lnTo>
                  <a:lnTo>
                    <a:pt x="41" y="671"/>
                  </a:lnTo>
                  <a:lnTo>
                    <a:pt x="28" y="675"/>
                  </a:lnTo>
                  <a:lnTo>
                    <a:pt x="13" y="682"/>
                  </a:lnTo>
                  <a:lnTo>
                    <a:pt x="2" y="691"/>
                  </a:lnTo>
                  <a:lnTo>
                    <a:pt x="0" y="697"/>
                  </a:lnTo>
                  <a:lnTo>
                    <a:pt x="13" y="699"/>
                  </a:lnTo>
                  <a:lnTo>
                    <a:pt x="22" y="708"/>
                  </a:lnTo>
                  <a:lnTo>
                    <a:pt x="35" y="714"/>
                  </a:lnTo>
                  <a:lnTo>
                    <a:pt x="48" y="708"/>
                  </a:lnTo>
                  <a:lnTo>
                    <a:pt x="59" y="702"/>
                  </a:lnTo>
                  <a:lnTo>
                    <a:pt x="72" y="704"/>
                  </a:lnTo>
                  <a:lnTo>
                    <a:pt x="91" y="715"/>
                  </a:lnTo>
                  <a:lnTo>
                    <a:pt x="110" y="723"/>
                  </a:lnTo>
                  <a:lnTo>
                    <a:pt x="122" y="715"/>
                  </a:lnTo>
                  <a:lnTo>
                    <a:pt x="128" y="701"/>
                  </a:lnTo>
                  <a:lnTo>
                    <a:pt x="148" y="689"/>
                  </a:lnTo>
                  <a:lnTo>
                    <a:pt x="161" y="689"/>
                  </a:lnTo>
                  <a:lnTo>
                    <a:pt x="173" y="702"/>
                  </a:lnTo>
                  <a:lnTo>
                    <a:pt x="183" y="710"/>
                  </a:lnTo>
                  <a:lnTo>
                    <a:pt x="198" y="710"/>
                  </a:lnTo>
                  <a:lnTo>
                    <a:pt x="218" y="712"/>
                  </a:lnTo>
                  <a:lnTo>
                    <a:pt x="231" y="717"/>
                  </a:lnTo>
                  <a:lnTo>
                    <a:pt x="244" y="708"/>
                  </a:lnTo>
                  <a:lnTo>
                    <a:pt x="255" y="708"/>
                  </a:lnTo>
                  <a:lnTo>
                    <a:pt x="266" y="714"/>
                  </a:lnTo>
                  <a:lnTo>
                    <a:pt x="279" y="728"/>
                  </a:lnTo>
                  <a:lnTo>
                    <a:pt x="296" y="730"/>
                  </a:lnTo>
                  <a:lnTo>
                    <a:pt x="315" y="734"/>
                  </a:lnTo>
                  <a:lnTo>
                    <a:pt x="328" y="741"/>
                  </a:lnTo>
                  <a:lnTo>
                    <a:pt x="344" y="745"/>
                  </a:lnTo>
                  <a:lnTo>
                    <a:pt x="357" y="738"/>
                  </a:lnTo>
                  <a:lnTo>
                    <a:pt x="374" y="728"/>
                  </a:lnTo>
                  <a:lnTo>
                    <a:pt x="385" y="726"/>
                  </a:lnTo>
                  <a:lnTo>
                    <a:pt x="398" y="723"/>
                  </a:lnTo>
                  <a:lnTo>
                    <a:pt x="411" y="712"/>
                  </a:lnTo>
                  <a:lnTo>
                    <a:pt x="402" y="701"/>
                  </a:lnTo>
                  <a:lnTo>
                    <a:pt x="381" y="689"/>
                  </a:lnTo>
                  <a:lnTo>
                    <a:pt x="374" y="682"/>
                  </a:lnTo>
                  <a:lnTo>
                    <a:pt x="374" y="675"/>
                  </a:lnTo>
                  <a:lnTo>
                    <a:pt x="383" y="667"/>
                  </a:lnTo>
                  <a:lnTo>
                    <a:pt x="398" y="665"/>
                  </a:lnTo>
                  <a:lnTo>
                    <a:pt x="413" y="658"/>
                  </a:lnTo>
                  <a:lnTo>
                    <a:pt x="437" y="632"/>
                  </a:lnTo>
                  <a:lnTo>
                    <a:pt x="448" y="619"/>
                  </a:lnTo>
                  <a:lnTo>
                    <a:pt x="452" y="597"/>
                  </a:lnTo>
                  <a:lnTo>
                    <a:pt x="452" y="584"/>
                  </a:lnTo>
                  <a:lnTo>
                    <a:pt x="441" y="575"/>
                  </a:lnTo>
                  <a:lnTo>
                    <a:pt x="426" y="564"/>
                  </a:lnTo>
                  <a:lnTo>
                    <a:pt x="413" y="558"/>
                  </a:lnTo>
                  <a:lnTo>
                    <a:pt x="398" y="560"/>
                  </a:lnTo>
                  <a:lnTo>
                    <a:pt x="389" y="565"/>
                  </a:lnTo>
                  <a:lnTo>
                    <a:pt x="385" y="556"/>
                  </a:lnTo>
                  <a:lnTo>
                    <a:pt x="393" y="541"/>
                  </a:lnTo>
                  <a:lnTo>
                    <a:pt x="396" y="530"/>
                  </a:lnTo>
                  <a:lnTo>
                    <a:pt x="394" y="510"/>
                  </a:lnTo>
                  <a:lnTo>
                    <a:pt x="393" y="482"/>
                  </a:lnTo>
                  <a:lnTo>
                    <a:pt x="398" y="460"/>
                  </a:lnTo>
                  <a:lnTo>
                    <a:pt x="394" y="447"/>
                  </a:lnTo>
                  <a:lnTo>
                    <a:pt x="385" y="431"/>
                  </a:lnTo>
                  <a:lnTo>
                    <a:pt x="363" y="392"/>
                  </a:lnTo>
                  <a:lnTo>
                    <a:pt x="354" y="374"/>
                  </a:lnTo>
                  <a:lnTo>
                    <a:pt x="350" y="352"/>
                  </a:lnTo>
                  <a:lnTo>
                    <a:pt x="348" y="339"/>
                  </a:lnTo>
                  <a:lnTo>
                    <a:pt x="354" y="317"/>
                  </a:lnTo>
                  <a:lnTo>
                    <a:pt x="354" y="300"/>
                  </a:lnTo>
                  <a:lnTo>
                    <a:pt x="350" y="281"/>
                  </a:lnTo>
                  <a:lnTo>
                    <a:pt x="341" y="272"/>
                  </a:lnTo>
                  <a:lnTo>
                    <a:pt x="324" y="255"/>
                  </a:lnTo>
                  <a:lnTo>
                    <a:pt x="311" y="250"/>
                  </a:lnTo>
                  <a:lnTo>
                    <a:pt x="298" y="248"/>
                  </a:lnTo>
                  <a:lnTo>
                    <a:pt x="289" y="246"/>
                  </a:lnTo>
                  <a:lnTo>
                    <a:pt x="289" y="237"/>
                  </a:lnTo>
                  <a:lnTo>
                    <a:pt x="294" y="230"/>
                  </a:lnTo>
                  <a:lnTo>
                    <a:pt x="309" y="228"/>
                  </a:lnTo>
                  <a:lnTo>
                    <a:pt x="322" y="233"/>
                  </a:lnTo>
                  <a:lnTo>
                    <a:pt x="331" y="235"/>
                  </a:lnTo>
                  <a:lnTo>
                    <a:pt x="337" y="226"/>
                  </a:lnTo>
                  <a:lnTo>
                    <a:pt x="335" y="215"/>
                  </a:lnTo>
                  <a:lnTo>
                    <a:pt x="389" y="165"/>
                  </a:lnTo>
                  <a:lnTo>
                    <a:pt x="398" y="154"/>
                  </a:lnTo>
                  <a:lnTo>
                    <a:pt x="398" y="131"/>
                  </a:lnTo>
                  <a:lnTo>
                    <a:pt x="385" y="120"/>
                  </a:lnTo>
                  <a:lnTo>
                    <a:pt x="370" y="118"/>
                  </a:lnTo>
                  <a:lnTo>
                    <a:pt x="357" y="98"/>
                  </a:lnTo>
                  <a:lnTo>
                    <a:pt x="331" y="98"/>
                  </a:lnTo>
                  <a:lnTo>
                    <a:pt x="307" y="102"/>
                  </a:lnTo>
                  <a:lnTo>
                    <a:pt x="302" y="100"/>
                  </a:lnTo>
                  <a:lnTo>
                    <a:pt x="296" y="91"/>
                  </a:lnTo>
                  <a:lnTo>
                    <a:pt x="307" y="83"/>
                  </a:lnTo>
                  <a:lnTo>
                    <a:pt x="318" y="72"/>
                  </a:lnTo>
                  <a:lnTo>
                    <a:pt x="341" y="52"/>
                  </a:lnTo>
                  <a:lnTo>
                    <a:pt x="359" y="50"/>
                  </a:lnTo>
                  <a:lnTo>
                    <a:pt x="376" y="37"/>
                  </a:lnTo>
                  <a:lnTo>
                    <a:pt x="393" y="24"/>
                  </a:lnTo>
                  <a:lnTo>
                    <a:pt x="355" y="15"/>
                  </a:lnTo>
                  <a:lnTo>
                    <a:pt x="339" y="13"/>
                  </a:lnTo>
                  <a:lnTo>
                    <a:pt x="320" y="11"/>
                  </a:lnTo>
                  <a:lnTo>
                    <a:pt x="298" y="0"/>
                  </a:lnTo>
                  <a:lnTo>
                    <a:pt x="278" y="22"/>
                  </a:lnTo>
                  <a:lnTo>
                    <a:pt x="279" y="33"/>
                  </a:lnTo>
                  <a:lnTo>
                    <a:pt x="268" y="37"/>
                  </a:lnTo>
                  <a:lnTo>
                    <a:pt x="250" y="48"/>
                  </a:lnTo>
                  <a:lnTo>
                    <a:pt x="233" y="54"/>
                  </a:lnTo>
                  <a:lnTo>
                    <a:pt x="233" y="70"/>
                  </a:lnTo>
                  <a:lnTo>
                    <a:pt x="231" y="83"/>
                  </a:lnTo>
                  <a:lnTo>
                    <a:pt x="216" y="104"/>
                  </a:lnTo>
                  <a:lnTo>
                    <a:pt x="192" y="130"/>
                  </a:lnTo>
                  <a:lnTo>
                    <a:pt x="183" y="143"/>
                  </a:lnTo>
                  <a:lnTo>
                    <a:pt x="188" y="152"/>
                  </a:lnTo>
                  <a:lnTo>
                    <a:pt x="213" y="150"/>
                  </a:lnTo>
                  <a:lnTo>
                    <a:pt x="214" y="155"/>
                  </a:lnTo>
                  <a:lnTo>
                    <a:pt x="214" y="165"/>
                  </a:lnTo>
                  <a:lnTo>
                    <a:pt x="181" y="207"/>
                  </a:lnTo>
                  <a:lnTo>
                    <a:pt x="169" y="230"/>
                  </a:lnTo>
                  <a:lnTo>
                    <a:pt x="161" y="250"/>
                  </a:lnTo>
                  <a:lnTo>
                    <a:pt x="169" y="259"/>
                  </a:lnTo>
                  <a:lnTo>
                    <a:pt x="185" y="241"/>
                  </a:lnTo>
                  <a:lnTo>
                    <a:pt x="200" y="220"/>
                  </a:lnTo>
                  <a:lnTo>
                    <a:pt x="211" y="226"/>
                  </a:lnTo>
                  <a:lnTo>
                    <a:pt x="213" y="257"/>
                  </a:lnTo>
                  <a:lnTo>
                    <a:pt x="214" y="278"/>
                  </a:lnTo>
                  <a:lnTo>
                    <a:pt x="194" y="289"/>
                  </a:lnTo>
                  <a:lnTo>
                    <a:pt x="181" y="302"/>
                  </a:lnTo>
                  <a:lnTo>
                    <a:pt x="176" y="313"/>
                  </a:lnTo>
                  <a:lnTo>
                    <a:pt x="203" y="335"/>
                  </a:lnTo>
                  <a:lnTo>
                    <a:pt x="226" y="331"/>
                  </a:lnTo>
                  <a:lnTo>
                    <a:pt x="231" y="344"/>
                  </a:lnTo>
                  <a:lnTo>
                    <a:pt x="255" y="329"/>
                  </a:lnTo>
                  <a:lnTo>
                    <a:pt x="253" y="341"/>
                  </a:lnTo>
                  <a:lnTo>
                    <a:pt x="233" y="365"/>
                  </a:lnTo>
                  <a:lnTo>
                    <a:pt x="242" y="391"/>
                  </a:lnTo>
                  <a:lnTo>
                    <a:pt x="244" y="405"/>
                  </a:lnTo>
                  <a:lnTo>
                    <a:pt x="265" y="407"/>
                  </a:lnTo>
                  <a:lnTo>
                    <a:pt x="266" y="420"/>
                  </a:lnTo>
                  <a:lnTo>
                    <a:pt x="242" y="449"/>
                  </a:lnTo>
                  <a:lnTo>
                    <a:pt x="233" y="445"/>
                  </a:lnTo>
                  <a:lnTo>
                    <a:pt x="224" y="454"/>
                  </a:lnTo>
                  <a:lnTo>
                    <a:pt x="222" y="469"/>
                  </a:lnTo>
                  <a:lnTo>
                    <a:pt x="198" y="456"/>
                  </a:lnTo>
                  <a:lnTo>
                    <a:pt x="135" y="478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184" name="Freeform 74"/>
            <p:cNvSpPr>
              <a:spLocks/>
            </p:cNvSpPr>
            <p:nvPr/>
          </p:nvSpPr>
          <p:spPr bwMode="auto">
            <a:xfrm>
              <a:off x="1257" y="2146"/>
              <a:ext cx="38" cy="27"/>
            </a:xfrm>
            <a:custGeom>
              <a:avLst/>
              <a:gdLst>
                <a:gd name="T0" fmla="*/ 20 w 38"/>
                <a:gd name="T1" fmla="*/ 0 h 27"/>
                <a:gd name="T2" fmla="*/ 36 w 38"/>
                <a:gd name="T3" fmla="*/ 2 h 27"/>
                <a:gd name="T4" fmla="*/ 38 w 38"/>
                <a:gd name="T5" fmla="*/ 12 h 27"/>
                <a:gd name="T6" fmla="*/ 21 w 38"/>
                <a:gd name="T7" fmla="*/ 23 h 27"/>
                <a:gd name="T8" fmla="*/ 2 w 38"/>
                <a:gd name="T9" fmla="*/ 27 h 27"/>
                <a:gd name="T10" fmla="*/ 0 w 38"/>
                <a:gd name="T11" fmla="*/ 15 h 27"/>
                <a:gd name="T12" fmla="*/ 20 w 38"/>
                <a:gd name="T13" fmla="*/ 0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"/>
                <a:gd name="T22" fmla="*/ 0 h 27"/>
                <a:gd name="T23" fmla="*/ 38 w 38"/>
                <a:gd name="T24" fmla="*/ 27 h 2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" h="27">
                  <a:moveTo>
                    <a:pt x="20" y="0"/>
                  </a:moveTo>
                  <a:lnTo>
                    <a:pt x="36" y="2"/>
                  </a:lnTo>
                  <a:lnTo>
                    <a:pt x="38" y="12"/>
                  </a:lnTo>
                  <a:lnTo>
                    <a:pt x="21" y="23"/>
                  </a:lnTo>
                  <a:lnTo>
                    <a:pt x="2" y="27"/>
                  </a:lnTo>
                  <a:lnTo>
                    <a:pt x="0" y="15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185" name="Freeform 75"/>
            <p:cNvSpPr>
              <a:spLocks/>
            </p:cNvSpPr>
            <p:nvPr/>
          </p:nvSpPr>
          <p:spPr bwMode="auto">
            <a:xfrm>
              <a:off x="1231" y="1971"/>
              <a:ext cx="37" cy="27"/>
            </a:xfrm>
            <a:custGeom>
              <a:avLst/>
              <a:gdLst>
                <a:gd name="T0" fmla="*/ 31 w 37"/>
                <a:gd name="T1" fmla="*/ 0 h 27"/>
                <a:gd name="T2" fmla="*/ 37 w 37"/>
                <a:gd name="T3" fmla="*/ 13 h 27"/>
                <a:gd name="T4" fmla="*/ 19 w 37"/>
                <a:gd name="T5" fmla="*/ 23 h 27"/>
                <a:gd name="T6" fmla="*/ 4 w 37"/>
                <a:gd name="T7" fmla="*/ 27 h 27"/>
                <a:gd name="T8" fmla="*/ 0 w 37"/>
                <a:gd name="T9" fmla="*/ 14 h 27"/>
                <a:gd name="T10" fmla="*/ 7 w 37"/>
                <a:gd name="T11" fmla="*/ 5 h 27"/>
                <a:gd name="T12" fmla="*/ 31 w 37"/>
                <a:gd name="T13" fmla="*/ 0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27"/>
                <a:gd name="T23" fmla="*/ 37 w 37"/>
                <a:gd name="T24" fmla="*/ 27 h 2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27">
                  <a:moveTo>
                    <a:pt x="31" y="0"/>
                  </a:moveTo>
                  <a:lnTo>
                    <a:pt x="37" y="13"/>
                  </a:lnTo>
                  <a:lnTo>
                    <a:pt x="19" y="23"/>
                  </a:lnTo>
                  <a:lnTo>
                    <a:pt x="4" y="27"/>
                  </a:lnTo>
                  <a:lnTo>
                    <a:pt x="0" y="14"/>
                  </a:lnTo>
                  <a:lnTo>
                    <a:pt x="7" y="5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186" name="Freeform 76"/>
            <p:cNvSpPr>
              <a:spLocks/>
            </p:cNvSpPr>
            <p:nvPr/>
          </p:nvSpPr>
          <p:spPr bwMode="auto">
            <a:xfrm>
              <a:off x="1286" y="1835"/>
              <a:ext cx="20" cy="52"/>
            </a:xfrm>
            <a:custGeom>
              <a:avLst/>
              <a:gdLst>
                <a:gd name="T0" fmla="*/ 9 w 20"/>
                <a:gd name="T1" fmla="*/ 52 h 52"/>
                <a:gd name="T2" fmla="*/ 20 w 20"/>
                <a:gd name="T3" fmla="*/ 39 h 52"/>
                <a:gd name="T4" fmla="*/ 16 w 20"/>
                <a:gd name="T5" fmla="*/ 22 h 52"/>
                <a:gd name="T6" fmla="*/ 13 w 20"/>
                <a:gd name="T7" fmla="*/ 13 h 52"/>
                <a:gd name="T8" fmla="*/ 9 w 20"/>
                <a:gd name="T9" fmla="*/ 0 h 52"/>
                <a:gd name="T10" fmla="*/ 0 w 20"/>
                <a:gd name="T11" fmla="*/ 6 h 52"/>
                <a:gd name="T12" fmla="*/ 5 w 20"/>
                <a:gd name="T13" fmla="*/ 24 h 52"/>
                <a:gd name="T14" fmla="*/ 9 w 20"/>
                <a:gd name="T15" fmla="*/ 52 h 5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52"/>
                <a:gd name="T26" fmla="*/ 20 w 20"/>
                <a:gd name="T27" fmla="*/ 52 h 5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52">
                  <a:moveTo>
                    <a:pt x="9" y="52"/>
                  </a:moveTo>
                  <a:lnTo>
                    <a:pt x="20" y="39"/>
                  </a:lnTo>
                  <a:lnTo>
                    <a:pt x="16" y="22"/>
                  </a:lnTo>
                  <a:lnTo>
                    <a:pt x="13" y="13"/>
                  </a:lnTo>
                  <a:lnTo>
                    <a:pt x="9" y="0"/>
                  </a:lnTo>
                  <a:lnTo>
                    <a:pt x="0" y="6"/>
                  </a:lnTo>
                  <a:lnTo>
                    <a:pt x="5" y="24"/>
                  </a:lnTo>
                  <a:lnTo>
                    <a:pt x="9" y="52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187" name="Freeform 77"/>
            <p:cNvSpPr>
              <a:spLocks/>
            </p:cNvSpPr>
            <p:nvPr/>
          </p:nvSpPr>
          <p:spPr bwMode="auto">
            <a:xfrm>
              <a:off x="1138" y="2038"/>
              <a:ext cx="97" cy="99"/>
            </a:xfrm>
            <a:custGeom>
              <a:avLst/>
              <a:gdLst>
                <a:gd name="T0" fmla="*/ 34 w 97"/>
                <a:gd name="T1" fmla="*/ 0 h 99"/>
                <a:gd name="T2" fmla="*/ 56 w 97"/>
                <a:gd name="T3" fmla="*/ 0 h 99"/>
                <a:gd name="T4" fmla="*/ 73 w 97"/>
                <a:gd name="T5" fmla="*/ 4 h 99"/>
                <a:gd name="T6" fmla="*/ 84 w 97"/>
                <a:gd name="T7" fmla="*/ 20 h 99"/>
                <a:gd name="T8" fmla="*/ 95 w 97"/>
                <a:gd name="T9" fmla="*/ 46 h 99"/>
                <a:gd name="T10" fmla="*/ 97 w 97"/>
                <a:gd name="T11" fmla="*/ 68 h 99"/>
                <a:gd name="T12" fmla="*/ 86 w 97"/>
                <a:gd name="T13" fmla="*/ 79 h 99"/>
                <a:gd name="T14" fmla="*/ 82 w 97"/>
                <a:gd name="T15" fmla="*/ 94 h 99"/>
                <a:gd name="T16" fmla="*/ 71 w 97"/>
                <a:gd name="T17" fmla="*/ 99 h 99"/>
                <a:gd name="T18" fmla="*/ 60 w 97"/>
                <a:gd name="T19" fmla="*/ 86 h 99"/>
                <a:gd name="T20" fmla="*/ 50 w 97"/>
                <a:gd name="T21" fmla="*/ 62 h 99"/>
                <a:gd name="T22" fmla="*/ 43 w 97"/>
                <a:gd name="T23" fmla="*/ 53 h 99"/>
                <a:gd name="T24" fmla="*/ 24 w 97"/>
                <a:gd name="T25" fmla="*/ 51 h 99"/>
                <a:gd name="T26" fmla="*/ 0 w 97"/>
                <a:gd name="T27" fmla="*/ 26 h 99"/>
                <a:gd name="T28" fmla="*/ 34 w 97"/>
                <a:gd name="T29" fmla="*/ 0 h 9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7"/>
                <a:gd name="T46" fmla="*/ 0 h 99"/>
                <a:gd name="T47" fmla="*/ 97 w 97"/>
                <a:gd name="T48" fmla="*/ 99 h 9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7" h="99">
                  <a:moveTo>
                    <a:pt x="34" y="0"/>
                  </a:moveTo>
                  <a:lnTo>
                    <a:pt x="56" y="0"/>
                  </a:lnTo>
                  <a:lnTo>
                    <a:pt x="73" y="4"/>
                  </a:lnTo>
                  <a:lnTo>
                    <a:pt x="84" y="20"/>
                  </a:lnTo>
                  <a:lnTo>
                    <a:pt x="95" y="46"/>
                  </a:lnTo>
                  <a:lnTo>
                    <a:pt x="97" y="68"/>
                  </a:lnTo>
                  <a:lnTo>
                    <a:pt x="86" y="79"/>
                  </a:lnTo>
                  <a:lnTo>
                    <a:pt x="82" y="94"/>
                  </a:lnTo>
                  <a:lnTo>
                    <a:pt x="71" y="99"/>
                  </a:lnTo>
                  <a:lnTo>
                    <a:pt x="60" y="86"/>
                  </a:lnTo>
                  <a:lnTo>
                    <a:pt x="50" y="62"/>
                  </a:lnTo>
                  <a:lnTo>
                    <a:pt x="43" y="53"/>
                  </a:lnTo>
                  <a:lnTo>
                    <a:pt x="24" y="51"/>
                  </a:lnTo>
                  <a:lnTo>
                    <a:pt x="0" y="26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188" name="Freeform 78"/>
            <p:cNvSpPr>
              <a:spLocks/>
            </p:cNvSpPr>
            <p:nvPr/>
          </p:nvSpPr>
          <p:spPr bwMode="auto">
            <a:xfrm>
              <a:off x="1282" y="1776"/>
              <a:ext cx="50" cy="37"/>
            </a:xfrm>
            <a:custGeom>
              <a:avLst/>
              <a:gdLst>
                <a:gd name="T0" fmla="*/ 44 w 50"/>
                <a:gd name="T1" fmla="*/ 0 h 37"/>
                <a:gd name="T2" fmla="*/ 50 w 50"/>
                <a:gd name="T3" fmla="*/ 9 h 37"/>
                <a:gd name="T4" fmla="*/ 31 w 50"/>
                <a:gd name="T5" fmla="*/ 20 h 37"/>
                <a:gd name="T6" fmla="*/ 13 w 50"/>
                <a:gd name="T7" fmla="*/ 37 h 37"/>
                <a:gd name="T8" fmla="*/ 2 w 50"/>
                <a:gd name="T9" fmla="*/ 33 h 37"/>
                <a:gd name="T10" fmla="*/ 0 w 50"/>
                <a:gd name="T11" fmla="*/ 13 h 37"/>
                <a:gd name="T12" fmla="*/ 0 w 50"/>
                <a:gd name="T13" fmla="*/ 6 h 37"/>
                <a:gd name="T14" fmla="*/ 30 w 50"/>
                <a:gd name="T15" fmla="*/ 0 h 37"/>
                <a:gd name="T16" fmla="*/ 44 w 50"/>
                <a:gd name="T17" fmla="*/ 0 h 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0"/>
                <a:gd name="T28" fmla="*/ 0 h 37"/>
                <a:gd name="T29" fmla="*/ 50 w 50"/>
                <a:gd name="T30" fmla="*/ 37 h 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0" h="37">
                  <a:moveTo>
                    <a:pt x="44" y="0"/>
                  </a:moveTo>
                  <a:lnTo>
                    <a:pt x="50" y="9"/>
                  </a:lnTo>
                  <a:lnTo>
                    <a:pt x="31" y="20"/>
                  </a:lnTo>
                  <a:lnTo>
                    <a:pt x="13" y="37"/>
                  </a:lnTo>
                  <a:lnTo>
                    <a:pt x="2" y="33"/>
                  </a:lnTo>
                  <a:lnTo>
                    <a:pt x="0" y="13"/>
                  </a:lnTo>
                  <a:lnTo>
                    <a:pt x="0" y="6"/>
                  </a:lnTo>
                  <a:lnTo>
                    <a:pt x="30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</p:grpSp>
      <p:sp>
        <p:nvSpPr>
          <p:cNvPr id="169" name="Freeform 106"/>
          <p:cNvSpPr>
            <a:spLocks/>
          </p:cNvSpPr>
          <p:nvPr/>
        </p:nvSpPr>
        <p:spPr bwMode="auto">
          <a:xfrm>
            <a:off x="7565968" y="3760163"/>
            <a:ext cx="531589" cy="248193"/>
          </a:xfrm>
          <a:custGeom>
            <a:avLst/>
            <a:gdLst>
              <a:gd name="T0" fmla="*/ 2147483647 w 352"/>
              <a:gd name="T1" fmla="*/ 2147483647 h 157"/>
              <a:gd name="T2" fmla="*/ 2147483647 w 352"/>
              <a:gd name="T3" fmla="*/ 0 h 157"/>
              <a:gd name="T4" fmla="*/ 2147483647 w 352"/>
              <a:gd name="T5" fmla="*/ 0 h 157"/>
              <a:gd name="T6" fmla="*/ 2147483647 w 352"/>
              <a:gd name="T7" fmla="*/ 2147483647 h 157"/>
              <a:gd name="T8" fmla="*/ 2147483647 w 352"/>
              <a:gd name="T9" fmla="*/ 2147483647 h 157"/>
              <a:gd name="T10" fmla="*/ 2147483647 w 352"/>
              <a:gd name="T11" fmla="*/ 2147483647 h 157"/>
              <a:gd name="T12" fmla="*/ 2147483647 w 352"/>
              <a:gd name="T13" fmla="*/ 2147483647 h 157"/>
              <a:gd name="T14" fmla="*/ 2147483647 w 352"/>
              <a:gd name="T15" fmla="*/ 2147483647 h 157"/>
              <a:gd name="T16" fmla="*/ 2147483647 w 352"/>
              <a:gd name="T17" fmla="*/ 2147483647 h 157"/>
              <a:gd name="T18" fmla="*/ 2147483647 w 352"/>
              <a:gd name="T19" fmla="*/ 2147483647 h 157"/>
              <a:gd name="T20" fmla="*/ 2147483647 w 352"/>
              <a:gd name="T21" fmla="*/ 2147483647 h 157"/>
              <a:gd name="T22" fmla="*/ 2147483647 w 352"/>
              <a:gd name="T23" fmla="*/ 2147483647 h 157"/>
              <a:gd name="T24" fmla="*/ 2147483647 w 352"/>
              <a:gd name="T25" fmla="*/ 2147483647 h 157"/>
              <a:gd name="T26" fmla="*/ 2147483647 w 352"/>
              <a:gd name="T27" fmla="*/ 2147483647 h 157"/>
              <a:gd name="T28" fmla="*/ 2147483647 w 352"/>
              <a:gd name="T29" fmla="*/ 2147483647 h 157"/>
              <a:gd name="T30" fmla="*/ 2147483647 w 352"/>
              <a:gd name="T31" fmla="*/ 2147483647 h 157"/>
              <a:gd name="T32" fmla="*/ 2147483647 w 352"/>
              <a:gd name="T33" fmla="*/ 2147483647 h 157"/>
              <a:gd name="T34" fmla="*/ 2147483647 w 352"/>
              <a:gd name="T35" fmla="*/ 2147483647 h 157"/>
              <a:gd name="T36" fmla="*/ 2147483647 w 352"/>
              <a:gd name="T37" fmla="*/ 2147483647 h 157"/>
              <a:gd name="T38" fmla="*/ 2147483647 w 352"/>
              <a:gd name="T39" fmla="*/ 2147483647 h 157"/>
              <a:gd name="T40" fmla="*/ 2147483647 w 352"/>
              <a:gd name="T41" fmla="*/ 2147483647 h 157"/>
              <a:gd name="T42" fmla="*/ 2147483647 w 352"/>
              <a:gd name="T43" fmla="*/ 2147483647 h 157"/>
              <a:gd name="T44" fmla="*/ 2147483647 w 352"/>
              <a:gd name="T45" fmla="*/ 2147483647 h 157"/>
              <a:gd name="T46" fmla="*/ 2147483647 w 352"/>
              <a:gd name="T47" fmla="*/ 2147483647 h 157"/>
              <a:gd name="T48" fmla="*/ 2147483647 w 352"/>
              <a:gd name="T49" fmla="*/ 2147483647 h 157"/>
              <a:gd name="T50" fmla="*/ 2147483647 w 352"/>
              <a:gd name="T51" fmla="*/ 2147483647 h 157"/>
              <a:gd name="T52" fmla="*/ 2147483647 w 352"/>
              <a:gd name="T53" fmla="*/ 2147483647 h 157"/>
              <a:gd name="T54" fmla="*/ 2147483647 w 352"/>
              <a:gd name="T55" fmla="*/ 2147483647 h 157"/>
              <a:gd name="T56" fmla="*/ 2147483647 w 352"/>
              <a:gd name="T57" fmla="*/ 2147483647 h 157"/>
              <a:gd name="T58" fmla="*/ 2147483647 w 352"/>
              <a:gd name="T59" fmla="*/ 2147483647 h 157"/>
              <a:gd name="T60" fmla="*/ 2147483647 w 352"/>
              <a:gd name="T61" fmla="*/ 2147483647 h 157"/>
              <a:gd name="T62" fmla="*/ 2147483647 w 352"/>
              <a:gd name="T63" fmla="*/ 2147483647 h 157"/>
              <a:gd name="T64" fmla="*/ 2147483647 w 352"/>
              <a:gd name="T65" fmla="*/ 2147483647 h 157"/>
              <a:gd name="T66" fmla="*/ 2147483647 w 352"/>
              <a:gd name="T67" fmla="*/ 2147483647 h 157"/>
              <a:gd name="T68" fmla="*/ 2147483647 w 352"/>
              <a:gd name="T69" fmla="*/ 2147483647 h 157"/>
              <a:gd name="T70" fmla="*/ 2147483647 w 352"/>
              <a:gd name="T71" fmla="*/ 2147483647 h 157"/>
              <a:gd name="T72" fmla="*/ 2147483647 w 352"/>
              <a:gd name="T73" fmla="*/ 2147483647 h 157"/>
              <a:gd name="T74" fmla="*/ 0 w 352"/>
              <a:gd name="T75" fmla="*/ 2147483647 h 157"/>
              <a:gd name="T76" fmla="*/ 0 w 352"/>
              <a:gd name="T77" fmla="*/ 2147483647 h 157"/>
              <a:gd name="T78" fmla="*/ 2147483647 w 352"/>
              <a:gd name="T79" fmla="*/ 2147483647 h 157"/>
              <a:gd name="T80" fmla="*/ 2147483647 w 352"/>
              <a:gd name="T81" fmla="*/ 2147483647 h 157"/>
              <a:gd name="T82" fmla="*/ 2147483647 w 352"/>
              <a:gd name="T83" fmla="*/ 2147483647 h 157"/>
              <a:gd name="T84" fmla="*/ 2147483647 w 352"/>
              <a:gd name="T85" fmla="*/ 2147483647 h 157"/>
              <a:gd name="T86" fmla="*/ 2147483647 w 352"/>
              <a:gd name="T87" fmla="*/ 2147483647 h 15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2"/>
              <a:gd name="T133" fmla="*/ 0 h 157"/>
              <a:gd name="T134" fmla="*/ 352 w 352"/>
              <a:gd name="T135" fmla="*/ 157 h 157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2" h="157">
                <a:moveTo>
                  <a:pt x="120" y="8"/>
                </a:moveTo>
                <a:lnTo>
                  <a:pt x="132" y="0"/>
                </a:lnTo>
                <a:lnTo>
                  <a:pt x="146" y="0"/>
                </a:lnTo>
                <a:lnTo>
                  <a:pt x="152" y="11"/>
                </a:lnTo>
                <a:lnTo>
                  <a:pt x="165" y="2"/>
                </a:lnTo>
                <a:lnTo>
                  <a:pt x="178" y="6"/>
                </a:lnTo>
                <a:lnTo>
                  <a:pt x="198" y="27"/>
                </a:lnTo>
                <a:lnTo>
                  <a:pt x="220" y="36"/>
                </a:lnTo>
                <a:lnTo>
                  <a:pt x="228" y="38"/>
                </a:lnTo>
                <a:lnTo>
                  <a:pt x="239" y="29"/>
                </a:lnTo>
                <a:lnTo>
                  <a:pt x="250" y="25"/>
                </a:lnTo>
                <a:lnTo>
                  <a:pt x="280" y="33"/>
                </a:lnTo>
                <a:lnTo>
                  <a:pt x="320" y="42"/>
                </a:lnTo>
                <a:lnTo>
                  <a:pt x="352" y="51"/>
                </a:lnTo>
                <a:lnTo>
                  <a:pt x="341" y="64"/>
                </a:lnTo>
                <a:lnTo>
                  <a:pt x="320" y="85"/>
                </a:lnTo>
                <a:lnTo>
                  <a:pt x="315" y="92"/>
                </a:lnTo>
                <a:lnTo>
                  <a:pt x="317" y="107"/>
                </a:lnTo>
                <a:lnTo>
                  <a:pt x="302" y="107"/>
                </a:lnTo>
                <a:lnTo>
                  <a:pt x="287" y="96"/>
                </a:lnTo>
                <a:lnTo>
                  <a:pt x="272" y="92"/>
                </a:lnTo>
                <a:lnTo>
                  <a:pt x="233" y="101"/>
                </a:lnTo>
                <a:lnTo>
                  <a:pt x="223" y="110"/>
                </a:lnTo>
                <a:lnTo>
                  <a:pt x="212" y="124"/>
                </a:lnTo>
                <a:lnTo>
                  <a:pt x="191" y="137"/>
                </a:lnTo>
                <a:lnTo>
                  <a:pt x="179" y="137"/>
                </a:lnTo>
                <a:lnTo>
                  <a:pt x="166" y="126"/>
                </a:lnTo>
                <a:lnTo>
                  <a:pt x="155" y="126"/>
                </a:lnTo>
                <a:lnTo>
                  <a:pt x="115" y="145"/>
                </a:lnTo>
                <a:lnTo>
                  <a:pt x="96" y="155"/>
                </a:lnTo>
                <a:lnTo>
                  <a:pt x="82" y="157"/>
                </a:lnTo>
                <a:lnTo>
                  <a:pt x="50" y="155"/>
                </a:lnTo>
                <a:lnTo>
                  <a:pt x="37" y="155"/>
                </a:lnTo>
                <a:lnTo>
                  <a:pt x="27" y="140"/>
                </a:lnTo>
                <a:lnTo>
                  <a:pt x="22" y="135"/>
                </a:lnTo>
                <a:lnTo>
                  <a:pt x="11" y="129"/>
                </a:lnTo>
                <a:lnTo>
                  <a:pt x="5" y="122"/>
                </a:lnTo>
                <a:lnTo>
                  <a:pt x="0" y="107"/>
                </a:lnTo>
                <a:lnTo>
                  <a:pt x="0" y="90"/>
                </a:lnTo>
                <a:lnTo>
                  <a:pt x="34" y="76"/>
                </a:lnTo>
                <a:lnTo>
                  <a:pt x="72" y="76"/>
                </a:lnTo>
                <a:lnTo>
                  <a:pt x="95" y="55"/>
                </a:lnTo>
                <a:lnTo>
                  <a:pt x="98" y="19"/>
                </a:lnTo>
                <a:lnTo>
                  <a:pt x="120" y="8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70" name="Freeform 107"/>
          <p:cNvSpPr>
            <a:spLocks/>
          </p:cNvSpPr>
          <p:nvPr/>
        </p:nvSpPr>
        <p:spPr bwMode="auto">
          <a:xfrm>
            <a:off x="7434580" y="4364045"/>
            <a:ext cx="359427" cy="349366"/>
          </a:xfrm>
          <a:custGeom>
            <a:avLst/>
            <a:gdLst>
              <a:gd name="T0" fmla="*/ 2147483647 w 238"/>
              <a:gd name="T1" fmla="*/ 2147483647 h 221"/>
              <a:gd name="T2" fmla="*/ 2147483647 w 238"/>
              <a:gd name="T3" fmla="*/ 2147483647 h 221"/>
              <a:gd name="T4" fmla="*/ 2147483647 w 238"/>
              <a:gd name="T5" fmla="*/ 2147483647 h 221"/>
              <a:gd name="T6" fmla="*/ 2147483647 w 238"/>
              <a:gd name="T7" fmla="*/ 2147483647 h 221"/>
              <a:gd name="T8" fmla="*/ 2147483647 w 238"/>
              <a:gd name="T9" fmla="*/ 2147483647 h 221"/>
              <a:gd name="T10" fmla="*/ 2147483647 w 238"/>
              <a:gd name="T11" fmla="*/ 2147483647 h 221"/>
              <a:gd name="T12" fmla="*/ 2147483647 w 238"/>
              <a:gd name="T13" fmla="*/ 2147483647 h 221"/>
              <a:gd name="T14" fmla="*/ 2147483647 w 238"/>
              <a:gd name="T15" fmla="*/ 2147483647 h 221"/>
              <a:gd name="T16" fmla="*/ 2147483647 w 238"/>
              <a:gd name="T17" fmla="*/ 2147483647 h 221"/>
              <a:gd name="T18" fmla="*/ 2147483647 w 238"/>
              <a:gd name="T19" fmla="*/ 0 h 221"/>
              <a:gd name="T20" fmla="*/ 2147483647 w 238"/>
              <a:gd name="T21" fmla="*/ 2147483647 h 221"/>
              <a:gd name="T22" fmla="*/ 2147483647 w 238"/>
              <a:gd name="T23" fmla="*/ 2147483647 h 221"/>
              <a:gd name="T24" fmla="*/ 0 w 238"/>
              <a:gd name="T25" fmla="*/ 2147483647 h 221"/>
              <a:gd name="T26" fmla="*/ 0 w 238"/>
              <a:gd name="T27" fmla="*/ 2147483647 h 221"/>
              <a:gd name="T28" fmla="*/ 2147483647 w 238"/>
              <a:gd name="T29" fmla="*/ 2147483647 h 221"/>
              <a:gd name="T30" fmla="*/ 2147483647 w 238"/>
              <a:gd name="T31" fmla="*/ 2147483647 h 221"/>
              <a:gd name="T32" fmla="*/ 2147483647 w 238"/>
              <a:gd name="T33" fmla="*/ 2147483647 h 221"/>
              <a:gd name="T34" fmla="*/ 2147483647 w 238"/>
              <a:gd name="T35" fmla="*/ 2147483647 h 221"/>
              <a:gd name="T36" fmla="*/ 2147483647 w 238"/>
              <a:gd name="T37" fmla="*/ 2147483647 h 221"/>
              <a:gd name="T38" fmla="*/ 2147483647 w 238"/>
              <a:gd name="T39" fmla="*/ 2147483647 h 221"/>
              <a:gd name="T40" fmla="*/ 2147483647 w 238"/>
              <a:gd name="T41" fmla="*/ 2147483647 h 221"/>
              <a:gd name="T42" fmla="*/ 2147483647 w 238"/>
              <a:gd name="T43" fmla="*/ 2147483647 h 221"/>
              <a:gd name="T44" fmla="*/ 2147483647 w 238"/>
              <a:gd name="T45" fmla="*/ 2147483647 h 221"/>
              <a:gd name="T46" fmla="*/ 2147483647 w 238"/>
              <a:gd name="T47" fmla="*/ 2147483647 h 221"/>
              <a:gd name="T48" fmla="*/ 2147483647 w 238"/>
              <a:gd name="T49" fmla="*/ 2147483647 h 221"/>
              <a:gd name="T50" fmla="*/ 2147483647 w 238"/>
              <a:gd name="T51" fmla="*/ 2147483647 h 221"/>
              <a:gd name="T52" fmla="*/ 2147483647 w 238"/>
              <a:gd name="T53" fmla="*/ 2147483647 h 221"/>
              <a:gd name="T54" fmla="*/ 2147483647 w 238"/>
              <a:gd name="T55" fmla="*/ 2147483647 h 221"/>
              <a:gd name="T56" fmla="*/ 2147483647 w 238"/>
              <a:gd name="T57" fmla="*/ 2147483647 h 221"/>
              <a:gd name="T58" fmla="*/ 2147483647 w 238"/>
              <a:gd name="T59" fmla="*/ 2147483647 h 221"/>
              <a:gd name="T60" fmla="*/ 2147483647 w 238"/>
              <a:gd name="T61" fmla="*/ 2147483647 h 221"/>
              <a:gd name="T62" fmla="*/ 2147483647 w 238"/>
              <a:gd name="T63" fmla="*/ 2147483647 h 221"/>
              <a:gd name="T64" fmla="*/ 2147483647 w 238"/>
              <a:gd name="T65" fmla="*/ 2147483647 h 221"/>
              <a:gd name="T66" fmla="*/ 2147483647 w 238"/>
              <a:gd name="T67" fmla="*/ 2147483647 h 22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38"/>
              <a:gd name="T103" fmla="*/ 0 h 221"/>
              <a:gd name="T104" fmla="*/ 238 w 238"/>
              <a:gd name="T105" fmla="*/ 221 h 22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38" h="221">
                <a:moveTo>
                  <a:pt x="220" y="31"/>
                </a:moveTo>
                <a:lnTo>
                  <a:pt x="208" y="31"/>
                </a:lnTo>
                <a:lnTo>
                  <a:pt x="195" y="22"/>
                </a:lnTo>
                <a:lnTo>
                  <a:pt x="178" y="13"/>
                </a:lnTo>
                <a:lnTo>
                  <a:pt x="157" y="24"/>
                </a:lnTo>
                <a:lnTo>
                  <a:pt x="138" y="19"/>
                </a:lnTo>
                <a:lnTo>
                  <a:pt x="121" y="27"/>
                </a:lnTo>
                <a:lnTo>
                  <a:pt x="120" y="19"/>
                </a:lnTo>
                <a:lnTo>
                  <a:pt x="105" y="18"/>
                </a:lnTo>
                <a:lnTo>
                  <a:pt x="87" y="0"/>
                </a:lnTo>
                <a:lnTo>
                  <a:pt x="60" y="30"/>
                </a:lnTo>
                <a:lnTo>
                  <a:pt x="17" y="16"/>
                </a:lnTo>
                <a:lnTo>
                  <a:pt x="0" y="21"/>
                </a:lnTo>
                <a:lnTo>
                  <a:pt x="0" y="31"/>
                </a:lnTo>
                <a:lnTo>
                  <a:pt x="46" y="78"/>
                </a:lnTo>
                <a:lnTo>
                  <a:pt x="57" y="109"/>
                </a:lnTo>
                <a:lnTo>
                  <a:pt x="81" y="127"/>
                </a:lnTo>
                <a:lnTo>
                  <a:pt x="91" y="124"/>
                </a:lnTo>
                <a:lnTo>
                  <a:pt x="150" y="187"/>
                </a:lnTo>
                <a:lnTo>
                  <a:pt x="154" y="201"/>
                </a:lnTo>
                <a:lnTo>
                  <a:pt x="150" y="211"/>
                </a:lnTo>
                <a:lnTo>
                  <a:pt x="154" y="221"/>
                </a:lnTo>
                <a:lnTo>
                  <a:pt x="171" y="212"/>
                </a:lnTo>
                <a:lnTo>
                  <a:pt x="184" y="207"/>
                </a:lnTo>
                <a:lnTo>
                  <a:pt x="184" y="186"/>
                </a:lnTo>
                <a:lnTo>
                  <a:pt x="201" y="172"/>
                </a:lnTo>
                <a:lnTo>
                  <a:pt x="208" y="157"/>
                </a:lnTo>
                <a:lnTo>
                  <a:pt x="226" y="150"/>
                </a:lnTo>
                <a:lnTo>
                  <a:pt x="229" y="132"/>
                </a:lnTo>
                <a:lnTo>
                  <a:pt x="226" y="115"/>
                </a:lnTo>
                <a:lnTo>
                  <a:pt x="235" y="108"/>
                </a:lnTo>
                <a:lnTo>
                  <a:pt x="219" y="85"/>
                </a:lnTo>
                <a:lnTo>
                  <a:pt x="238" y="52"/>
                </a:lnTo>
                <a:lnTo>
                  <a:pt x="220" y="31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71" name="Freeform 108"/>
          <p:cNvSpPr>
            <a:spLocks/>
          </p:cNvSpPr>
          <p:nvPr/>
        </p:nvSpPr>
        <p:spPr bwMode="auto">
          <a:xfrm>
            <a:off x="7925394" y="4817746"/>
            <a:ext cx="244651" cy="173892"/>
          </a:xfrm>
          <a:custGeom>
            <a:avLst/>
            <a:gdLst>
              <a:gd name="T0" fmla="*/ 2147483647 w 162"/>
              <a:gd name="T1" fmla="*/ 2147483647 h 110"/>
              <a:gd name="T2" fmla="*/ 2147483647 w 162"/>
              <a:gd name="T3" fmla="*/ 2147483647 h 110"/>
              <a:gd name="T4" fmla="*/ 2147483647 w 162"/>
              <a:gd name="T5" fmla="*/ 2147483647 h 110"/>
              <a:gd name="T6" fmla="*/ 2147483647 w 162"/>
              <a:gd name="T7" fmla="*/ 2147483647 h 110"/>
              <a:gd name="T8" fmla="*/ 2147483647 w 162"/>
              <a:gd name="T9" fmla="*/ 2147483647 h 110"/>
              <a:gd name="T10" fmla="*/ 2147483647 w 162"/>
              <a:gd name="T11" fmla="*/ 0 h 110"/>
              <a:gd name="T12" fmla="*/ 2147483647 w 162"/>
              <a:gd name="T13" fmla="*/ 2147483647 h 110"/>
              <a:gd name="T14" fmla="*/ 2147483647 w 162"/>
              <a:gd name="T15" fmla="*/ 2147483647 h 110"/>
              <a:gd name="T16" fmla="*/ 2147483647 w 162"/>
              <a:gd name="T17" fmla="*/ 2147483647 h 110"/>
              <a:gd name="T18" fmla="*/ 2147483647 w 162"/>
              <a:gd name="T19" fmla="*/ 2147483647 h 110"/>
              <a:gd name="T20" fmla="*/ 2147483647 w 162"/>
              <a:gd name="T21" fmla="*/ 2147483647 h 110"/>
              <a:gd name="T22" fmla="*/ 2147483647 w 162"/>
              <a:gd name="T23" fmla="*/ 2147483647 h 110"/>
              <a:gd name="T24" fmla="*/ 2147483647 w 162"/>
              <a:gd name="T25" fmla="*/ 2147483647 h 110"/>
              <a:gd name="T26" fmla="*/ 2147483647 w 162"/>
              <a:gd name="T27" fmla="*/ 2147483647 h 110"/>
              <a:gd name="T28" fmla="*/ 2147483647 w 162"/>
              <a:gd name="T29" fmla="*/ 2147483647 h 110"/>
              <a:gd name="T30" fmla="*/ 2147483647 w 162"/>
              <a:gd name="T31" fmla="*/ 2147483647 h 110"/>
              <a:gd name="T32" fmla="*/ 2147483647 w 162"/>
              <a:gd name="T33" fmla="*/ 2147483647 h 110"/>
              <a:gd name="T34" fmla="*/ 2147483647 w 162"/>
              <a:gd name="T35" fmla="*/ 2147483647 h 110"/>
              <a:gd name="T36" fmla="*/ 2147483647 w 162"/>
              <a:gd name="T37" fmla="*/ 2147483647 h 110"/>
              <a:gd name="T38" fmla="*/ 2147483647 w 162"/>
              <a:gd name="T39" fmla="*/ 2147483647 h 110"/>
              <a:gd name="T40" fmla="*/ 2147483647 w 162"/>
              <a:gd name="T41" fmla="*/ 2147483647 h 110"/>
              <a:gd name="T42" fmla="*/ 0 w 162"/>
              <a:gd name="T43" fmla="*/ 2147483647 h 110"/>
              <a:gd name="T44" fmla="*/ 2147483647 w 162"/>
              <a:gd name="T45" fmla="*/ 2147483647 h 110"/>
              <a:gd name="T46" fmla="*/ 2147483647 w 162"/>
              <a:gd name="T47" fmla="*/ 2147483647 h 11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62"/>
              <a:gd name="T73" fmla="*/ 0 h 110"/>
              <a:gd name="T74" fmla="*/ 162 w 162"/>
              <a:gd name="T75" fmla="*/ 110 h 110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62" h="110">
                <a:moveTo>
                  <a:pt x="6" y="33"/>
                </a:moveTo>
                <a:lnTo>
                  <a:pt x="34" y="14"/>
                </a:lnTo>
                <a:lnTo>
                  <a:pt x="52" y="11"/>
                </a:lnTo>
                <a:lnTo>
                  <a:pt x="70" y="6"/>
                </a:lnTo>
                <a:lnTo>
                  <a:pt x="85" y="6"/>
                </a:lnTo>
                <a:lnTo>
                  <a:pt x="100" y="0"/>
                </a:lnTo>
                <a:lnTo>
                  <a:pt x="126" y="6"/>
                </a:lnTo>
                <a:lnTo>
                  <a:pt x="141" y="5"/>
                </a:lnTo>
                <a:lnTo>
                  <a:pt x="156" y="20"/>
                </a:lnTo>
                <a:lnTo>
                  <a:pt x="154" y="63"/>
                </a:lnTo>
                <a:lnTo>
                  <a:pt x="162" y="68"/>
                </a:lnTo>
                <a:lnTo>
                  <a:pt x="151" y="86"/>
                </a:lnTo>
                <a:lnTo>
                  <a:pt x="115" y="93"/>
                </a:lnTo>
                <a:lnTo>
                  <a:pt x="100" y="89"/>
                </a:lnTo>
                <a:lnTo>
                  <a:pt x="90" y="110"/>
                </a:lnTo>
                <a:lnTo>
                  <a:pt x="63" y="108"/>
                </a:lnTo>
                <a:lnTo>
                  <a:pt x="52" y="105"/>
                </a:lnTo>
                <a:lnTo>
                  <a:pt x="36" y="104"/>
                </a:lnTo>
                <a:lnTo>
                  <a:pt x="27" y="95"/>
                </a:lnTo>
                <a:lnTo>
                  <a:pt x="21" y="98"/>
                </a:lnTo>
                <a:lnTo>
                  <a:pt x="9" y="89"/>
                </a:lnTo>
                <a:lnTo>
                  <a:pt x="0" y="63"/>
                </a:lnTo>
                <a:lnTo>
                  <a:pt x="7" y="50"/>
                </a:lnTo>
                <a:lnTo>
                  <a:pt x="6" y="33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72" name="Freeform 109"/>
          <p:cNvSpPr>
            <a:spLocks/>
          </p:cNvSpPr>
          <p:nvPr/>
        </p:nvSpPr>
        <p:spPr bwMode="auto">
          <a:xfrm>
            <a:off x="7664130" y="4254967"/>
            <a:ext cx="493834" cy="613366"/>
          </a:xfrm>
          <a:custGeom>
            <a:avLst/>
            <a:gdLst>
              <a:gd name="T0" fmla="*/ 2147483647 w 327"/>
              <a:gd name="T1" fmla="*/ 2147483647 h 388"/>
              <a:gd name="T2" fmla="*/ 2147483647 w 327"/>
              <a:gd name="T3" fmla="*/ 2147483647 h 388"/>
              <a:gd name="T4" fmla="*/ 2147483647 w 327"/>
              <a:gd name="T5" fmla="*/ 2147483647 h 388"/>
              <a:gd name="T6" fmla="*/ 2147483647 w 327"/>
              <a:gd name="T7" fmla="*/ 2147483647 h 388"/>
              <a:gd name="T8" fmla="*/ 2147483647 w 327"/>
              <a:gd name="T9" fmla="*/ 2147483647 h 388"/>
              <a:gd name="T10" fmla="*/ 2147483647 w 327"/>
              <a:gd name="T11" fmla="*/ 2147483647 h 388"/>
              <a:gd name="T12" fmla="*/ 2147483647 w 327"/>
              <a:gd name="T13" fmla="*/ 2147483647 h 388"/>
              <a:gd name="T14" fmla="*/ 2147483647 w 327"/>
              <a:gd name="T15" fmla="*/ 2147483647 h 388"/>
              <a:gd name="T16" fmla="*/ 2147483647 w 327"/>
              <a:gd name="T17" fmla="*/ 2147483647 h 388"/>
              <a:gd name="T18" fmla="*/ 2147483647 w 327"/>
              <a:gd name="T19" fmla="*/ 2147483647 h 388"/>
              <a:gd name="T20" fmla="*/ 2147483647 w 327"/>
              <a:gd name="T21" fmla="*/ 2147483647 h 388"/>
              <a:gd name="T22" fmla="*/ 2147483647 w 327"/>
              <a:gd name="T23" fmla="*/ 2147483647 h 388"/>
              <a:gd name="T24" fmla="*/ 2147483647 w 327"/>
              <a:gd name="T25" fmla="*/ 2147483647 h 388"/>
              <a:gd name="T26" fmla="*/ 2147483647 w 327"/>
              <a:gd name="T27" fmla="*/ 2147483647 h 388"/>
              <a:gd name="T28" fmla="*/ 2147483647 w 327"/>
              <a:gd name="T29" fmla="*/ 2147483647 h 388"/>
              <a:gd name="T30" fmla="*/ 2147483647 w 327"/>
              <a:gd name="T31" fmla="*/ 2147483647 h 388"/>
              <a:gd name="T32" fmla="*/ 2147483647 w 327"/>
              <a:gd name="T33" fmla="*/ 2147483647 h 388"/>
              <a:gd name="T34" fmla="*/ 2147483647 w 327"/>
              <a:gd name="T35" fmla="*/ 2147483647 h 388"/>
              <a:gd name="T36" fmla="*/ 2147483647 w 327"/>
              <a:gd name="T37" fmla="*/ 2147483647 h 388"/>
              <a:gd name="T38" fmla="*/ 2147483647 w 327"/>
              <a:gd name="T39" fmla="*/ 2147483647 h 388"/>
              <a:gd name="T40" fmla="*/ 2147483647 w 327"/>
              <a:gd name="T41" fmla="*/ 2147483647 h 388"/>
              <a:gd name="T42" fmla="*/ 2147483647 w 327"/>
              <a:gd name="T43" fmla="*/ 2147483647 h 388"/>
              <a:gd name="T44" fmla="*/ 2147483647 w 327"/>
              <a:gd name="T45" fmla="*/ 2147483647 h 388"/>
              <a:gd name="T46" fmla="*/ 2147483647 w 327"/>
              <a:gd name="T47" fmla="*/ 2147483647 h 388"/>
              <a:gd name="T48" fmla="*/ 2147483647 w 327"/>
              <a:gd name="T49" fmla="*/ 2147483647 h 388"/>
              <a:gd name="T50" fmla="*/ 2147483647 w 327"/>
              <a:gd name="T51" fmla="*/ 2147483647 h 388"/>
              <a:gd name="T52" fmla="*/ 2147483647 w 327"/>
              <a:gd name="T53" fmla="*/ 2147483647 h 388"/>
              <a:gd name="T54" fmla="*/ 2147483647 w 327"/>
              <a:gd name="T55" fmla="*/ 2147483647 h 388"/>
              <a:gd name="T56" fmla="*/ 2147483647 w 327"/>
              <a:gd name="T57" fmla="*/ 2147483647 h 388"/>
              <a:gd name="T58" fmla="*/ 2147483647 w 327"/>
              <a:gd name="T59" fmla="*/ 2147483647 h 388"/>
              <a:gd name="T60" fmla="*/ 2147483647 w 327"/>
              <a:gd name="T61" fmla="*/ 2147483647 h 388"/>
              <a:gd name="T62" fmla="*/ 2147483647 w 327"/>
              <a:gd name="T63" fmla="*/ 2147483647 h 388"/>
              <a:gd name="T64" fmla="*/ 2147483647 w 327"/>
              <a:gd name="T65" fmla="*/ 2147483647 h 38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327"/>
              <a:gd name="T100" fmla="*/ 0 h 388"/>
              <a:gd name="T101" fmla="*/ 327 w 327"/>
              <a:gd name="T102" fmla="*/ 388 h 388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327" h="388">
                <a:moveTo>
                  <a:pt x="55" y="27"/>
                </a:moveTo>
                <a:lnTo>
                  <a:pt x="120" y="3"/>
                </a:lnTo>
                <a:lnTo>
                  <a:pt x="150" y="0"/>
                </a:lnTo>
                <a:lnTo>
                  <a:pt x="168" y="1"/>
                </a:lnTo>
                <a:lnTo>
                  <a:pt x="175" y="6"/>
                </a:lnTo>
                <a:lnTo>
                  <a:pt x="180" y="12"/>
                </a:lnTo>
                <a:lnTo>
                  <a:pt x="181" y="19"/>
                </a:lnTo>
                <a:lnTo>
                  <a:pt x="187" y="21"/>
                </a:lnTo>
                <a:lnTo>
                  <a:pt x="195" y="36"/>
                </a:lnTo>
                <a:lnTo>
                  <a:pt x="196" y="58"/>
                </a:lnTo>
                <a:lnTo>
                  <a:pt x="204" y="66"/>
                </a:lnTo>
                <a:lnTo>
                  <a:pt x="223" y="66"/>
                </a:lnTo>
                <a:lnTo>
                  <a:pt x="235" y="97"/>
                </a:lnTo>
                <a:lnTo>
                  <a:pt x="235" y="118"/>
                </a:lnTo>
                <a:lnTo>
                  <a:pt x="243" y="132"/>
                </a:lnTo>
                <a:lnTo>
                  <a:pt x="252" y="132"/>
                </a:lnTo>
                <a:lnTo>
                  <a:pt x="271" y="118"/>
                </a:lnTo>
                <a:lnTo>
                  <a:pt x="282" y="127"/>
                </a:lnTo>
                <a:lnTo>
                  <a:pt x="283" y="145"/>
                </a:lnTo>
                <a:lnTo>
                  <a:pt x="303" y="156"/>
                </a:lnTo>
                <a:lnTo>
                  <a:pt x="300" y="175"/>
                </a:lnTo>
                <a:lnTo>
                  <a:pt x="301" y="180"/>
                </a:lnTo>
                <a:lnTo>
                  <a:pt x="304" y="183"/>
                </a:lnTo>
                <a:lnTo>
                  <a:pt x="297" y="193"/>
                </a:lnTo>
                <a:lnTo>
                  <a:pt x="295" y="205"/>
                </a:lnTo>
                <a:lnTo>
                  <a:pt x="306" y="229"/>
                </a:lnTo>
                <a:lnTo>
                  <a:pt x="322" y="232"/>
                </a:lnTo>
                <a:lnTo>
                  <a:pt x="327" y="244"/>
                </a:lnTo>
                <a:lnTo>
                  <a:pt x="322" y="268"/>
                </a:lnTo>
                <a:lnTo>
                  <a:pt x="298" y="290"/>
                </a:lnTo>
                <a:lnTo>
                  <a:pt x="304" y="328"/>
                </a:lnTo>
                <a:lnTo>
                  <a:pt x="295" y="344"/>
                </a:lnTo>
                <a:lnTo>
                  <a:pt x="301" y="362"/>
                </a:lnTo>
                <a:lnTo>
                  <a:pt x="271" y="356"/>
                </a:lnTo>
                <a:lnTo>
                  <a:pt x="256" y="362"/>
                </a:lnTo>
                <a:lnTo>
                  <a:pt x="241" y="362"/>
                </a:lnTo>
                <a:lnTo>
                  <a:pt x="223" y="367"/>
                </a:lnTo>
                <a:lnTo>
                  <a:pt x="205" y="370"/>
                </a:lnTo>
                <a:lnTo>
                  <a:pt x="177" y="388"/>
                </a:lnTo>
                <a:lnTo>
                  <a:pt x="178" y="353"/>
                </a:lnTo>
                <a:lnTo>
                  <a:pt x="172" y="344"/>
                </a:lnTo>
                <a:lnTo>
                  <a:pt x="153" y="341"/>
                </a:lnTo>
                <a:lnTo>
                  <a:pt x="147" y="326"/>
                </a:lnTo>
                <a:lnTo>
                  <a:pt x="135" y="325"/>
                </a:lnTo>
                <a:lnTo>
                  <a:pt x="130" y="329"/>
                </a:lnTo>
                <a:lnTo>
                  <a:pt x="105" y="325"/>
                </a:lnTo>
                <a:lnTo>
                  <a:pt x="96" y="332"/>
                </a:lnTo>
                <a:lnTo>
                  <a:pt x="91" y="359"/>
                </a:lnTo>
                <a:lnTo>
                  <a:pt x="81" y="380"/>
                </a:lnTo>
                <a:lnTo>
                  <a:pt x="13" y="320"/>
                </a:lnTo>
                <a:lnTo>
                  <a:pt x="0" y="292"/>
                </a:lnTo>
                <a:lnTo>
                  <a:pt x="18" y="284"/>
                </a:lnTo>
                <a:lnTo>
                  <a:pt x="33" y="276"/>
                </a:lnTo>
                <a:lnTo>
                  <a:pt x="33" y="253"/>
                </a:lnTo>
                <a:lnTo>
                  <a:pt x="48" y="244"/>
                </a:lnTo>
                <a:lnTo>
                  <a:pt x="55" y="228"/>
                </a:lnTo>
                <a:lnTo>
                  <a:pt x="72" y="217"/>
                </a:lnTo>
                <a:lnTo>
                  <a:pt x="75" y="202"/>
                </a:lnTo>
                <a:lnTo>
                  <a:pt x="73" y="186"/>
                </a:lnTo>
                <a:lnTo>
                  <a:pt x="84" y="177"/>
                </a:lnTo>
                <a:lnTo>
                  <a:pt x="69" y="154"/>
                </a:lnTo>
                <a:lnTo>
                  <a:pt x="85" y="123"/>
                </a:lnTo>
                <a:lnTo>
                  <a:pt x="67" y="102"/>
                </a:lnTo>
                <a:lnTo>
                  <a:pt x="72" y="79"/>
                </a:lnTo>
                <a:lnTo>
                  <a:pt x="55" y="58"/>
                </a:lnTo>
                <a:lnTo>
                  <a:pt x="55" y="27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73" name="Text Box 115"/>
          <p:cNvSpPr txBox="1">
            <a:spLocks noChangeArrowheads="1"/>
          </p:cNvSpPr>
          <p:nvPr/>
        </p:nvSpPr>
        <p:spPr bwMode="auto">
          <a:xfrm>
            <a:off x="6871248" y="3334917"/>
            <a:ext cx="352661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latin typeface="+mn-lt"/>
                <a:cs typeface="Arial" pitchFamily="34" charset="0"/>
              </a:rPr>
              <a:t>+1,6</a:t>
            </a:r>
            <a:endParaRPr lang="de-DE" sz="1400" b="1" dirty="0">
              <a:latin typeface="+mn-lt"/>
              <a:cs typeface="Arial" pitchFamily="34" charset="0"/>
            </a:endParaRPr>
          </a:p>
        </p:txBody>
      </p:sp>
      <p:sp>
        <p:nvSpPr>
          <p:cNvPr id="174" name="Text Box 116"/>
          <p:cNvSpPr txBox="1">
            <a:spLocks noChangeArrowheads="1"/>
          </p:cNvSpPr>
          <p:nvPr/>
        </p:nvSpPr>
        <p:spPr bwMode="auto">
          <a:xfrm>
            <a:off x="6050615" y="3872403"/>
            <a:ext cx="352661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latin typeface="+mn-lt"/>
              </a:rPr>
              <a:t>+0,6</a:t>
            </a:r>
            <a:endParaRPr lang="de-DE" sz="1400" b="1" dirty="0">
              <a:latin typeface="+mn-lt"/>
            </a:endParaRPr>
          </a:p>
        </p:txBody>
      </p:sp>
      <p:sp>
        <p:nvSpPr>
          <p:cNvPr id="175" name="Text Box 117"/>
          <p:cNvSpPr txBox="1">
            <a:spLocks noChangeArrowheads="1"/>
          </p:cNvSpPr>
          <p:nvPr/>
        </p:nvSpPr>
        <p:spPr bwMode="auto">
          <a:xfrm>
            <a:off x="6754540" y="4217767"/>
            <a:ext cx="352661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latin typeface="+mn-lt"/>
              </a:rPr>
              <a:t>+0,6</a:t>
            </a:r>
            <a:endParaRPr lang="de-DE" sz="1400" b="1" dirty="0">
              <a:latin typeface="+mn-lt"/>
            </a:endParaRPr>
          </a:p>
        </p:txBody>
      </p:sp>
      <p:sp>
        <p:nvSpPr>
          <p:cNvPr id="176" name="Text Box 118"/>
          <p:cNvSpPr txBox="1">
            <a:spLocks noChangeArrowheads="1"/>
          </p:cNvSpPr>
          <p:nvPr/>
        </p:nvSpPr>
        <p:spPr bwMode="auto">
          <a:xfrm>
            <a:off x="5906057" y="2961839"/>
            <a:ext cx="352661" cy="215444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latin typeface="+mn-lt"/>
              </a:rPr>
              <a:t>+1,7</a:t>
            </a:r>
            <a:endParaRPr lang="de-DE" sz="1400" b="1" dirty="0">
              <a:latin typeface="+mn-lt"/>
            </a:endParaRPr>
          </a:p>
        </p:txBody>
      </p:sp>
      <p:sp>
        <p:nvSpPr>
          <p:cNvPr id="177" name="Text Box 119"/>
          <p:cNvSpPr txBox="1">
            <a:spLocks noChangeArrowheads="1"/>
          </p:cNvSpPr>
          <p:nvPr/>
        </p:nvSpPr>
        <p:spPr bwMode="auto">
          <a:xfrm>
            <a:off x="5257635" y="4785662"/>
            <a:ext cx="352661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latin typeface="+mn-lt"/>
              </a:rPr>
              <a:t>+1,0</a:t>
            </a:r>
            <a:endParaRPr lang="de-DE" sz="1400" b="1" dirty="0">
              <a:latin typeface="+mn-lt"/>
            </a:endParaRPr>
          </a:p>
        </p:txBody>
      </p:sp>
      <p:sp>
        <p:nvSpPr>
          <p:cNvPr id="178" name="Text Box 116"/>
          <p:cNvSpPr txBox="1">
            <a:spLocks noChangeArrowheads="1"/>
          </p:cNvSpPr>
          <p:nvPr/>
        </p:nvSpPr>
        <p:spPr bwMode="auto">
          <a:xfrm>
            <a:off x="7668344" y="5444209"/>
            <a:ext cx="378309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latin typeface="+mn-lt"/>
                <a:cs typeface="Arial" pitchFamily="34" charset="0"/>
              </a:rPr>
              <a:t>-1,0*</a:t>
            </a:r>
            <a:endParaRPr lang="de-DE" sz="1400" b="1" baseline="30000" dirty="0">
              <a:latin typeface="+mn-lt"/>
              <a:cs typeface="Arial" pitchFamily="34" charset="0"/>
            </a:endParaRPr>
          </a:p>
        </p:txBody>
      </p:sp>
      <p:sp>
        <p:nvSpPr>
          <p:cNvPr id="179" name="Text Box 115"/>
          <p:cNvSpPr txBox="1">
            <a:spLocks noChangeArrowheads="1"/>
          </p:cNvSpPr>
          <p:nvPr/>
        </p:nvSpPr>
        <p:spPr bwMode="auto">
          <a:xfrm>
            <a:off x="6479616" y="2920079"/>
            <a:ext cx="248466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latin typeface="+mn-lt"/>
              </a:rPr>
              <a:t>0,3</a:t>
            </a:r>
            <a:endParaRPr lang="de-DE" sz="1400" b="1" dirty="0">
              <a:latin typeface="+mn-lt"/>
            </a:endParaRPr>
          </a:p>
        </p:txBody>
      </p:sp>
      <p:sp>
        <p:nvSpPr>
          <p:cNvPr id="180" name="Freeform 13"/>
          <p:cNvSpPr>
            <a:spLocks/>
          </p:cNvSpPr>
          <p:nvPr/>
        </p:nvSpPr>
        <p:spPr bwMode="auto">
          <a:xfrm>
            <a:off x="6897565" y="3865238"/>
            <a:ext cx="684119" cy="325653"/>
          </a:xfrm>
          <a:custGeom>
            <a:avLst/>
            <a:gdLst>
              <a:gd name="T0" fmla="*/ 2147483647 w 453"/>
              <a:gd name="T1" fmla="*/ 2147483647 h 206"/>
              <a:gd name="T2" fmla="*/ 2147483647 w 453"/>
              <a:gd name="T3" fmla="*/ 2147483647 h 206"/>
              <a:gd name="T4" fmla="*/ 2147483647 w 453"/>
              <a:gd name="T5" fmla="*/ 2147483647 h 206"/>
              <a:gd name="T6" fmla="*/ 2147483647 w 453"/>
              <a:gd name="T7" fmla="*/ 2147483647 h 206"/>
              <a:gd name="T8" fmla="*/ 2147483647 w 453"/>
              <a:gd name="T9" fmla="*/ 2147483647 h 206"/>
              <a:gd name="T10" fmla="*/ 2147483647 w 453"/>
              <a:gd name="T11" fmla="*/ 2147483647 h 206"/>
              <a:gd name="T12" fmla="*/ 2147483647 w 453"/>
              <a:gd name="T13" fmla="*/ 2147483647 h 206"/>
              <a:gd name="T14" fmla="*/ 2147483647 w 453"/>
              <a:gd name="T15" fmla="*/ 2147483647 h 206"/>
              <a:gd name="T16" fmla="*/ 2147483647 w 453"/>
              <a:gd name="T17" fmla="*/ 2147483647 h 206"/>
              <a:gd name="T18" fmla="*/ 2147483647 w 453"/>
              <a:gd name="T19" fmla="*/ 2147483647 h 206"/>
              <a:gd name="T20" fmla="*/ 2147483647 w 453"/>
              <a:gd name="T21" fmla="*/ 2147483647 h 206"/>
              <a:gd name="T22" fmla="*/ 2147483647 w 453"/>
              <a:gd name="T23" fmla="*/ 2147483647 h 206"/>
              <a:gd name="T24" fmla="*/ 2147483647 w 453"/>
              <a:gd name="T25" fmla="*/ 2147483647 h 206"/>
              <a:gd name="T26" fmla="*/ 2147483647 w 453"/>
              <a:gd name="T27" fmla="*/ 2147483647 h 206"/>
              <a:gd name="T28" fmla="*/ 2147483647 w 453"/>
              <a:gd name="T29" fmla="*/ 2147483647 h 206"/>
              <a:gd name="T30" fmla="*/ 2147483647 w 453"/>
              <a:gd name="T31" fmla="*/ 2147483647 h 206"/>
              <a:gd name="T32" fmla="*/ 2147483647 w 453"/>
              <a:gd name="T33" fmla="*/ 2147483647 h 206"/>
              <a:gd name="T34" fmla="*/ 2147483647 w 453"/>
              <a:gd name="T35" fmla="*/ 2147483647 h 206"/>
              <a:gd name="T36" fmla="*/ 2147483647 w 453"/>
              <a:gd name="T37" fmla="*/ 2147483647 h 206"/>
              <a:gd name="T38" fmla="*/ 2147483647 w 453"/>
              <a:gd name="T39" fmla="*/ 2147483647 h 206"/>
              <a:gd name="T40" fmla="*/ 2147483647 w 453"/>
              <a:gd name="T41" fmla="*/ 2147483647 h 206"/>
              <a:gd name="T42" fmla="*/ 2147483647 w 453"/>
              <a:gd name="T43" fmla="*/ 2147483647 h 206"/>
              <a:gd name="T44" fmla="*/ 2147483647 w 453"/>
              <a:gd name="T45" fmla="*/ 2147483647 h 206"/>
              <a:gd name="T46" fmla="*/ 2147483647 w 453"/>
              <a:gd name="T47" fmla="*/ 2147483647 h 206"/>
              <a:gd name="T48" fmla="*/ 2147483647 w 453"/>
              <a:gd name="T49" fmla="*/ 2147483647 h 206"/>
              <a:gd name="T50" fmla="*/ 2147483647 w 453"/>
              <a:gd name="T51" fmla="*/ 2147483647 h 206"/>
              <a:gd name="T52" fmla="*/ 2147483647 w 453"/>
              <a:gd name="T53" fmla="*/ 2147483647 h 206"/>
              <a:gd name="T54" fmla="*/ 2147483647 w 453"/>
              <a:gd name="T55" fmla="*/ 2147483647 h 206"/>
              <a:gd name="T56" fmla="*/ 2147483647 w 453"/>
              <a:gd name="T57" fmla="*/ 2147483647 h 206"/>
              <a:gd name="T58" fmla="*/ 2147483647 w 453"/>
              <a:gd name="T59" fmla="*/ 2147483647 h 206"/>
              <a:gd name="T60" fmla="*/ 2147483647 w 453"/>
              <a:gd name="T61" fmla="*/ 2147483647 h 206"/>
              <a:gd name="T62" fmla="*/ 0 w 453"/>
              <a:gd name="T63" fmla="*/ 2147483647 h 2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53"/>
              <a:gd name="T97" fmla="*/ 0 h 206"/>
              <a:gd name="T98" fmla="*/ 453 w 453"/>
              <a:gd name="T99" fmla="*/ 206 h 2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53" h="206">
                <a:moveTo>
                  <a:pt x="0" y="74"/>
                </a:moveTo>
                <a:lnTo>
                  <a:pt x="19" y="72"/>
                </a:lnTo>
                <a:lnTo>
                  <a:pt x="26" y="70"/>
                </a:lnTo>
                <a:lnTo>
                  <a:pt x="36" y="82"/>
                </a:lnTo>
                <a:lnTo>
                  <a:pt x="48" y="78"/>
                </a:lnTo>
                <a:lnTo>
                  <a:pt x="63" y="80"/>
                </a:lnTo>
                <a:lnTo>
                  <a:pt x="72" y="87"/>
                </a:lnTo>
                <a:lnTo>
                  <a:pt x="88" y="78"/>
                </a:lnTo>
                <a:lnTo>
                  <a:pt x="109" y="79"/>
                </a:lnTo>
                <a:lnTo>
                  <a:pt x="118" y="88"/>
                </a:lnTo>
                <a:lnTo>
                  <a:pt x="131" y="91"/>
                </a:lnTo>
                <a:lnTo>
                  <a:pt x="138" y="85"/>
                </a:lnTo>
                <a:lnTo>
                  <a:pt x="161" y="81"/>
                </a:lnTo>
                <a:lnTo>
                  <a:pt x="172" y="81"/>
                </a:lnTo>
                <a:lnTo>
                  <a:pt x="189" y="87"/>
                </a:lnTo>
                <a:lnTo>
                  <a:pt x="209" y="100"/>
                </a:lnTo>
                <a:lnTo>
                  <a:pt x="224" y="94"/>
                </a:lnTo>
                <a:lnTo>
                  <a:pt x="227" y="81"/>
                </a:lnTo>
                <a:lnTo>
                  <a:pt x="217" y="64"/>
                </a:lnTo>
                <a:lnTo>
                  <a:pt x="212" y="40"/>
                </a:lnTo>
                <a:lnTo>
                  <a:pt x="263" y="5"/>
                </a:lnTo>
                <a:lnTo>
                  <a:pt x="274" y="5"/>
                </a:lnTo>
                <a:lnTo>
                  <a:pt x="276" y="17"/>
                </a:lnTo>
                <a:lnTo>
                  <a:pt x="291" y="20"/>
                </a:lnTo>
                <a:lnTo>
                  <a:pt x="323" y="16"/>
                </a:lnTo>
                <a:lnTo>
                  <a:pt x="336" y="2"/>
                </a:lnTo>
                <a:lnTo>
                  <a:pt x="376" y="0"/>
                </a:lnTo>
                <a:lnTo>
                  <a:pt x="385" y="17"/>
                </a:lnTo>
                <a:lnTo>
                  <a:pt x="402" y="17"/>
                </a:lnTo>
                <a:lnTo>
                  <a:pt x="417" y="8"/>
                </a:lnTo>
                <a:lnTo>
                  <a:pt x="442" y="24"/>
                </a:lnTo>
                <a:lnTo>
                  <a:pt x="442" y="52"/>
                </a:lnTo>
                <a:lnTo>
                  <a:pt x="453" y="64"/>
                </a:lnTo>
                <a:lnTo>
                  <a:pt x="450" y="82"/>
                </a:lnTo>
                <a:lnTo>
                  <a:pt x="442" y="100"/>
                </a:lnTo>
                <a:lnTo>
                  <a:pt x="429" y="100"/>
                </a:lnTo>
                <a:lnTo>
                  <a:pt x="424" y="105"/>
                </a:lnTo>
                <a:lnTo>
                  <a:pt x="432" y="120"/>
                </a:lnTo>
                <a:lnTo>
                  <a:pt x="432" y="135"/>
                </a:lnTo>
                <a:lnTo>
                  <a:pt x="424" y="148"/>
                </a:lnTo>
                <a:lnTo>
                  <a:pt x="402" y="159"/>
                </a:lnTo>
                <a:lnTo>
                  <a:pt x="401" y="172"/>
                </a:lnTo>
                <a:lnTo>
                  <a:pt x="401" y="185"/>
                </a:lnTo>
                <a:lnTo>
                  <a:pt x="380" y="189"/>
                </a:lnTo>
                <a:lnTo>
                  <a:pt x="346" y="187"/>
                </a:lnTo>
                <a:lnTo>
                  <a:pt x="330" y="192"/>
                </a:lnTo>
                <a:lnTo>
                  <a:pt x="301" y="192"/>
                </a:lnTo>
                <a:lnTo>
                  <a:pt x="289" y="206"/>
                </a:lnTo>
                <a:lnTo>
                  <a:pt x="243" y="191"/>
                </a:lnTo>
                <a:lnTo>
                  <a:pt x="220" y="192"/>
                </a:lnTo>
                <a:lnTo>
                  <a:pt x="162" y="179"/>
                </a:lnTo>
                <a:lnTo>
                  <a:pt x="154" y="165"/>
                </a:lnTo>
                <a:lnTo>
                  <a:pt x="154" y="150"/>
                </a:lnTo>
                <a:lnTo>
                  <a:pt x="150" y="141"/>
                </a:lnTo>
                <a:lnTo>
                  <a:pt x="143" y="137"/>
                </a:lnTo>
                <a:lnTo>
                  <a:pt x="107" y="139"/>
                </a:lnTo>
                <a:lnTo>
                  <a:pt x="57" y="144"/>
                </a:lnTo>
                <a:lnTo>
                  <a:pt x="52" y="132"/>
                </a:lnTo>
                <a:lnTo>
                  <a:pt x="43" y="128"/>
                </a:lnTo>
                <a:lnTo>
                  <a:pt x="28" y="123"/>
                </a:lnTo>
                <a:lnTo>
                  <a:pt x="13" y="119"/>
                </a:lnTo>
                <a:lnTo>
                  <a:pt x="13" y="105"/>
                </a:lnTo>
                <a:lnTo>
                  <a:pt x="13" y="85"/>
                </a:lnTo>
                <a:lnTo>
                  <a:pt x="0" y="74"/>
                </a:lnTo>
                <a:close/>
              </a:path>
            </a:pathLst>
          </a:custGeom>
          <a:solidFill>
            <a:schemeClr val="accent3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81" name="Textfeld 180"/>
          <p:cNvSpPr txBox="1"/>
          <p:nvPr>
            <p:custDataLst>
              <p:tags r:id="rId4"/>
            </p:custDataLst>
          </p:nvPr>
        </p:nvSpPr>
        <p:spPr>
          <a:xfrm>
            <a:off x="7086454" y="3914244"/>
            <a:ext cx="423193" cy="215444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rtlCol="0">
            <a:spAutoFit/>
          </a:bodyPr>
          <a:lstStyle/>
          <a:p>
            <a:r>
              <a:rPr lang="de-DE" sz="1400" b="1" dirty="0" smtClean="0">
                <a:cs typeface="Arial" pitchFamily="34" charset="0"/>
              </a:rPr>
              <a:t>+1,7*</a:t>
            </a:r>
            <a:endParaRPr lang="de-DE" sz="1400" b="1" baseline="30000" dirty="0">
              <a:cs typeface="Arial" pitchFamily="34" charset="0"/>
            </a:endParaRPr>
          </a:p>
        </p:txBody>
      </p:sp>
      <p:sp>
        <p:nvSpPr>
          <p:cNvPr id="182" name="Text Box 116"/>
          <p:cNvSpPr txBox="1">
            <a:spLocks noChangeArrowheads="1"/>
          </p:cNvSpPr>
          <p:nvPr/>
        </p:nvSpPr>
        <p:spPr bwMode="auto">
          <a:xfrm>
            <a:off x="4844509" y="4506920"/>
            <a:ext cx="27251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4351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200" b="1" dirty="0" smtClean="0">
                <a:latin typeface="Arial" pitchFamily="34" charset="0"/>
                <a:cs typeface="Arial" pitchFamily="34" charset="0"/>
              </a:rPr>
              <a:t>0,6*</a:t>
            </a:r>
            <a:endParaRPr lang="de-DE" sz="1200" b="1" baseline="30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5" name="Text Box 116"/>
          <p:cNvSpPr txBox="1">
            <a:spLocks noChangeArrowheads="1"/>
          </p:cNvSpPr>
          <p:nvPr/>
        </p:nvSpPr>
        <p:spPr bwMode="auto">
          <a:xfrm>
            <a:off x="323850" y="1679705"/>
            <a:ext cx="512961" cy="246221"/>
          </a:xfrm>
          <a:prstGeom prst="rect">
            <a:avLst/>
          </a:prstGeom>
          <a:solidFill>
            <a:schemeClr val="bg1"/>
          </a:solidFill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600" dirty="0" smtClean="0">
                <a:latin typeface="+mn-lt"/>
              </a:rPr>
              <a:t>2013 </a:t>
            </a:r>
            <a:endParaRPr lang="de-DE" sz="1600" dirty="0">
              <a:latin typeface="+mn-lt"/>
            </a:endParaRPr>
          </a:p>
        </p:txBody>
      </p:sp>
      <p:sp>
        <p:nvSpPr>
          <p:cNvPr id="216" name="Text Box 116"/>
          <p:cNvSpPr txBox="1">
            <a:spLocks noChangeArrowheads="1"/>
          </p:cNvSpPr>
          <p:nvPr/>
        </p:nvSpPr>
        <p:spPr bwMode="auto">
          <a:xfrm>
            <a:off x="4752145" y="1679705"/>
            <a:ext cx="512961" cy="246221"/>
          </a:xfrm>
          <a:prstGeom prst="rect">
            <a:avLst/>
          </a:prstGeom>
          <a:solidFill>
            <a:schemeClr val="bg1"/>
          </a:solidFill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600" dirty="0" smtClean="0">
                <a:latin typeface="+mn-lt"/>
              </a:rPr>
              <a:t>2014 </a:t>
            </a:r>
            <a:endParaRPr lang="de-DE" sz="1600" dirty="0">
              <a:latin typeface="+mn-lt"/>
            </a:endParaRPr>
          </a:p>
        </p:txBody>
      </p:sp>
      <p:sp>
        <p:nvSpPr>
          <p:cNvPr id="148" name="Titel 1"/>
          <p:cNvSpPr>
            <a:spLocks noGrp="1"/>
          </p:cNvSpPr>
          <p:nvPr>
            <p:ph type="title"/>
          </p:nvPr>
        </p:nvSpPr>
        <p:spPr>
          <a:xfrm>
            <a:off x="323850" y="260648"/>
            <a:ext cx="6335713" cy="647402"/>
          </a:xfrm>
        </p:spPr>
        <p:txBody>
          <a:bodyPr/>
          <a:lstStyle/>
          <a:p>
            <a:r>
              <a:rPr lang="de-DE" dirty="0" smtClean="0">
                <a:solidFill>
                  <a:srgbClr val="000000"/>
                </a:solidFill>
              </a:rPr>
              <a:t>Economical situation in Western-Europe</a:t>
            </a:r>
            <a:endParaRPr lang="de-DE" dirty="0"/>
          </a:p>
        </p:txBody>
      </p:sp>
      <p:sp>
        <p:nvSpPr>
          <p:cNvPr id="217" name="Inhaltsplatzhalter 588914"/>
          <p:cNvSpPr txBox="1">
            <a:spLocks/>
          </p:cNvSpPr>
          <p:nvPr/>
        </p:nvSpPr>
        <p:spPr bwMode="gray">
          <a:xfrm>
            <a:off x="327914" y="1052736"/>
            <a:ext cx="4616648" cy="215444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n-US" sz="1400" dirty="0"/>
              <a:t>Change in gross domestic product vs. previous year [in %]</a:t>
            </a:r>
          </a:p>
        </p:txBody>
      </p:sp>
    </p:spTree>
    <p:extLst>
      <p:ext uri="{BB962C8B-B14F-4D97-AF65-F5344CB8AC3E}">
        <p14:creationId xmlns:p14="http://schemas.microsoft.com/office/powerpoint/2010/main" val="3593636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" name="Objekt 7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1453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1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23850" y="6453188"/>
            <a:ext cx="8496300" cy="144462"/>
          </a:xfrm>
        </p:spPr>
        <p:txBody>
          <a:bodyPr/>
          <a:lstStyle/>
          <a:p>
            <a:r>
              <a:rPr lang="de-DE" dirty="0" smtClean="0"/>
              <a:t>Source: </a:t>
            </a:r>
            <a:r>
              <a:rPr lang="de-DE" dirty="0"/>
              <a:t>GfK, </a:t>
            </a:r>
            <a:r>
              <a:rPr lang="de-DE" dirty="0" smtClean="0"/>
              <a:t>EU-Commissio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ome prospects in Europe still mostly clouded, but in all countries (mostly) above previous year</a:t>
            </a:r>
          </a:p>
        </p:txBody>
      </p:sp>
      <p:sp>
        <p:nvSpPr>
          <p:cNvPr id="4" name="Inhaltsplatzhalter 588914"/>
          <p:cNvSpPr txBox="1">
            <a:spLocks/>
          </p:cNvSpPr>
          <p:nvPr/>
        </p:nvSpPr>
        <p:spPr bwMode="gray">
          <a:xfrm>
            <a:off x="323850" y="1052736"/>
            <a:ext cx="1779333" cy="246221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de-DE" sz="1600" dirty="0"/>
              <a:t>Income expectation</a:t>
            </a:r>
          </a:p>
        </p:txBody>
      </p:sp>
      <p:cxnSp>
        <p:nvCxnSpPr>
          <p:cNvPr id="7" name="LeanLine Vertical 634947453867075289"/>
          <p:cNvCxnSpPr>
            <a:cxnSpLocks/>
          </p:cNvCxnSpPr>
          <p:nvPr/>
        </p:nvCxnSpPr>
        <p:spPr>
          <a:xfrm>
            <a:off x="323850" y="1771994"/>
            <a:ext cx="8496300" cy="0"/>
          </a:xfrm>
          <a:prstGeom prst="line">
            <a:avLst/>
          </a:prstGeom>
          <a:ln w="22225" cmpd="sng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Box 116"/>
          <p:cNvSpPr txBox="1">
            <a:spLocks noChangeArrowheads="1"/>
          </p:cNvSpPr>
          <p:nvPr/>
        </p:nvSpPr>
        <p:spPr bwMode="auto">
          <a:xfrm>
            <a:off x="323850" y="1650472"/>
            <a:ext cx="2104679" cy="215444"/>
          </a:xfrm>
          <a:prstGeom prst="rect">
            <a:avLst/>
          </a:prstGeom>
          <a:solidFill>
            <a:schemeClr val="bg1"/>
          </a:solidFill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dirty="0">
                <a:latin typeface="+mn-lt"/>
              </a:rPr>
              <a:t>Average 2. half-year </a:t>
            </a:r>
            <a:r>
              <a:rPr lang="de-DE" sz="1400" dirty="0" smtClean="0">
                <a:latin typeface="+mn-lt"/>
              </a:rPr>
              <a:t>2013 </a:t>
            </a:r>
            <a:endParaRPr lang="de-DE" sz="1400" dirty="0">
              <a:latin typeface="+mn-lt"/>
            </a:endParaRPr>
          </a:p>
        </p:txBody>
      </p:sp>
      <p:sp>
        <p:nvSpPr>
          <p:cNvPr id="9" name="RbLeanShape Left U-Shape 138"/>
          <p:cNvSpPr>
            <a:spLocks/>
          </p:cNvSpPr>
          <p:nvPr/>
        </p:nvSpPr>
        <p:spPr>
          <a:xfrm>
            <a:off x="323850" y="1947386"/>
            <a:ext cx="8496300" cy="4039346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gradFill flip="none" rotWithShape="1">
            <a:gsLst>
              <a:gs pos="0">
                <a:schemeClr val="bg2"/>
              </a:gs>
              <a:gs pos="53000">
                <a:schemeClr val="bg1"/>
              </a:gs>
            </a:gsLst>
            <a:lin ang="2700000" scaled="1"/>
            <a:tileRect/>
          </a:gradFill>
          <a:ln w="22225"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90000" rIns="0" bIns="0" rtlCol="0" anchor="t"/>
          <a:lstStyle/>
          <a:p>
            <a:pPr fontAlgn="ctr"/>
            <a:endParaRPr lang="de-DE" sz="1300" b="1"/>
          </a:p>
        </p:txBody>
      </p:sp>
      <p:sp>
        <p:nvSpPr>
          <p:cNvPr id="10" name="Freeform 2"/>
          <p:cNvSpPr>
            <a:spLocks/>
          </p:cNvSpPr>
          <p:nvPr/>
        </p:nvSpPr>
        <p:spPr bwMode="auto">
          <a:xfrm>
            <a:off x="2584581" y="4267613"/>
            <a:ext cx="463630" cy="689247"/>
          </a:xfrm>
          <a:custGeom>
            <a:avLst/>
            <a:gdLst>
              <a:gd name="T0" fmla="*/ 2147483647 w 307"/>
              <a:gd name="T1" fmla="*/ 0 h 436"/>
              <a:gd name="T2" fmla="*/ 2147483647 w 307"/>
              <a:gd name="T3" fmla="*/ 2147483647 h 436"/>
              <a:gd name="T4" fmla="*/ 2147483647 w 307"/>
              <a:gd name="T5" fmla="*/ 2147483647 h 436"/>
              <a:gd name="T6" fmla="*/ 2147483647 w 307"/>
              <a:gd name="T7" fmla="*/ 2147483647 h 436"/>
              <a:gd name="T8" fmla="*/ 2147483647 w 307"/>
              <a:gd name="T9" fmla="*/ 2147483647 h 436"/>
              <a:gd name="T10" fmla="*/ 2147483647 w 307"/>
              <a:gd name="T11" fmla="*/ 2147483647 h 436"/>
              <a:gd name="T12" fmla="*/ 2147483647 w 307"/>
              <a:gd name="T13" fmla="*/ 2147483647 h 436"/>
              <a:gd name="T14" fmla="*/ 2147483647 w 307"/>
              <a:gd name="T15" fmla="*/ 2147483647 h 436"/>
              <a:gd name="T16" fmla="*/ 2147483647 w 307"/>
              <a:gd name="T17" fmla="*/ 2147483647 h 436"/>
              <a:gd name="T18" fmla="*/ 2147483647 w 307"/>
              <a:gd name="T19" fmla="*/ 2147483647 h 436"/>
              <a:gd name="T20" fmla="*/ 2147483647 w 307"/>
              <a:gd name="T21" fmla="*/ 2147483647 h 436"/>
              <a:gd name="T22" fmla="*/ 2147483647 w 307"/>
              <a:gd name="T23" fmla="*/ 2147483647 h 436"/>
              <a:gd name="T24" fmla="*/ 2147483647 w 307"/>
              <a:gd name="T25" fmla="*/ 2147483647 h 436"/>
              <a:gd name="T26" fmla="*/ 2147483647 w 307"/>
              <a:gd name="T27" fmla="*/ 2147483647 h 436"/>
              <a:gd name="T28" fmla="*/ 2147483647 w 307"/>
              <a:gd name="T29" fmla="*/ 2147483647 h 436"/>
              <a:gd name="T30" fmla="*/ 2147483647 w 307"/>
              <a:gd name="T31" fmla="*/ 2147483647 h 436"/>
              <a:gd name="T32" fmla="*/ 2147483647 w 307"/>
              <a:gd name="T33" fmla="*/ 2147483647 h 436"/>
              <a:gd name="T34" fmla="*/ 2147483647 w 307"/>
              <a:gd name="T35" fmla="*/ 2147483647 h 436"/>
              <a:gd name="T36" fmla="*/ 2147483647 w 307"/>
              <a:gd name="T37" fmla="*/ 2147483647 h 436"/>
              <a:gd name="T38" fmla="*/ 2147483647 w 307"/>
              <a:gd name="T39" fmla="*/ 2147483647 h 436"/>
              <a:gd name="T40" fmla="*/ 2147483647 w 307"/>
              <a:gd name="T41" fmla="*/ 2147483647 h 436"/>
              <a:gd name="T42" fmla="*/ 0 w 307"/>
              <a:gd name="T43" fmla="*/ 2147483647 h 436"/>
              <a:gd name="T44" fmla="*/ 2147483647 w 307"/>
              <a:gd name="T45" fmla="*/ 2147483647 h 436"/>
              <a:gd name="T46" fmla="*/ 2147483647 w 307"/>
              <a:gd name="T47" fmla="*/ 2147483647 h 436"/>
              <a:gd name="T48" fmla="*/ 2147483647 w 307"/>
              <a:gd name="T49" fmla="*/ 2147483647 h 436"/>
              <a:gd name="T50" fmla="*/ 2147483647 w 307"/>
              <a:gd name="T51" fmla="*/ 2147483647 h 436"/>
              <a:gd name="T52" fmla="*/ 2147483647 w 307"/>
              <a:gd name="T53" fmla="*/ 2147483647 h 436"/>
              <a:gd name="T54" fmla="*/ 2147483647 w 307"/>
              <a:gd name="T55" fmla="*/ 2147483647 h 436"/>
              <a:gd name="T56" fmla="*/ 2147483647 w 307"/>
              <a:gd name="T57" fmla="*/ 2147483647 h 436"/>
              <a:gd name="T58" fmla="*/ 2147483647 w 307"/>
              <a:gd name="T59" fmla="*/ 2147483647 h 436"/>
              <a:gd name="T60" fmla="*/ 2147483647 w 307"/>
              <a:gd name="T61" fmla="*/ 2147483647 h 436"/>
              <a:gd name="T62" fmla="*/ 2147483647 w 307"/>
              <a:gd name="T63" fmla="*/ 2147483647 h 436"/>
              <a:gd name="T64" fmla="*/ 2147483647 w 307"/>
              <a:gd name="T65" fmla="*/ 2147483647 h 436"/>
              <a:gd name="T66" fmla="*/ 2147483647 w 307"/>
              <a:gd name="T67" fmla="*/ 2147483647 h 436"/>
              <a:gd name="T68" fmla="*/ 2147483647 w 307"/>
              <a:gd name="T69" fmla="*/ 2147483647 h 4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07"/>
              <a:gd name="T106" fmla="*/ 0 h 436"/>
              <a:gd name="T107" fmla="*/ 307 w 307"/>
              <a:gd name="T108" fmla="*/ 436 h 4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07" h="436">
                <a:moveTo>
                  <a:pt x="155" y="4"/>
                </a:moveTo>
                <a:lnTo>
                  <a:pt x="177" y="0"/>
                </a:lnTo>
                <a:lnTo>
                  <a:pt x="192" y="17"/>
                </a:lnTo>
                <a:lnTo>
                  <a:pt x="194" y="37"/>
                </a:lnTo>
                <a:lnTo>
                  <a:pt x="200" y="41"/>
                </a:lnTo>
                <a:lnTo>
                  <a:pt x="211" y="38"/>
                </a:lnTo>
                <a:lnTo>
                  <a:pt x="246" y="52"/>
                </a:lnTo>
                <a:lnTo>
                  <a:pt x="256" y="45"/>
                </a:lnTo>
                <a:lnTo>
                  <a:pt x="271" y="44"/>
                </a:lnTo>
                <a:lnTo>
                  <a:pt x="280" y="56"/>
                </a:lnTo>
                <a:lnTo>
                  <a:pt x="288" y="76"/>
                </a:lnTo>
                <a:lnTo>
                  <a:pt x="299" y="89"/>
                </a:lnTo>
                <a:lnTo>
                  <a:pt x="307" y="96"/>
                </a:lnTo>
                <a:lnTo>
                  <a:pt x="304" y="103"/>
                </a:lnTo>
                <a:lnTo>
                  <a:pt x="278" y="110"/>
                </a:lnTo>
                <a:lnTo>
                  <a:pt x="248" y="126"/>
                </a:lnTo>
                <a:lnTo>
                  <a:pt x="249" y="153"/>
                </a:lnTo>
                <a:lnTo>
                  <a:pt x="232" y="167"/>
                </a:lnTo>
                <a:lnTo>
                  <a:pt x="218" y="179"/>
                </a:lnTo>
                <a:lnTo>
                  <a:pt x="216" y="205"/>
                </a:lnTo>
                <a:lnTo>
                  <a:pt x="216" y="222"/>
                </a:lnTo>
                <a:lnTo>
                  <a:pt x="205" y="234"/>
                </a:lnTo>
                <a:lnTo>
                  <a:pt x="196" y="222"/>
                </a:lnTo>
                <a:lnTo>
                  <a:pt x="180" y="227"/>
                </a:lnTo>
                <a:lnTo>
                  <a:pt x="178" y="235"/>
                </a:lnTo>
                <a:lnTo>
                  <a:pt x="175" y="257"/>
                </a:lnTo>
                <a:lnTo>
                  <a:pt x="181" y="265"/>
                </a:lnTo>
                <a:lnTo>
                  <a:pt x="178" y="287"/>
                </a:lnTo>
                <a:lnTo>
                  <a:pt x="168" y="297"/>
                </a:lnTo>
                <a:lnTo>
                  <a:pt x="155" y="314"/>
                </a:lnTo>
                <a:lnTo>
                  <a:pt x="149" y="328"/>
                </a:lnTo>
                <a:lnTo>
                  <a:pt x="152" y="354"/>
                </a:lnTo>
                <a:lnTo>
                  <a:pt x="163" y="369"/>
                </a:lnTo>
                <a:lnTo>
                  <a:pt x="156" y="378"/>
                </a:lnTo>
                <a:lnTo>
                  <a:pt x="127" y="387"/>
                </a:lnTo>
                <a:lnTo>
                  <a:pt x="116" y="398"/>
                </a:lnTo>
                <a:lnTo>
                  <a:pt x="115" y="410"/>
                </a:lnTo>
                <a:lnTo>
                  <a:pt x="115" y="432"/>
                </a:lnTo>
                <a:lnTo>
                  <a:pt x="82" y="432"/>
                </a:lnTo>
                <a:lnTo>
                  <a:pt x="59" y="436"/>
                </a:lnTo>
                <a:lnTo>
                  <a:pt x="33" y="406"/>
                </a:lnTo>
                <a:lnTo>
                  <a:pt x="19" y="406"/>
                </a:lnTo>
                <a:lnTo>
                  <a:pt x="7" y="406"/>
                </a:lnTo>
                <a:lnTo>
                  <a:pt x="0" y="395"/>
                </a:lnTo>
                <a:lnTo>
                  <a:pt x="7" y="384"/>
                </a:lnTo>
                <a:lnTo>
                  <a:pt x="22" y="362"/>
                </a:lnTo>
                <a:lnTo>
                  <a:pt x="30" y="340"/>
                </a:lnTo>
                <a:lnTo>
                  <a:pt x="48" y="314"/>
                </a:lnTo>
                <a:lnTo>
                  <a:pt x="52" y="299"/>
                </a:lnTo>
                <a:lnTo>
                  <a:pt x="44" y="288"/>
                </a:lnTo>
                <a:lnTo>
                  <a:pt x="33" y="278"/>
                </a:lnTo>
                <a:lnTo>
                  <a:pt x="30" y="272"/>
                </a:lnTo>
                <a:lnTo>
                  <a:pt x="44" y="267"/>
                </a:lnTo>
                <a:lnTo>
                  <a:pt x="52" y="252"/>
                </a:lnTo>
                <a:lnTo>
                  <a:pt x="37" y="248"/>
                </a:lnTo>
                <a:lnTo>
                  <a:pt x="22" y="256"/>
                </a:lnTo>
                <a:lnTo>
                  <a:pt x="22" y="237"/>
                </a:lnTo>
                <a:lnTo>
                  <a:pt x="30" y="226"/>
                </a:lnTo>
                <a:lnTo>
                  <a:pt x="37" y="215"/>
                </a:lnTo>
                <a:lnTo>
                  <a:pt x="41" y="200"/>
                </a:lnTo>
                <a:lnTo>
                  <a:pt x="44" y="189"/>
                </a:lnTo>
                <a:lnTo>
                  <a:pt x="52" y="186"/>
                </a:lnTo>
                <a:lnTo>
                  <a:pt x="63" y="193"/>
                </a:lnTo>
                <a:lnTo>
                  <a:pt x="82" y="167"/>
                </a:lnTo>
                <a:lnTo>
                  <a:pt x="93" y="149"/>
                </a:lnTo>
                <a:lnTo>
                  <a:pt x="122" y="115"/>
                </a:lnTo>
                <a:lnTo>
                  <a:pt x="122" y="101"/>
                </a:lnTo>
                <a:lnTo>
                  <a:pt x="137" y="78"/>
                </a:lnTo>
                <a:lnTo>
                  <a:pt x="141" y="52"/>
                </a:lnTo>
                <a:lnTo>
                  <a:pt x="148" y="38"/>
                </a:lnTo>
                <a:lnTo>
                  <a:pt x="155" y="4"/>
                </a:lnTo>
                <a:close/>
              </a:path>
            </a:pathLst>
          </a:custGeom>
          <a:solidFill>
            <a:schemeClr val="accent5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11" name="Group 3"/>
          <p:cNvGrpSpPr>
            <a:grpSpLocks/>
          </p:cNvGrpSpPr>
          <p:nvPr/>
        </p:nvGrpSpPr>
        <p:grpSpPr bwMode="auto">
          <a:xfrm>
            <a:off x="2758253" y="4051037"/>
            <a:ext cx="1271586" cy="1135045"/>
            <a:chOff x="615" y="2958"/>
            <a:chExt cx="842" cy="718"/>
          </a:xfrm>
          <a:solidFill>
            <a:schemeClr val="accent5"/>
          </a:solidFill>
        </p:grpSpPr>
        <p:sp>
          <p:nvSpPr>
            <p:cNvPr id="71" name="Freeform 4"/>
            <p:cNvSpPr>
              <a:spLocks/>
            </p:cNvSpPr>
            <p:nvPr/>
          </p:nvSpPr>
          <p:spPr bwMode="auto">
            <a:xfrm>
              <a:off x="615" y="2958"/>
              <a:ext cx="811" cy="718"/>
            </a:xfrm>
            <a:custGeom>
              <a:avLst/>
              <a:gdLst>
                <a:gd name="T0" fmla="*/ 37 w 811"/>
                <a:gd name="T1" fmla="*/ 130 h 718"/>
                <a:gd name="T2" fmla="*/ 63 w 811"/>
                <a:gd name="T3" fmla="*/ 78 h 718"/>
                <a:gd name="T4" fmla="*/ 56 w 811"/>
                <a:gd name="T5" fmla="*/ 59 h 718"/>
                <a:gd name="T6" fmla="*/ 44 w 811"/>
                <a:gd name="T7" fmla="*/ 41 h 718"/>
                <a:gd name="T8" fmla="*/ 89 w 811"/>
                <a:gd name="T9" fmla="*/ 19 h 718"/>
                <a:gd name="T10" fmla="*/ 122 w 811"/>
                <a:gd name="T11" fmla="*/ 11 h 718"/>
                <a:gd name="T12" fmla="*/ 157 w 811"/>
                <a:gd name="T13" fmla="*/ 4 h 718"/>
                <a:gd name="T14" fmla="*/ 223 w 811"/>
                <a:gd name="T15" fmla="*/ 56 h 718"/>
                <a:gd name="T16" fmla="*/ 270 w 811"/>
                <a:gd name="T17" fmla="*/ 59 h 718"/>
                <a:gd name="T18" fmla="*/ 399 w 811"/>
                <a:gd name="T19" fmla="*/ 119 h 718"/>
                <a:gd name="T20" fmla="*/ 454 w 811"/>
                <a:gd name="T21" fmla="*/ 133 h 718"/>
                <a:gd name="T22" fmla="*/ 492 w 811"/>
                <a:gd name="T23" fmla="*/ 163 h 718"/>
                <a:gd name="T24" fmla="*/ 529 w 811"/>
                <a:gd name="T25" fmla="*/ 167 h 718"/>
                <a:gd name="T26" fmla="*/ 529 w 811"/>
                <a:gd name="T27" fmla="*/ 185 h 718"/>
                <a:gd name="T28" fmla="*/ 588 w 811"/>
                <a:gd name="T29" fmla="*/ 241 h 718"/>
                <a:gd name="T30" fmla="*/ 636 w 811"/>
                <a:gd name="T31" fmla="*/ 263 h 718"/>
                <a:gd name="T32" fmla="*/ 711 w 811"/>
                <a:gd name="T33" fmla="*/ 285 h 718"/>
                <a:gd name="T34" fmla="*/ 726 w 811"/>
                <a:gd name="T35" fmla="*/ 311 h 718"/>
                <a:gd name="T36" fmla="*/ 755 w 811"/>
                <a:gd name="T37" fmla="*/ 322 h 718"/>
                <a:gd name="T38" fmla="*/ 785 w 811"/>
                <a:gd name="T39" fmla="*/ 322 h 718"/>
                <a:gd name="T40" fmla="*/ 804 w 811"/>
                <a:gd name="T41" fmla="*/ 322 h 718"/>
                <a:gd name="T42" fmla="*/ 811 w 811"/>
                <a:gd name="T43" fmla="*/ 356 h 718"/>
                <a:gd name="T44" fmla="*/ 741 w 811"/>
                <a:gd name="T45" fmla="*/ 411 h 718"/>
                <a:gd name="T46" fmla="*/ 640 w 811"/>
                <a:gd name="T47" fmla="*/ 429 h 718"/>
                <a:gd name="T48" fmla="*/ 614 w 811"/>
                <a:gd name="T49" fmla="*/ 455 h 718"/>
                <a:gd name="T50" fmla="*/ 584 w 811"/>
                <a:gd name="T51" fmla="*/ 466 h 718"/>
                <a:gd name="T52" fmla="*/ 554 w 811"/>
                <a:gd name="T53" fmla="*/ 499 h 718"/>
                <a:gd name="T54" fmla="*/ 521 w 811"/>
                <a:gd name="T55" fmla="*/ 522 h 718"/>
                <a:gd name="T56" fmla="*/ 532 w 811"/>
                <a:gd name="T57" fmla="*/ 562 h 718"/>
                <a:gd name="T58" fmla="*/ 536 w 811"/>
                <a:gd name="T59" fmla="*/ 592 h 718"/>
                <a:gd name="T60" fmla="*/ 517 w 811"/>
                <a:gd name="T61" fmla="*/ 603 h 718"/>
                <a:gd name="T62" fmla="*/ 466 w 811"/>
                <a:gd name="T63" fmla="*/ 648 h 718"/>
                <a:gd name="T64" fmla="*/ 447 w 811"/>
                <a:gd name="T65" fmla="*/ 666 h 718"/>
                <a:gd name="T66" fmla="*/ 414 w 811"/>
                <a:gd name="T67" fmla="*/ 677 h 718"/>
                <a:gd name="T68" fmla="*/ 380 w 811"/>
                <a:gd name="T69" fmla="*/ 685 h 718"/>
                <a:gd name="T70" fmla="*/ 362 w 811"/>
                <a:gd name="T71" fmla="*/ 707 h 718"/>
                <a:gd name="T72" fmla="*/ 332 w 811"/>
                <a:gd name="T73" fmla="*/ 714 h 718"/>
                <a:gd name="T74" fmla="*/ 273 w 811"/>
                <a:gd name="T75" fmla="*/ 707 h 718"/>
                <a:gd name="T76" fmla="*/ 182 w 811"/>
                <a:gd name="T77" fmla="*/ 677 h 718"/>
                <a:gd name="T78" fmla="*/ 137 w 811"/>
                <a:gd name="T79" fmla="*/ 696 h 718"/>
                <a:gd name="T80" fmla="*/ 96 w 811"/>
                <a:gd name="T81" fmla="*/ 711 h 718"/>
                <a:gd name="T82" fmla="*/ 44 w 811"/>
                <a:gd name="T83" fmla="*/ 674 h 718"/>
                <a:gd name="T84" fmla="*/ 26 w 811"/>
                <a:gd name="T85" fmla="*/ 588 h 718"/>
                <a:gd name="T86" fmla="*/ 0 w 811"/>
                <a:gd name="T87" fmla="*/ 559 h 718"/>
                <a:gd name="T88" fmla="*/ 11 w 811"/>
                <a:gd name="T89" fmla="*/ 525 h 718"/>
                <a:gd name="T90" fmla="*/ 48 w 811"/>
                <a:gd name="T91" fmla="*/ 507 h 718"/>
                <a:gd name="T92" fmla="*/ 33 w 811"/>
                <a:gd name="T93" fmla="*/ 466 h 718"/>
                <a:gd name="T94" fmla="*/ 67 w 811"/>
                <a:gd name="T95" fmla="*/ 422 h 718"/>
                <a:gd name="T96" fmla="*/ 59 w 811"/>
                <a:gd name="T97" fmla="*/ 389 h 718"/>
                <a:gd name="T98" fmla="*/ 70 w 811"/>
                <a:gd name="T99" fmla="*/ 360 h 718"/>
                <a:gd name="T100" fmla="*/ 89 w 811"/>
                <a:gd name="T101" fmla="*/ 371 h 718"/>
                <a:gd name="T102" fmla="*/ 104 w 811"/>
                <a:gd name="T103" fmla="*/ 315 h 718"/>
                <a:gd name="T104" fmla="*/ 133 w 811"/>
                <a:gd name="T105" fmla="*/ 274 h 718"/>
                <a:gd name="T106" fmla="*/ 164 w 811"/>
                <a:gd name="T107" fmla="*/ 245 h 718"/>
                <a:gd name="T108" fmla="*/ 194 w 811"/>
                <a:gd name="T109" fmla="*/ 233 h 718"/>
                <a:gd name="T110" fmla="*/ 160 w 811"/>
                <a:gd name="T111" fmla="*/ 185 h 718"/>
                <a:gd name="T112" fmla="*/ 130 w 811"/>
                <a:gd name="T113" fmla="*/ 189 h 718"/>
                <a:gd name="T114" fmla="*/ 93 w 811"/>
                <a:gd name="T115" fmla="*/ 174 h 718"/>
                <a:gd name="T116" fmla="*/ 78 w 811"/>
                <a:gd name="T117" fmla="*/ 170 h 718"/>
                <a:gd name="T118" fmla="*/ 67 w 811"/>
                <a:gd name="T119" fmla="*/ 141 h 718"/>
                <a:gd name="T120" fmla="*/ 41 w 811"/>
                <a:gd name="T121" fmla="*/ 141 h 71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11"/>
                <a:gd name="T184" fmla="*/ 0 h 718"/>
                <a:gd name="T185" fmla="*/ 811 w 811"/>
                <a:gd name="T186" fmla="*/ 718 h 71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11" h="718">
                  <a:moveTo>
                    <a:pt x="41" y="141"/>
                  </a:moveTo>
                  <a:lnTo>
                    <a:pt x="37" y="130"/>
                  </a:lnTo>
                  <a:lnTo>
                    <a:pt x="41" y="115"/>
                  </a:lnTo>
                  <a:lnTo>
                    <a:pt x="63" y="78"/>
                  </a:lnTo>
                  <a:lnTo>
                    <a:pt x="52" y="70"/>
                  </a:lnTo>
                  <a:lnTo>
                    <a:pt x="56" y="59"/>
                  </a:lnTo>
                  <a:lnTo>
                    <a:pt x="44" y="56"/>
                  </a:lnTo>
                  <a:lnTo>
                    <a:pt x="44" y="41"/>
                  </a:lnTo>
                  <a:lnTo>
                    <a:pt x="52" y="30"/>
                  </a:lnTo>
                  <a:lnTo>
                    <a:pt x="89" y="19"/>
                  </a:lnTo>
                  <a:lnTo>
                    <a:pt x="119" y="22"/>
                  </a:lnTo>
                  <a:lnTo>
                    <a:pt x="122" y="11"/>
                  </a:lnTo>
                  <a:lnTo>
                    <a:pt x="145" y="0"/>
                  </a:lnTo>
                  <a:lnTo>
                    <a:pt x="157" y="4"/>
                  </a:lnTo>
                  <a:lnTo>
                    <a:pt x="182" y="37"/>
                  </a:lnTo>
                  <a:lnTo>
                    <a:pt x="223" y="56"/>
                  </a:lnTo>
                  <a:lnTo>
                    <a:pt x="260" y="56"/>
                  </a:lnTo>
                  <a:lnTo>
                    <a:pt x="270" y="59"/>
                  </a:lnTo>
                  <a:lnTo>
                    <a:pt x="369" y="115"/>
                  </a:lnTo>
                  <a:lnTo>
                    <a:pt x="399" y="119"/>
                  </a:lnTo>
                  <a:lnTo>
                    <a:pt x="421" y="141"/>
                  </a:lnTo>
                  <a:lnTo>
                    <a:pt x="454" y="133"/>
                  </a:lnTo>
                  <a:lnTo>
                    <a:pt x="473" y="145"/>
                  </a:lnTo>
                  <a:lnTo>
                    <a:pt x="492" y="163"/>
                  </a:lnTo>
                  <a:lnTo>
                    <a:pt x="514" y="163"/>
                  </a:lnTo>
                  <a:lnTo>
                    <a:pt x="529" y="167"/>
                  </a:lnTo>
                  <a:lnTo>
                    <a:pt x="536" y="174"/>
                  </a:lnTo>
                  <a:lnTo>
                    <a:pt x="529" y="185"/>
                  </a:lnTo>
                  <a:lnTo>
                    <a:pt x="529" y="200"/>
                  </a:lnTo>
                  <a:lnTo>
                    <a:pt x="588" y="241"/>
                  </a:lnTo>
                  <a:lnTo>
                    <a:pt x="621" y="267"/>
                  </a:lnTo>
                  <a:lnTo>
                    <a:pt x="636" y="263"/>
                  </a:lnTo>
                  <a:lnTo>
                    <a:pt x="654" y="259"/>
                  </a:lnTo>
                  <a:lnTo>
                    <a:pt x="711" y="285"/>
                  </a:lnTo>
                  <a:lnTo>
                    <a:pt x="718" y="304"/>
                  </a:lnTo>
                  <a:lnTo>
                    <a:pt x="726" y="311"/>
                  </a:lnTo>
                  <a:lnTo>
                    <a:pt x="744" y="315"/>
                  </a:lnTo>
                  <a:lnTo>
                    <a:pt x="755" y="322"/>
                  </a:lnTo>
                  <a:lnTo>
                    <a:pt x="770" y="322"/>
                  </a:lnTo>
                  <a:lnTo>
                    <a:pt x="785" y="322"/>
                  </a:lnTo>
                  <a:lnTo>
                    <a:pt x="800" y="326"/>
                  </a:lnTo>
                  <a:lnTo>
                    <a:pt x="804" y="322"/>
                  </a:lnTo>
                  <a:lnTo>
                    <a:pt x="811" y="337"/>
                  </a:lnTo>
                  <a:lnTo>
                    <a:pt x="811" y="356"/>
                  </a:lnTo>
                  <a:lnTo>
                    <a:pt x="800" y="367"/>
                  </a:lnTo>
                  <a:lnTo>
                    <a:pt x="741" y="411"/>
                  </a:lnTo>
                  <a:lnTo>
                    <a:pt x="715" y="411"/>
                  </a:lnTo>
                  <a:lnTo>
                    <a:pt x="640" y="429"/>
                  </a:lnTo>
                  <a:lnTo>
                    <a:pt x="614" y="433"/>
                  </a:lnTo>
                  <a:lnTo>
                    <a:pt x="614" y="455"/>
                  </a:lnTo>
                  <a:lnTo>
                    <a:pt x="599" y="455"/>
                  </a:lnTo>
                  <a:lnTo>
                    <a:pt x="584" y="466"/>
                  </a:lnTo>
                  <a:lnTo>
                    <a:pt x="569" y="485"/>
                  </a:lnTo>
                  <a:lnTo>
                    <a:pt x="554" y="499"/>
                  </a:lnTo>
                  <a:lnTo>
                    <a:pt x="536" y="503"/>
                  </a:lnTo>
                  <a:lnTo>
                    <a:pt x="521" y="522"/>
                  </a:lnTo>
                  <a:lnTo>
                    <a:pt x="521" y="548"/>
                  </a:lnTo>
                  <a:lnTo>
                    <a:pt x="532" y="562"/>
                  </a:lnTo>
                  <a:lnTo>
                    <a:pt x="536" y="573"/>
                  </a:lnTo>
                  <a:lnTo>
                    <a:pt x="536" y="592"/>
                  </a:lnTo>
                  <a:lnTo>
                    <a:pt x="532" y="599"/>
                  </a:lnTo>
                  <a:lnTo>
                    <a:pt x="517" y="603"/>
                  </a:lnTo>
                  <a:lnTo>
                    <a:pt x="495" y="622"/>
                  </a:lnTo>
                  <a:lnTo>
                    <a:pt x="466" y="648"/>
                  </a:lnTo>
                  <a:lnTo>
                    <a:pt x="454" y="659"/>
                  </a:lnTo>
                  <a:lnTo>
                    <a:pt x="447" y="666"/>
                  </a:lnTo>
                  <a:lnTo>
                    <a:pt x="447" y="677"/>
                  </a:lnTo>
                  <a:lnTo>
                    <a:pt x="414" y="677"/>
                  </a:lnTo>
                  <a:lnTo>
                    <a:pt x="395" y="681"/>
                  </a:lnTo>
                  <a:lnTo>
                    <a:pt x="380" y="685"/>
                  </a:lnTo>
                  <a:lnTo>
                    <a:pt x="373" y="692"/>
                  </a:lnTo>
                  <a:lnTo>
                    <a:pt x="362" y="707"/>
                  </a:lnTo>
                  <a:lnTo>
                    <a:pt x="343" y="714"/>
                  </a:lnTo>
                  <a:lnTo>
                    <a:pt x="332" y="714"/>
                  </a:lnTo>
                  <a:lnTo>
                    <a:pt x="310" y="711"/>
                  </a:lnTo>
                  <a:lnTo>
                    <a:pt x="273" y="707"/>
                  </a:lnTo>
                  <a:lnTo>
                    <a:pt x="208" y="681"/>
                  </a:lnTo>
                  <a:lnTo>
                    <a:pt x="182" y="677"/>
                  </a:lnTo>
                  <a:lnTo>
                    <a:pt x="157" y="685"/>
                  </a:lnTo>
                  <a:lnTo>
                    <a:pt x="137" y="696"/>
                  </a:lnTo>
                  <a:lnTo>
                    <a:pt x="115" y="699"/>
                  </a:lnTo>
                  <a:lnTo>
                    <a:pt x="96" y="711"/>
                  </a:lnTo>
                  <a:lnTo>
                    <a:pt x="85" y="718"/>
                  </a:lnTo>
                  <a:lnTo>
                    <a:pt x="44" y="674"/>
                  </a:lnTo>
                  <a:lnTo>
                    <a:pt x="44" y="611"/>
                  </a:lnTo>
                  <a:lnTo>
                    <a:pt x="26" y="588"/>
                  </a:lnTo>
                  <a:lnTo>
                    <a:pt x="4" y="570"/>
                  </a:lnTo>
                  <a:lnTo>
                    <a:pt x="0" y="559"/>
                  </a:lnTo>
                  <a:lnTo>
                    <a:pt x="0" y="536"/>
                  </a:lnTo>
                  <a:lnTo>
                    <a:pt x="11" y="525"/>
                  </a:lnTo>
                  <a:lnTo>
                    <a:pt x="41" y="514"/>
                  </a:lnTo>
                  <a:lnTo>
                    <a:pt x="48" y="507"/>
                  </a:lnTo>
                  <a:lnTo>
                    <a:pt x="37" y="492"/>
                  </a:lnTo>
                  <a:lnTo>
                    <a:pt x="33" y="466"/>
                  </a:lnTo>
                  <a:lnTo>
                    <a:pt x="44" y="444"/>
                  </a:lnTo>
                  <a:lnTo>
                    <a:pt x="67" y="422"/>
                  </a:lnTo>
                  <a:lnTo>
                    <a:pt x="67" y="404"/>
                  </a:lnTo>
                  <a:lnTo>
                    <a:pt x="59" y="389"/>
                  </a:lnTo>
                  <a:lnTo>
                    <a:pt x="67" y="363"/>
                  </a:lnTo>
                  <a:lnTo>
                    <a:pt x="70" y="360"/>
                  </a:lnTo>
                  <a:lnTo>
                    <a:pt x="81" y="360"/>
                  </a:lnTo>
                  <a:lnTo>
                    <a:pt x="89" y="371"/>
                  </a:lnTo>
                  <a:lnTo>
                    <a:pt x="100" y="356"/>
                  </a:lnTo>
                  <a:lnTo>
                    <a:pt x="104" y="315"/>
                  </a:lnTo>
                  <a:lnTo>
                    <a:pt x="133" y="289"/>
                  </a:lnTo>
                  <a:lnTo>
                    <a:pt x="133" y="274"/>
                  </a:lnTo>
                  <a:lnTo>
                    <a:pt x="133" y="263"/>
                  </a:lnTo>
                  <a:lnTo>
                    <a:pt x="164" y="245"/>
                  </a:lnTo>
                  <a:lnTo>
                    <a:pt x="186" y="241"/>
                  </a:lnTo>
                  <a:lnTo>
                    <a:pt x="194" y="233"/>
                  </a:lnTo>
                  <a:lnTo>
                    <a:pt x="175" y="215"/>
                  </a:lnTo>
                  <a:lnTo>
                    <a:pt x="160" y="185"/>
                  </a:lnTo>
                  <a:lnTo>
                    <a:pt x="153" y="178"/>
                  </a:lnTo>
                  <a:lnTo>
                    <a:pt x="130" y="189"/>
                  </a:lnTo>
                  <a:lnTo>
                    <a:pt x="115" y="182"/>
                  </a:lnTo>
                  <a:lnTo>
                    <a:pt x="93" y="174"/>
                  </a:lnTo>
                  <a:lnTo>
                    <a:pt x="85" y="178"/>
                  </a:lnTo>
                  <a:lnTo>
                    <a:pt x="78" y="170"/>
                  </a:lnTo>
                  <a:lnTo>
                    <a:pt x="78" y="156"/>
                  </a:lnTo>
                  <a:lnTo>
                    <a:pt x="67" y="141"/>
                  </a:lnTo>
                  <a:lnTo>
                    <a:pt x="59" y="137"/>
                  </a:lnTo>
                  <a:lnTo>
                    <a:pt x="41" y="141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72" name="Freeform 5"/>
            <p:cNvSpPr>
              <a:spLocks/>
            </p:cNvSpPr>
            <p:nvPr/>
          </p:nvSpPr>
          <p:spPr bwMode="auto">
            <a:xfrm>
              <a:off x="1232" y="3554"/>
              <a:ext cx="31" cy="22"/>
            </a:xfrm>
            <a:custGeom>
              <a:avLst/>
              <a:gdLst>
                <a:gd name="T0" fmla="*/ 31 w 31"/>
                <a:gd name="T1" fmla="*/ 0 h 22"/>
                <a:gd name="T2" fmla="*/ 16 w 31"/>
                <a:gd name="T3" fmla="*/ 0 h 22"/>
                <a:gd name="T4" fmla="*/ 0 w 31"/>
                <a:gd name="T5" fmla="*/ 15 h 22"/>
                <a:gd name="T6" fmla="*/ 8 w 31"/>
                <a:gd name="T7" fmla="*/ 22 h 22"/>
                <a:gd name="T8" fmla="*/ 23 w 31"/>
                <a:gd name="T9" fmla="*/ 22 h 22"/>
                <a:gd name="T10" fmla="*/ 31 w 31"/>
                <a:gd name="T11" fmla="*/ 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"/>
                <a:gd name="T19" fmla="*/ 0 h 22"/>
                <a:gd name="T20" fmla="*/ 31 w 31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" h="22">
                  <a:moveTo>
                    <a:pt x="31" y="0"/>
                  </a:moveTo>
                  <a:lnTo>
                    <a:pt x="16" y="0"/>
                  </a:lnTo>
                  <a:lnTo>
                    <a:pt x="0" y="15"/>
                  </a:lnTo>
                  <a:lnTo>
                    <a:pt x="8" y="22"/>
                  </a:lnTo>
                  <a:lnTo>
                    <a:pt x="23" y="22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73" name="Freeform 6"/>
            <p:cNvSpPr>
              <a:spLocks/>
            </p:cNvSpPr>
            <p:nvPr/>
          </p:nvSpPr>
          <p:spPr bwMode="auto">
            <a:xfrm>
              <a:off x="1323" y="3498"/>
              <a:ext cx="71" cy="56"/>
            </a:xfrm>
            <a:custGeom>
              <a:avLst/>
              <a:gdLst>
                <a:gd name="T0" fmla="*/ 52 w 71"/>
                <a:gd name="T1" fmla="*/ 0 h 56"/>
                <a:gd name="T2" fmla="*/ 45 w 71"/>
                <a:gd name="T3" fmla="*/ 7 h 56"/>
                <a:gd name="T4" fmla="*/ 15 w 71"/>
                <a:gd name="T5" fmla="*/ 11 h 56"/>
                <a:gd name="T6" fmla="*/ 0 w 71"/>
                <a:gd name="T7" fmla="*/ 30 h 56"/>
                <a:gd name="T8" fmla="*/ 22 w 71"/>
                <a:gd name="T9" fmla="*/ 45 h 56"/>
                <a:gd name="T10" fmla="*/ 34 w 71"/>
                <a:gd name="T11" fmla="*/ 56 h 56"/>
                <a:gd name="T12" fmla="*/ 56 w 71"/>
                <a:gd name="T13" fmla="*/ 52 h 56"/>
                <a:gd name="T14" fmla="*/ 71 w 71"/>
                <a:gd name="T15" fmla="*/ 45 h 56"/>
                <a:gd name="T16" fmla="*/ 67 w 71"/>
                <a:gd name="T17" fmla="*/ 30 h 56"/>
                <a:gd name="T18" fmla="*/ 56 w 71"/>
                <a:gd name="T19" fmla="*/ 19 h 56"/>
                <a:gd name="T20" fmla="*/ 52 w 71"/>
                <a:gd name="T21" fmla="*/ 0 h 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1"/>
                <a:gd name="T34" fmla="*/ 0 h 56"/>
                <a:gd name="T35" fmla="*/ 71 w 71"/>
                <a:gd name="T36" fmla="*/ 56 h 5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1" h="56">
                  <a:moveTo>
                    <a:pt x="52" y="0"/>
                  </a:moveTo>
                  <a:lnTo>
                    <a:pt x="45" y="7"/>
                  </a:lnTo>
                  <a:lnTo>
                    <a:pt x="15" y="11"/>
                  </a:lnTo>
                  <a:lnTo>
                    <a:pt x="0" y="30"/>
                  </a:lnTo>
                  <a:lnTo>
                    <a:pt x="22" y="45"/>
                  </a:lnTo>
                  <a:lnTo>
                    <a:pt x="34" y="56"/>
                  </a:lnTo>
                  <a:lnTo>
                    <a:pt x="56" y="52"/>
                  </a:lnTo>
                  <a:lnTo>
                    <a:pt x="71" y="45"/>
                  </a:lnTo>
                  <a:lnTo>
                    <a:pt x="67" y="30"/>
                  </a:lnTo>
                  <a:lnTo>
                    <a:pt x="56" y="19"/>
                  </a:lnTo>
                  <a:lnTo>
                    <a:pt x="52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74" name="Freeform 7"/>
            <p:cNvSpPr>
              <a:spLocks/>
            </p:cNvSpPr>
            <p:nvPr/>
          </p:nvSpPr>
          <p:spPr bwMode="auto">
            <a:xfrm>
              <a:off x="1434" y="3502"/>
              <a:ext cx="23" cy="29"/>
            </a:xfrm>
            <a:custGeom>
              <a:avLst/>
              <a:gdLst>
                <a:gd name="T0" fmla="*/ 15 w 23"/>
                <a:gd name="T1" fmla="*/ 0 h 29"/>
                <a:gd name="T2" fmla="*/ 0 w 23"/>
                <a:gd name="T3" fmla="*/ 7 h 29"/>
                <a:gd name="T4" fmla="*/ 12 w 23"/>
                <a:gd name="T5" fmla="*/ 18 h 29"/>
                <a:gd name="T6" fmla="*/ 23 w 23"/>
                <a:gd name="T7" fmla="*/ 29 h 29"/>
                <a:gd name="T8" fmla="*/ 15 w 23"/>
                <a:gd name="T9" fmla="*/ 0 h 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"/>
                <a:gd name="T16" fmla="*/ 0 h 29"/>
                <a:gd name="T17" fmla="*/ 23 w 23"/>
                <a:gd name="T18" fmla="*/ 29 h 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" h="29">
                  <a:moveTo>
                    <a:pt x="15" y="0"/>
                  </a:moveTo>
                  <a:lnTo>
                    <a:pt x="0" y="7"/>
                  </a:lnTo>
                  <a:lnTo>
                    <a:pt x="12" y="18"/>
                  </a:lnTo>
                  <a:lnTo>
                    <a:pt x="23" y="29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</p:grpSp>
      <p:grpSp>
        <p:nvGrpSpPr>
          <p:cNvPr id="12" name="Group 8"/>
          <p:cNvGrpSpPr>
            <a:grpSpLocks/>
          </p:cNvGrpSpPr>
          <p:nvPr/>
        </p:nvGrpSpPr>
        <p:grpSpPr bwMode="auto">
          <a:xfrm>
            <a:off x="4398326" y="4085817"/>
            <a:ext cx="1113016" cy="1468603"/>
            <a:chOff x="1701" y="2980"/>
            <a:chExt cx="737" cy="929"/>
          </a:xfrm>
          <a:solidFill>
            <a:schemeClr val="accent5"/>
          </a:solidFill>
        </p:grpSpPr>
        <p:sp>
          <p:nvSpPr>
            <p:cNvPr id="68" name="Freeform 9"/>
            <p:cNvSpPr>
              <a:spLocks/>
            </p:cNvSpPr>
            <p:nvPr/>
          </p:nvSpPr>
          <p:spPr bwMode="auto">
            <a:xfrm>
              <a:off x="1727" y="3472"/>
              <a:ext cx="119" cy="193"/>
            </a:xfrm>
            <a:custGeom>
              <a:avLst/>
              <a:gdLst>
                <a:gd name="T0" fmla="*/ 71 w 119"/>
                <a:gd name="T1" fmla="*/ 0 h 193"/>
                <a:gd name="T2" fmla="*/ 52 w 119"/>
                <a:gd name="T3" fmla="*/ 11 h 193"/>
                <a:gd name="T4" fmla="*/ 37 w 119"/>
                <a:gd name="T5" fmla="*/ 22 h 193"/>
                <a:gd name="T6" fmla="*/ 22 w 119"/>
                <a:gd name="T7" fmla="*/ 26 h 193"/>
                <a:gd name="T8" fmla="*/ 0 w 119"/>
                <a:gd name="T9" fmla="*/ 22 h 193"/>
                <a:gd name="T10" fmla="*/ 4 w 119"/>
                <a:gd name="T11" fmla="*/ 45 h 193"/>
                <a:gd name="T12" fmla="*/ 15 w 119"/>
                <a:gd name="T13" fmla="*/ 59 h 193"/>
                <a:gd name="T14" fmla="*/ 11 w 119"/>
                <a:gd name="T15" fmla="*/ 97 h 193"/>
                <a:gd name="T16" fmla="*/ 11 w 119"/>
                <a:gd name="T17" fmla="*/ 115 h 193"/>
                <a:gd name="T18" fmla="*/ 15 w 119"/>
                <a:gd name="T19" fmla="*/ 130 h 193"/>
                <a:gd name="T20" fmla="*/ 4 w 119"/>
                <a:gd name="T21" fmla="*/ 160 h 193"/>
                <a:gd name="T22" fmla="*/ 7 w 119"/>
                <a:gd name="T23" fmla="*/ 182 h 193"/>
                <a:gd name="T24" fmla="*/ 22 w 119"/>
                <a:gd name="T25" fmla="*/ 193 h 193"/>
                <a:gd name="T26" fmla="*/ 44 w 119"/>
                <a:gd name="T27" fmla="*/ 178 h 193"/>
                <a:gd name="T28" fmla="*/ 52 w 119"/>
                <a:gd name="T29" fmla="*/ 174 h 193"/>
                <a:gd name="T30" fmla="*/ 75 w 119"/>
                <a:gd name="T31" fmla="*/ 178 h 193"/>
                <a:gd name="T32" fmla="*/ 90 w 119"/>
                <a:gd name="T33" fmla="*/ 163 h 193"/>
                <a:gd name="T34" fmla="*/ 90 w 119"/>
                <a:gd name="T35" fmla="*/ 148 h 193"/>
                <a:gd name="T36" fmla="*/ 108 w 119"/>
                <a:gd name="T37" fmla="*/ 119 h 193"/>
                <a:gd name="T38" fmla="*/ 115 w 119"/>
                <a:gd name="T39" fmla="*/ 100 h 193"/>
                <a:gd name="T40" fmla="*/ 108 w 119"/>
                <a:gd name="T41" fmla="*/ 82 h 193"/>
                <a:gd name="T42" fmla="*/ 119 w 119"/>
                <a:gd name="T43" fmla="*/ 59 h 193"/>
                <a:gd name="T44" fmla="*/ 112 w 119"/>
                <a:gd name="T45" fmla="*/ 26 h 193"/>
                <a:gd name="T46" fmla="*/ 108 w 119"/>
                <a:gd name="T47" fmla="*/ 7 h 193"/>
                <a:gd name="T48" fmla="*/ 71 w 119"/>
                <a:gd name="T49" fmla="*/ 0 h 19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19"/>
                <a:gd name="T76" fmla="*/ 0 h 193"/>
                <a:gd name="T77" fmla="*/ 119 w 119"/>
                <a:gd name="T78" fmla="*/ 193 h 19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19" h="193">
                  <a:moveTo>
                    <a:pt x="71" y="0"/>
                  </a:moveTo>
                  <a:lnTo>
                    <a:pt x="52" y="11"/>
                  </a:lnTo>
                  <a:lnTo>
                    <a:pt x="37" y="22"/>
                  </a:lnTo>
                  <a:lnTo>
                    <a:pt x="22" y="26"/>
                  </a:lnTo>
                  <a:lnTo>
                    <a:pt x="0" y="22"/>
                  </a:lnTo>
                  <a:lnTo>
                    <a:pt x="4" y="45"/>
                  </a:lnTo>
                  <a:lnTo>
                    <a:pt x="15" y="59"/>
                  </a:lnTo>
                  <a:lnTo>
                    <a:pt x="11" y="97"/>
                  </a:lnTo>
                  <a:lnTo>
                    <a:pt x="11" y="115"/>
                  </a:lnTo>
                  <a:lnTo>
                    <a:pt x="15" y="130"/>
                  </a:lnTo>
                  <a:lnTo>
                    <a:pt x="4" y="160"/>
                  </a:lnTo>
                  <a:lnTo>
                    <a:pt x="7" y="182"/>
                  </a:lnTo>
                  <a:lnTo>
                    <a:pt x="22" y="193"/>
                  </a:lnTo>
                  <a:lnTo>
                    <a:pt x="44" y="178"/>
                  </a:lnTo>
                  <a:lnTo>
                    <a:pt x="52" y="174"/>
                  </a:lnTo>
                  <a:lnTo>
                    <a:pt x="75" y="178"/>
                  </a:lnTo>
                  <a:lnTo>
                    <a:pt x="90" y="163"/>
                  </a:lnTo>
                  <a:lnTo>
                    <a:pt x="90" y="148"/>
                  </a:lnTo>
                  <a:lnTo>
                    <a:pt x="108" y="119"/>
                  </a:lnTo>
                  <a:lnTo>
                    <a:pt x="115" y="100"/>
                  </a:lnTo>
                  <a:lnTo>
                    <a:pt x="108" y="82"/>
                  </a:lnTo>
                  <a:lnTo>
                    <a:pt x="119" y="59"/>
                  </a:lnTo>
                  <a:lnTo>
                    <a:pt x="112" y="26"/>
                  </a:lnTo>
                  <a:lnTo>
                    <a:pt x="108" y="7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69" name="Freeform 10"/>
            <p:cNvSpPr>
              <a:spLocks/>
            </p:cNvSpPr>
            <p:nvPr/>
          </p:nvSpPr>
          <p:spPr bwMode="auto">
            <a:xfrm>
              <a:off x="2002" y="3773"/>
              <a:ext cx="216" cy="136"/>
            </a:xfrm>
            <a:custGeom>
              <a:avLst/>
              <a:gdLst>
                <a:gd name="T0" fmla="*/ 205 w 216"/>
                <a:gd name="T1" fmla="*/ 0 h 136"/>
                <a:gd name="T2" fmla="*/ 216 w 216"/>
                <a:gd name="T3" fmla="*/ 11 h 136"/>
                <a:gd name="T4" fmla="*/ 209 w 216"/>
                <a:gd name="T5" fmla="*/ 22 h 136"/>
                <a:gd name="T6" fmla="*/ 201 w 216"/>
                <a:gd name="T7" fmla="*/ 40 h 136"/>
                <a:gd name="T8" fmla="*/ 190 w 216"/>
                <a:gd name="T9" fmla="*/ 51 h 136"/>
                <a:gd name="T10" fmla="*/ 194 w 216"/>
                <a:gd name="T11" fmla="*/ 85 h 136"/>
                <a:gd name="T12" fmla="*/ 201 w 216"/>
                <a:gd name="T13" fmla="*/ 110 h 136"/>
                <a:gd name="T14" fmla="*/ 182 w 216"/>
                <a:gd name="T15" fmla="*/ 121 h 136"/>
                <a:gd name="T16" fmla="*/ 179 w 216"/>
                <a:gd name="T17" fmla="*/ 132 h 136"/>
                <a:gd name="T18" fmla="*/ 164 w 216"/>
                <a:gd name="T19" fmla="*/ 136 h 136"/>
                <a:gd name="T20" fmla="*/ 142 w 216"/>
                <a:gd name="T21" fmla="*/ 114 h 136"/>
                <a:gd name="T22" fmla="*/ 127 w 216"/>
                <a:gd name="T23" fmla="*/ 114 h 136"/>
                <a:gd name="T24" fmla="*/ 115 w 216"/>
                <a:gd name="T25" fmla="*/ 96 h 136"/>
                <a:gd name="T26" fmla="*/ 93 w 216"/>
                <a:gd name="T27" fmla="*/ 85 h 136"/>
                <a:gd name="T28" fmla="*/ 78 w 216"/>
                <a:gd name="T29" fmla="*/ 81 h 136"/>
                <a:gd name="T30" fmla="*/ 63 w 216"/>
                <a:gd name="T31" fmla="*/ 74 h 136"/>
                <a:gd name="T32" fmla="*/ 48 w 216"/>
                <a:gd name="T33" fmla="*/ 62 h 136"/>
                <a:gd name="T34" fmla="*/ 22 w 216"/>
                <a:gd name="T35" fmla="*/ 44 h 136"/>
                <a:gd name="T36" fmla="*/ 11 w 216"/>
                <a:gd name="T37" fmla="*/ 40 h 136"/>
                <a:gd name="T38" fmla="*/ 0 w 216"/>
                <a:gd name="T39" fmla="*/ 29 h 136"/>
                <a:gd name="T40" fmla="*/ 0 w 216"/>
                <a:gd name="T41" fmla="*/ 15 h 136"/>
                <a:gd name="T42" fmla="*/ 4 w 216"/>
                <a:gd name="T43" fmla="*/ 4 h 136"/>
                <a:gd name="T44" fmla="*/ 26 w 216"/>
                <a:gd name="T45" fmla="*/ 7 h 136"/>
                <a:gd name="T46" fmla="*/ 60 w 216"/>
                <a:gd name="T47" fmla="*/ 7 h 136"/>
                <a:gd name="T48" fmla="*/ 67 w 216"/>
                <a:gd name="T49" fmla="*/ 18 h 136"/>
                <a:gd name="T50" fmla="*/ 104 w 216"/>
                <a:gd name="T51" fmla="*/ 18 h 136"/>
                <a:gd name="T52" fmla="*/ 130 w 216"/>
                <a:gd name="T53" fmla="*/ 18 h 136"/>
                <a:gd name="T54" fmla="*/ 164 w 216"/>
                <a:gd name="T55" fmla="*/ 11 h 136"/>
                <a:gd name="T56" fmla="*/ 205 w 216"/>
                <a:gd name="T57" fmla="*/ 0 h 1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16"/>
                <a:gd name="T88" fmla="*/ 0 h 136"/>
                <a:gd name="T89" fmla="*/ 216 w 216"/>
                <a:gd name="T90" fmla="*/ 136 h 1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16" h="136">
                  <a:moveTo>
                    <a:pt x="205" y="0"/>
                  </a:moveTo>
                  <a:lnTo>
                    <a:pt x="216" y="11"/>
                  </a:lnTo>
                  <a:lnTo>
                    <a:pt x="209" y="22"/>
                  </a:lnTo>
                  <a:lnTo>
                    <a:pt x="201" y="40"/>
                  </a:lnTo>
                  <a:lnTo>
                    <a:pt x="190" y="51"/>
                  </a:lnTo>
                  <a:lnTo>
                    <a:pt x="194" y="85"/>
                  </a:lnTo>
                  <a:lnTo>
                    <a:pt x="201" y="110"/>
                  </a:lnTo>
                  <a:lnTo>
                    <a:pt x="182" y="121"/>
                  </a:lnTo>
                  <a:lnTo>
                    <a:pt x="179" y="132"/>
                  </a:lnTo>
                  <a:lnTo>
                    <a:pt x="164" y="136"/>
                  </a:lnTo>
                  <a:lnTo>
                    <a:pt x="142" y="114"/>
                  </a:lnTo>
                  <a:lnTo>
                    <a:pt x="127" y="114"/>
                  </a:lnTo>
                  <a:lnTo>
                    <a:pt x="115" y="96"/>
                  </a:lnTo>
                  <a:lnTo>
                    <a:pt x="93" y="85"/>
                  </a:lnTo>
                  <a:lnTo>
                    <a:pt x="78" y="81"/>
                  </a:lnTo>
                  <a:lnTo>
                    <a:pt x="63" y="74"/>
                  </a:lnTo>
                  <a:lnTo>
                    <a:pt x="48" y="62"/>
                  </a:lnTo>
                  <a:lnTo>
                    <a:pt x="22" y="44"/>
                  </a:lnTo>
                  <a:lnTo>
                    <a:pt x="11" y="40"/>
                  </a:lnTo>
                  <a:lnTo>
                    <a:pt x="0" y="29"/>
                  </a:lnTo>
                  <a:lnTo>
                    <a:pt x="0" y="15"/>
                  </a:lnTo>
                  <a:lnTo>
                    <a:pt x="4" y="4"/>
                  </a:lnTo>
                  <a:lnTo>
                    <a:pt x="26" y="7"/>
                  </a:lnTo>
                  <a:lnTo>
                    <a:pt x="60" y="7"/>
                  </a:lnTo>
                  <a:lnTo>
                    <a:pt x="67" y="18"/>
                  </a:lnTo>
                  <a:lnTo>
                    <a:pt x="104" y="18"/>
                  </a:lnTo>
                  <a:lnTo>
                    <a:pt x="130" y="18"/>
                  </a:lnTo>
                  <a:lnTo>
                    <a:pt x="164" y="11"/>
                  </a:lnTo>
                  <a:lnTo>
                    <a:pt x="20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70" name="Freeform 11"/>
            <p:cNvSpPr>
              <a:spLocks/>
            </p:cNvSpPr>
            <p:nvPr/>
          </p:nvSpPr>
          <p:spPr bwMode="auto">
            <a:xfrm>
              <a:off x="1701" y="2980"/>
              <a:ext cx="737" cy="830"/>
            </a:xfrm>
            <a:custGeom>
              <a:avLst/>
              <a:gdLst>
                <a:gd name="T0" fmla="*/ 564 w 737"/>
                <a:gd name="T1" fmla="*/ 819 h 830"/>
                <a:gd name="T2" fmla="*/ 609 w 737"/>
                <a:gd name="T3" fmla="*/ 741 h 830"/>
                <a:gd name="T4" fmla="*/ 628 w 737"/>
                <a:gd name="T5" fmla="*/ 715 h 830"/>
                <a:gd name="T6" fmla="*/ 613 w 737"/>
                <a:gd name="T7" fmla="*/ 678 h 830"/>
                <a:gd name="T8" fmla="*/ 594 w 737"/>
                <a:gd name="T9" fmla="*/ 674 h 830"/>
                <a:gd name="T10" fmla="*/ 609 w 737"/>
                <a:gd name="T11" fmla="*/ 645 h 830"/>
                <a:gd name="T12" fmla="*/ 632 w 737"/>
                <a:gd name="T13" fmla="*/ 604 h 830"/>
                <a:gd name="T14" fmla="*/ 702 w 737"/>
                <a:gd name="T15" fmla="*/ 652 h 830"/>
                <a:gd name="T16" fmla="*/ 731 w 737"/>
                <a:gd name="T17" fmla="*/ 652 h 830"/>
                <a:gd name="T18" fmla="*/ 709 w 737"/>
                <a:gd name="T19" fmla="*/ 596 h 830"/>
                <a:gd name="T20" fmla="*/ 687 w 737"/>
                <a:gd name="T21" fmla="*/ 593 h 830"/>
                <a:gd name="T22" fmla="*/ 609 w 737"/>
                <a:gd name="T23" fmla="*/ 530 h 830"/>
                <a:gd name="T24" fmla="*/ 560 w 737"/>
                <a:gd name="T25" fmla="*/ 496 h 830"/>
                <a:gd name="T26" fmla="*/ 564 w 737"/>
                <a:gd name="T27" fmla="*/ 474 h 830"/>
                <a:gd name="T28" fmla="*/ 490 w 737"/>
                <a:gd name="T29" fmla="*/ 440 h 830"/>
                <a:gd name="T30" fmla="*/ 457 w 737"/>
                <a:gd name="T31" fmla="*/ 411 h 830"/>
                <a:gd name="T32" fmla="*/ 379 w 737"/>
                <a:gd name="T33" fmla="*/ 293 h 830"/>
                <a:gd name="T34" fmla="*/ 364 w 737"/>
                <a:gd name="T35" fmla="*/ 200 h 830"/>
                <a:gd name="T36" fmla="*/ 342 w 737"/>
                <a:gd name="T37" fmla="*/ 163 h 830"/>
                <a:gd name="T38" fmla="*/ 405 w 737"/>
                <a:gd name="T39" fmla="*/ 134 h 830"/>
                <a:gd name="T40" fmla="*/ 434 w 737"/>
                <a:gd name="T41" fmla="*/ 70 h 830"/>
                <a:gd name="T42" fmla="*/ 368 w 737"/>
                <a:gd name="T43" fmla="*/ 41 h 830"/>
                <a:gd name="T44" fmla="*/ 357 w 737"/>
                <a:gd name="T45" fmla="*/ 15 h 830"/>
                <a:gd name="T46" fmla="*/ 264 w 737"/>
                <a:gd name="T47" fmla="*/ 4 h 830"/>
                <a:gd name="T48" fmla="*/ 220 w 737"/>
                <a:gd name="T49" fmla="*/ 52 h 830"/>
                <a:gd name="T50" fmla="*/ 182 w 737"/>
                <a:gd name="T51" fmla="*/ 48 h 830"/>
                <a:gd name="T52" fmla="*/ 134 w 737"/>
                <a:gd name="T53" fmla="*/ 63 h 830"/>
                <a:gd name="T54" fmla="*/ 116 w 737"/>
                <a:gd name="T55" fmla="*/ 30 h 830"/>
                <a:gd name="T56" fmla="*/ 90 w 737"/>
                <a:gd name="T57" fmla="*/ 59 h 830"/>
                <a:gd name="T58" fmla="*/ 22 w 737"/>
                <a:gd name="T59" fmla="*/ 85 h 830"/>
                <a:gd name="T60" fmla="*/ 7 w 737"/>
                <a:gd name="T61" fmla="*/ 137 h 830"/>
                <a:gd name="T62" fmla="*/ 0 w 737"/>
                <a:gd name="T63" fmla="*/ 189 h 830"/>
                <a:gd name="T64" fmla="*/ 30 w 737"/>
                <a:gd name="T65" fmla="*/ 208 h 830"/>
                <a:gd name="T66" fmla="*/ 52 w 737"/>
                <a:gd name="T67" fmla="*/ 249 h 830"/>
                <a:gd name="T68" fmla="*/ 123 w 737"/>
                <a:gd name="T69" fmla="*/ 211 h 830"/>
                <a:gd name="T70" fmla="*/ 190 w 737"/>
                <a:gd name="T71" fmla="*/ 271 h 830"/>
                <a:gd name="T72" fmla="*/ 220 w 737"/>
                <a:gd name="T73" fmla="*/ 352 h 830"/>
                <a:gd name="T74" fmla="*/ 271 w 737"/>
                <a:gd name="T75" fmla="*/ 397 h 830"/>
                <a:gd name="T76" fmla="*/ 338 w 737"/>
                <a:gd name="T77" fmla="*/ 478 h 830"/>
                <a:gd name="T78" fmla="*/ 442 w 737"/>
                <a:gd name="T79" fmla="*/ 555 h 830"/>
                <a:gd name="T80" fmla="*/ 475 w 737"/>
                <a:gd name="T81" fmla="*/ 578 h 830"/>
                <a:gd name="T82" fmla="*/ 501 w 737"/>
                <a:gd name="T83" fmla="*/ 630 h 830"/>
                <a:gd name="T84" fmla="*/ 542 w 737"/>
                <a:gd name="T85" fmla="*/ 645 h 830"/>
                <a:gd name="T86" fmla="*/ 557 w 737"/>
                <a:gd name="T87" fmla="*/ 711 h 830"/>
                <a:gd name="T88" fmla="*/ 545 w 737"/>
                <a:gd name="T89" fmla="*/ 760 h 830"/>
                <a:gd name="T90" fmla="*/ 534 w 737"/>
                <a:gd name="T91" fmla="*/ 819 h 8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37"/>
                <a:gd name="T139" fmla="*/ 0 h 830"/>
                <a:gd name="T140" fmla="*/ 737 w 737"/>
                <a:gd name="T141" fmla="*/ 830 h 83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37" h="830">
                  <a:moveTo>
                    <a:pt x="534" y="819"/>
                  </a:moveTo>
                  <a:lnTo>
                    <a:pt x="545" y="830"/>
                  </a:lnTo>
                  <a:lnTo>
                    <a:pt x="564" y="819"/>
                  </a:lnTo>
                  <a:lnTo>
                    <a:pt x="586" y="789"/>
                  </a:lnTo>
                  <a:lnTo>
                    <a:pt x="597" y="745"/>
                  </a:lnTo>
                  <a:lnTo>
                    <a:pt x="609" y="741"/>
                  </a:lnTo>
                  <a:lnTo>
                    <a:pt x="617" y="748"/>
                  </a:lnTo>
                  <a:lnTo>
                    <a:pt x="632" y="734"/>
                  </a:lnTo>
                  <a:lnTo>
                    <a:pt x="628" y="715"/>
                  </a:lnTo>
                  <a:lnTo>
                    <a:pt x="635" y="700"/>
                  </a:lnTo>
                  <a:lnTo>
                    <a:pt x="632" y="693"/>
                  </a:lnTo>
                  <a:lnTo>
                    <a:pt x="613" y="678"/>
                  </a:lnTo>
                  <a:lnTo>
                    <a:pt x="606" y="678"/>
                  </a:lnTo>
                  <a:lnTo>
                    <a:pt x="609" y="670"/>
                  </a:lnTo>
                  <a:lnTo>
                    <a:pt x="594" y="674"/>
                  </a:lnTo>
                  <a:lnTo>
                    <a:pt x="586" y="667"/>
                  </a:lnTo>
                  <a:lnTo>
                    <a:pt x="586" y="659"/>
                  </a:lnTo>
                  <a:lnTo>
                    <a:pt x="609" y="645"/>
                  </a:lnTo>
                  <a:lnTo>
                    <a:pt x="620" y="630"/>
                  </a:lnTo>
                  <a:lnTo>
                    <a:pt x="620" y="607"/>
                  </a:lnTo>
                  <a:lnTo>
                    <a:pt x="632" y="604"/>
                  </a:lnTo>
                  <a:lnTo>
                    <a:pt x="669" y="622"/>
                  </a:lnTo>
                  <a:lnTo>
                    <a:pt x="683" y="626"/>
                  </a:lnTo>
                  <a:lnTo>
                    <a:pt x="702" y="652"/>
                  </a:lnTo>
                  <a:lnTo>
                    <a:pt x="709" y="667"/>
                  </a:lnTo>
                  <a:lnTo>
                    <a:pt x="720" y="667"/>
                  </a:lnTo>
                  <a:lnTo>
                    <a:pt x="731" y="652"/>
                  </a:lnTo>
                  <a:lnTo>
                    <a:pt x="737" y="637"/>
                  </a:lnTo>
                  <a:lnTo>
                    <a:pt x="724" y="611"/>
                  </a:lnTo>
                  <a:lnTo>
                    <a:pt x="709" y="596"/>
                  </a:lnTo>
                  <a:lnTo>
                    <a:pt x="695" y="596"/>
                  </a:lnTo>
                  <a:lnTo>
                    <a:pt x="695" y="593"/>
                  </a:lnTo>
                  <a:lnTo>
                    <a:pt x="687" y="593"/>
                  </a:lnTo>
                  <a:lnTo>
                    <a:pt x="650" y="555"/>
                  </a:lnTo>
                  <a:lnTo>
                    <a:pt x="632" y="559"/>
                  </a:lnTo>
                  <a:lnTo>
                    <a:pt x="609" y="530"/>
                  </a:lnTo>
                  <a:lnTo>
                    <a:pt x="594" y="526"/>
                  </a:lnTo>
                  <a:lnTo>
                    <a:pt x="571" y="504"/>
                  </a:lnTo>
                  <a:lnTo>
                    <a:pt x="560" y="496"/>
                  </a:lnTo>
                  <a:lnTo>
                    <a:pt x="568" y="489"/>
                  </a:lnTo>
                  <a:lnTo>
                    <a:pt x="579" y="485"/>
                  </a:lnTo>
                  <a:lnTo>
                    <a:pt x="564" y="474"/>
                  </a:lnTo>
                  <a:lnTo>
                    <a:pt x="545" y="481"/>
                  </a:lnTo>
                  <a:lnTo>
                    <a:pt x="531" y="474"/>
                  </a:lnTo>
                  <a:lnTo>
                    <a:pt x="490" y="440"/>
                  </a:lnTo>
                  <a:lnTo>
                    <a:pt x="486" y="426"/>
                  </a:lnTo>
                  <a:lnTo>
                    <a:pt x="471" y="422"/>
                  </a:lnTo>
                  <a:lnTo>
                    <a:pt x="457" y="411"/>
                  </a:lnTo>
                  <a:lnTo>
                    <a:pt x="419" y="330"/>
                  </a:lnTo>
                  <a:lnTo>
                    <a:pt x="408" y="319"/>
                  </a:lnTo>
                  <a:lnTo>
                    <a:pt x="379" y="293"/>
                  </a:lnTo>
                  <a:lnTo>
                    <a:pt x="345" y="241"/>
                  </a:lnTo>
                  <a:lnTo>
                    <a:pt x="345" y="211"/>
                  </a:lnTo>
                  <a:lnTo>
                    <a:pt x="364" y="200"/>
                  </a:lnTo>
                  <a:lnTo>
                    <a:pt x="364" y="185"/>
                  </a:lnTo>
                  <a:lnTo>
                    <a:pt x="349" y="171"/>
                  </a:lnTo>
                  <a:lnTo>
                    <a:pt x="342" y="163"/>
                  </a:lnTo>
                  <a:lnTo>
                    <a:pt x="345" y="152"/>
                  </a:lnTo>
                  <a:lnTo>
                    <a:pt x="360" y="145"/>
                  </a:lnTo>
                  <a:lnTo>
                    <a:pt x="405" y="134"/>
                  </a:lnTo>
                  <a:lnTo>
                    <a:pt x="423" y="122"/>
                  </a:lnTo>
                  <a:lnTo>
                    <a:pt x="438" y="108"/>
                  </a:lnTo>
                  <a:lnTo>
                    <a:pt x="434" y="70"/>
                  </a:lnTo>
                  <a:lnTo>
                    <a:pt x="438" y="56"/>
                  </a:lnTo>
                  <a:lnTo>
                    <a:pt x="416" y="52"/>
                  </a:lnTo>
                  <a:lnTo>
                    <a:pt x="368" y="41"/>
                  </a:lnTo>
                  <a:lnTo>
                    <a:pt x="360" y="30"/>
                  </a:lnTo>
                  <a:lnTo>
                    <a:pt x="357" y="26"/>
                  </a:lnTo>
                  <a:lnTo>
                    <a:pt x="357" y="15"/>
                  </a:lnTo>
                  <a:lnTo>
                    <a:pt x="353" y="4"/>
                  </a:lnTo>
                  <a:lnTo>
                    <a:pt x="327" y="0"/>
                  </a:lnTo>
                  <a:lnTo>
                    <a:pt x="264" y="4"/>
                  </a:lnTo>
                  <a:lnTo>
                    <a:pt x="257" y="19"/>
                  </a:lnTo>
                  <a:lnTo>
                    <a:pt x="234" y="22"/>
                  </a:lnTo>
                  <a:lnTo>
                    <a:pt x="220" y="52"/>
                  </a:lnTo>
                  <a:lnTo>
                    <a:pt x="220" y="63"/>
                  </a:lnTo>
                  <a:lnTo>
                    <a:pt x="205" y="52"/>
                  </a:lnTo>
                  <a:lnTo>
                    <a:pt x="182" y="48"/>
                  </a:lnTo>
                  <a:lnTo>
                    <a:pt x="168" y="56"/>
                  </a:lnTo>
                  <a:lnTo>
                    <a:pt x="157" y="78"/>
                  </a:lnTo>
                  <a:lnTo>
                    <a:pt x="134" y="63"/>
                  </a:lnTo>
                  <a:lnTo>
                    <a:pt x="138" y="41"/>
                  </a:lnTo>
                  <a:lnTo>
                    <a:pt x="131" y="26"/>
                  </a:lnTo>
                  <a:lnTo>
                    <a:pt x="116" y="30"/>
                  </a:lnTo>
                  <a:lnTo>
                    <a:pt x="112" y="48"/>
                  </a:lnTo>
                  <a:lnTo>
                    <a:pt x="101" y="59"/>
                  </a:lnTo>
                  <a:lnTo>
                    <a:pt x="90" y="59"/>
                  </a:lnTo>
                  <a:lnTo>
                    <a:pt x="37" y="52"/>
                  </a:lnTo>
                  <a:lnTo>
                    <a:pt x="19" y="67"/>
                  </a:lnTo>
                  <a:lnTo>
                    <a:pt x="22" y="85"/>
                  </a:lnTo>
                  <a:lnTo>
                    <a:pt x="26" y="100"/>
                  </a:lnTo>
                  <a:lnTo>
                    <a:pt x="0" y="122"/>
                  </a:lnTo>
                  <a:lnTo>
                    <a:pt x="7" y="137"/>
                  </a:lnTo>
                  <a:lnTo>
                    <a:pt x="15" y="145"/>
                  </a:lnTo>
                  <a:lnTo>
                    <a:pt x="0" y="163"/>
                  </a:lnTo>
                  <a:lnTo>
                    <a:pt x="0" y="189"/>
                  </a:lnTo>
                  <a:lnTo>
                    <a:pt x="7" y="200"/>
                  </a:lnTo>
                  <a:lnTo>
                    <a:pt x="22" y="200"/>
                  </a:lnTo>
                  <a:lnTo>
                    <a:pt x="30" y="208"/>
                  </a:lnTo>
                  <a:lnTo>
                    <a:pt x="37" y="226"/>
                  </a:lnTo>
                  <a:lnTo>
                    <a:pt x="37" y="245"/>
                  </a:lnTo>
                  <a:lnTo>
                    <a:pt x="52" y="249"/>
                  </a:lnTo>
                  <a:lnTo>
                    <a:pt x="63" y="245"/>
                  </a:lnTo>
                  <a:lnTo>
                    <a:pt x="105" y="204"/>
                  </a:lnTo>
                  <a:lnTo>
                    <a:pt x="123" y="211"/>
                  </a:lnTo>
                  <a:lnTo>
                    <a:pt x="160" y="230"/>
                  </a:lnTo>
                  <a:lnTo>
                    <a:pt x="186" y="249"/>
                  </a:lnTo>
                  <a:lnTo>
                    <a:pt x="190" y="271"/>
                  </a:lnTo>
                  <a:lnTo>
                    <a:pt x="205" y="286"/>
                  </a:lnTo>
                  <a:lnTo>
                    <a:pt x="212" y="312"/>
                  </a:lnTo>
                  <a:lnTo>
                    <a:pt x="220" y="352"/>
                  </a:lnTo>
                  <a:lnTo>
                    <a:pt x="231" y="371"/>
                  </a:lnTo>
                  <a:lnTo>
                    <a:pt x="245" y="387"/>
                  </a:lnTo>
                  <a:lnTo>
                    <a:pt x="271" y="397"/>
                  </a:lnTo>
                  <a:lnTo>
                    <a:pt x="294" y="433"/>
                  </a:lnTo>
                  <a:lnTo>
                    <a:pt x="316" y="463"/>
                  </a:lnTo>
                  <a:lnTo>
                    <a:pt x="338" y="478"/>
                  </a:lnTo>
                  <a:lnTo>
                    <a:pt x="379" y="526"/>
                  </a:lnTo>
                  <a:lnTo>
                    <a:pt x="408" y="526"/>
                  </a:lnTo>
                  <a:lnTo>
                    <a:pt x="442" y="555"/>
                  </a:lnTo>
                  <a:lnTo>
                    <a:pt x="442" y="585"/>
                  </a:lnTo>
                  <a:lnTo>
                    <a:pt x="453" y="593"/>
                  </a:lnTo>
                  <a:lnTo>
                    <a:pt x="475" y="578"/>
                  </a:lnTo>
                  <a:lnTo>
                    <a:pt x="479" y="593"/>
                  </a:lnTo>
                  <a:lnTo>
                    <a:pt x="479" y="611"/>
                  </a:lnTo>
                  <a:lnTo>
                    <a:pt x="501" y="630"/>
                  </a:lnTo>
                  <a:lnTo>
                    <a:pt x="508" y="641"/>
                  </a:lnTo>
                  <a:lnTo>
                    <a:pt x="538" y="633"/>
                  </a:lnTo>
                  <a:lnTo>
                    <a:pt x="542" y="645"/>
                  </a:lnTo>
                  <a:lnTo>
                    <a:pt x="538" y="670"/>
                  </a:lnTo>
                  <a:lnTo>
                    <a:pt x="553" y="693"/>
                  </a:lnTo>
                  <a:lnTo>
                    <a:pt x="557" y="711"/>
                  </a:lnTo>
                  <a:lnTo>
                    <a:pt x="564" y="730"/>
                  </a:lnTo>
                  <a:lnTo>
                    <a:pt x="560" y="745"/>
                  </a:lnTo>
                  <a:lnTo>
                    <a:pt x="545" y="760"/>
                  </a:lnTo>
                  <a:lnTo>
                    <a:pt x="542" y="778"/>
                  </a:lnTo>
                  <a:lnTo>
                    <a:pt x="531" y="800"/>
                  </a:lnTo>
                  <a:lnTo>
                    <a:pt x="534" y="819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</p:grpSp>
      <p:sp>
        <p:nvSpPr>
          <p:cNvPr id="13" name="Freeform 12"/>
          <p:cNvSpPr>
            <a:spLocks/>
          </p:cNvSpPr>
          <p:nvPr/>
        </p:nvSpPr>
        <p:spPr bwMode="auto">
          <a:xfrm>
            <a:off x="4343959" y="3900858"/>
            <a:ext cx="450039" cy="306684"/>
          </a:xfrm>
          <a:custGeom>
            <a:avLst/>
            <a:gdLst>
              <a:gd name="T0" fmla="*/ 2147483647 w 298"/>
              <a:gd name="T1" fmla="*/ 2147483647 h 194"/>
              <a:gd name="T2" fmla="*/ 2147483647 w 298"/>
              <a:gd name="T3" fmla="*/ 2147483647 h 194"/>
              <a:gd name="T4" fmla="*/ 2147483647 w 298"/>
              <a:gd name="T5" fmla="*/ 2147483647 h 194"/>
              <a:gd name="T6" fmla="*/ 2147483647 w 298"/>
              <a:gd name="T7" fmla="*/ 2147483647 h 194"/>
              <a:gd name="T8" fmla="*/ 2147483647 w 298"/>
              <a:gd name="T9" fmla="*/ 0 h 194"/>
              <a:gd name="T10" fmla="*/ 2147483647 w 298"/>
              <a:gd name="T11" fmla="*/ 2147483647 h 194"/>
              <a:gd name="T12" fmla="*/ 2147483647 w 298"/>
              <a:gd name="T13" fmla="*/ 2147483647 h 194"/>
              <a:gd name="T14" fmla="*/ 2147483647 w 298"/>
              <a:gd name="T15" fmla="*/ 2147483647 h 194"/>
              <a:gd name="T16" fmla="*/ 2147483647 w 298"/>
              <a:gd name="T17" fmla="*/ 2147483647 h 194"/>
              <a:gd name="T18" fmla="*/ 2147483647 w 298"/>
              <a:gd name="T19" fmla="*/ 2147483647 h 194"/>
              <a:gd name="T20" fmla="*/ 2147483647 w 298"/>
              <a:gd name="T21" fmla="*/ 2147483647 h 194"/>
              <a:gd name="T22" fmla="*/ 2147483647 w 298"/>
              <a:gd name="T23" fmla="*/ 2147483647 h 194"/>
              <a:gd name="T24" fmla="*/ 2147483647 w 298"/>
              <a:gd name="T25" fmla="*/ 2147483647 h 194"/>
              <a:gd name="T26" fmla="*/ 2147483647 w 298"/>
              <a:gd name="T27" fmla="*/ 2147483647 h 194"/>
              <a:gd name="T28" fmla="*/ 2147483647 w 298"/>
              <a:gd name="T29" fmla="*/ 2147483647 h 194"/>
              <a:gd name="T30" fmla="*/ 2147483647 w 298"/>
              <a:gd name="T31" fmla="*/ 2147483647 h 194"/>
              <a:gd name="T32" fmla="*/ 0 w 298"/>
              <a:gd name="T33" fmla="*/ 2147483647 h 194"/>
              <a:gd name="T34" fmla="*/ 2147483647 w 298"/>
              <a:gd name="T35" fmla="*/ 2147483647 h 194"/>
              <a:gd name="T36" fmla="*/ 2147483647 w 298"/>
              <a:gd name="T37" fmla="*/ 2147483647 h 194"/>
              <a:gd name="T38" fmla="*/ 2147483647 w 298"/>
              <a:gd name="T39" fmla="*/ 2147483647 h 194"/>
              <a:gd name="T40" fmla="*/ 2147483647 w 298"/>
              <a:gd name="T41" fmla="*/ 2147483647 h 194"/>
              <a:gd name="T42" fmla="*/ 2147483647 w 298"/>
              <a:gd name="T43" fmla="*/ 2147483647 h 194"/>
              <a:gd name="T44" fmla="*/ 2147483647 w 298"/>
              <a:gd name="T45" fmla="*/ 2147483647 h 194"/>
              <a:gd name="T46" fmla="*/ 2147483647 w 298"/>
              <a:gd name="T47" fmla="*/ 2147483647 h 194"/>
              <a:gd name="T48" fmla="*/ 2147483647 w 298"/>
              <a:gd name="T49" fmla="*/ 2147483647 h 194"/>
              <a:gd name="T50" fmla="*/ 2147483647 w 298"/>
              <a:gd name="T51" fmla="*/ 2147483647 h 194"/>
              <a:gd name="T52" fmla="*/ 2147483647 w 298"/>
              <a:gd name="T53" fmla="*/ 2147483647 h 194"/>
              <a:gd name="T54" fmla="*/ 2147483647 w 298"/>
              <a:gd name="T55" fmla="*/ 2147483647 h 194"/>
              <a:gd name="T56" fmla="*/ 2147483647 w 298"/>
              <a:gd name="T57" fmla="*/ 2147483647 h 194"/>
              <a:gd name="T58" fmla="*/ 2147483647 w 298"/>
              <a:gd name="T59" fmla="*/ 2147483647 h 194"/>
              <a:gd name="T60" fmla="*/ 2147483647 w 298"/>
              <a:gd name="T61" fmla="*/ 2147483647 h 194"/>
              <a:gd name="T62" fmla="*/ 2147483647 w 298"/>
              <a:gd name="T63" fmla="*/ 2147483647 h 194"/>
              <a:gd name="T64" fmla="*/ 2147483647 w 298"/>
              <a:gd name="T65" fmla="*/ 2147483647 h 194"/>
              <a:gd name="T66" fmla="*/ 2147483647 w 298"/>
              <a:gd name="T67" fmla="*/ 2147483647 h 194"/>
              <a:gd name="T68" fmla="*/ 2147483647 w 298"/>
              <a:gd name="T69" fmla="*/ 2147483647 h 194"/>
              <a:gd name="T70" fmla="*/ 2147483647 w 298"/>
              <a:gd name="T71" fmla="*/ 2147483647 h 194"/>
              <a:gd name="T72" fmla="*/ 2147483647 w 298"/>
              <a:gd name="T73" fmla="*/ 2147483647 h 194"/>
              <a:gd name="T74" fmla="*/ 2147483647 w 298"/>
              <a:gd name="T75" fmla="*/ 2147483647 h 194"/>
              <a:gd name="T76" fmla="*/ 2147483647 w 298"/>
              <a:gd name="T77" fmla="*/ 2147483647 h 194"/>
              <a:gd name="T78" fmla="*/ 2147483647 w 298"/>
              <a:gd name="T79" fmla="*/ 2147483647 h 194"/>
              <a:gd name="T80" fmla="*/ 2147483647 w 298"/>
              <a:gd name="T81" fmla="*/ 2147483647 h 194"/>
              <a:gd name="T82" fmla="*/ 2147483647 w 298"/>
              <a:gd name="T83" fmla="*/ 2147483647 h 194"/>
              <a:gd name="T84" fmla="*/ 2147483647 w 298"/>
              <a:gd name="T85" fmla="*/ 2147483647 h 194"/>
              <a:gd name="T86" fmla="*/ 2147483647 w 298"/>
              <a:gd name="T87" fmla="*/ 2147483647 h 194"/>
              <a:gd name="T88" fmla="*/ 2147483647 w 298"/>
              <a:gd name="T89" fmla="*/ 2147483647 h 194"/>
              <a:gd name="T90" fmla="*/ 2147483647 w 298"/>
              <a:gd name="T91" fmla="*/ 2147483647 h 194"/>
              <a:gd name="T92" fmla="*/ 2147483647 w 298"/>
              <a:gd name="T93" fmla="*/ 2147483647 h 194"/>
              <a:gd name="T94" fmla="*/ 2147483647 w 298"/>
              <a:gd name="T95" fmla="*/ 2147483647 h 194"/>
              <a:gd name="T96" fmla="*/ 2147483647 w 298"/>
              <a:gd name="T97" fmla="*/ 2147483647 h 194"/>
              <a:gd name="T98" fmla="*/ 2147483647 w 298"/>
              <a:gd name="T99" fmla="*/ 2147483647 h 194"/>
              <a:gd name="T100" fmla="*/ 2147483647 w 298"/>
              <a:gd name="T101" fmla="*/ 2147483647 h 194"/>
              <a:gd name="T102" fmla="*/ 2147483647 w 298"/>
              <a:gd name="T103" fmla="*/ 2147483647 h 194"/>
              <a:gd name="T104" fmla="*/ 2147483647 w 298"/>
              <a:gd name="T105" fmla="*/ 2147483647 h 194"/>
              <a:gd name="T106" fmla="*/ 2147483647 w 298"/>
              <a:gd name="T107" fmla="*/ 2147483647 h 194"/>
              <a:gd name="T108" fmla="*/ 2147483647 w 298"/>
              <a:gd name="T109" fmla="*/ 2147483647 h 194"/>
              <a:gd name="T110" fmla="*/ 2147483647 w 298"/>
              <a:gd name="T111" fmla="*/ 2147483647 h 194"/>
              <a:gd name="T112" fmla="*/ 2147483647 w 298"/>
              <a:gd name="T113" fmla="*/ 2147483647 h 194"/>
              <a:gd name="T114" fmla="*/ 2147483647 w 298"/>
              <a:gd name="T115" fmla="*/ 2147483647 h 194"/>
              <a:gd name="T116" fmla="*/ 2147483647 w 298"/>
              <a:gd name="T117" fmla="*/ 2147483647 h 194"/>
              <a:gd name="T118" fmla="*/ 2147483647 w 298"/>
              <a:gd name="T119" fmla="*/ 2147483647 h 19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98"/>
              <a:gd name="T181" fmla="*/ 0 h 194"/>
              <a:gd name="T182" fmla="*/ 298 w 298"/>
              <a:gd name="T183" fmla="*/ 194 h 19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98" h="194">
                <a:moveTo>
                  <a:pt x="157" y="37"/>
                </a:moveTo>
                <a:lnTo>
                  <a:pt x="142" y="24"/>
                </a:lnTo>
                <a:lnTo>
                  <a:pt x="144" y="19"/>
                </a:lnTo>
                <a:lnTo>
                  <a:pt x="135" y="11"/>
                </a:lnTo>
                <a:lnTo>
                  <a:pt x="127" y="0"/>
                </a:lnTo>
                <a:lnTo>
                  <a:pt x="117" y="11"/>
                </a:lnTo>
                <a:lnTo>
                  <a:pt x="111" y="7"/>
                </a:lnTo>
                <a:lnTo>
                  <a:pt x="100" y="17"/>
                </a:lnTo>
                <a:lnTo>
                  <a:pt x="100" y="22"/>
                </a:lnTo>
                <a:lnTo>
                  <a:pt x="87" y="28"/>
                </a:lnTo>
                <a:lnTo>
                  <a:pt x="54" y="54"/>
                </a:lnTo>
                <a:lnTo>
                  <a:pt x="45" y="65"/>
                </a:lnTo>
                <a:lnTo>
                  <a:pt x="45" y="78"/>
                </a:lnTo>
                <a:lnTo>
                  <a:pt x="33" y="82"/>
                </a:lnTo>
                <a:lnTo>
                  <a:pt x="9" y="108"/>
                </a:lnTo>
                <a:lnTo>
                  <a:pt x="9" y="117"/>
                </a:lnTo>
                <a:lnTo>
                  <a:pt x="0" y="128"/>
                </a:lnTo>
                <a:lnTo>
                  <a:pt x="4" y="141"/>
                </a:lnTo>
                <a:lnTo>
                  <a:pt x="15" y="134"/>
                </a:lnTo>
                <a:lnTo>
                  <a:pt x="26" y="122"/>
                </a:lnTo>
                <a:lnTo>
                  <a:pt x="43" y="119"/>
                </a:lnTo>
                <a:lnTo>
                  <a:pt x="54" y="122"/>
                </a:lnTo>
                <a:lnTo>
                  <a:pt x="58" y="141"/>
                </a:lnTo>
                <a:lnTo>
                  <a:pt x="56" y="154"/>
                </a:lnTo>
                <a:lnTo>
                  <a:pt x="63" y="163"/>
                </a:lnTo>
                <a:lnTo>
                  <a:pt x="72" y="169"/>
                </a:lnTo>
                <a:lnTo>
                  <a:pt x="91" y="171"/>
                </a:lnTo>
                <a:lnTo>
                  <a:pt x="133" y="176"/>
                </a:lnTo>
                <a:lnTo>
                  <a:pt x="142" y="171"/>
                </a:lnTo>
                <a:lnTo>
                  <a:pt x="148" y="163"/>
                </a:lnTo>
                <a:lnTo>
                  <a:pt x="152" y="146"/>
                </a:lnTo>
                <a:lnTo>
                  <a:pt x="167" y="145"/>
                </a:lnTo>
                <a:lnTo>
                  <a:pt x="172" y="156"/>
                </a:lnTo>
                <a:lnTo>
                  <a:pt x="172" y="181"/>
                </a:lnTo>
                <a:lnTo>
                  <a:pt x="191" y="194"/>
                </a:lnTo>
                <a:lnTo>
                  <a:pt x="205" y="172"/>
                </a:lnTo>
                <a:lnTo>
                  <a:pt x="220" y="165"/>
                </a:lnTo>
                <a:lnTo>
                  <a:pt x="237" y="167"/>
                </a:lnTo>
                <a:lnTo>
                  <a:pt x="250" y="174"/>
                </a:lnTo>
                <a:lnTo>
                  <a:pt x="255" y="180"/>
                </a:lnTo>
                <a:lnTo>
                  <a:pt x="259" y="161"/>
                </a:lnTo>
                <a:lnTo>
                  <a:pt x="269" y="139"/>
                </a:lnTo>
                <a:lnTo>
                  <a:pt x="291" y="135"/>
                </a:lnTo>
                <a:lnTo>
                  <a:pt x="298" y="121"/>
                </a:lnTo>
                <a:lnTo>
                  <a:pt x="291" y="109"/>
                </a:lnTo>
                <a:lnTo>
                  <a:pt x="281" y="104"/>
                </a:lnTo>
                <a:lnTo>
                  <a:pt x="253" y="99"/>
                </a:lnTo>
                <a:lnTo>
                  <a:pt x="252" y="85"/>
                </a:lnTo>
                <a:lnTo>
                  <a:pt x="252" y="70"/>
                </a:lnTo>
                <a:lnTo>
                  <a:pt x="252" y="59"/>
                </a:lnTo>
                <a:lnTo>
                  <a:pt x="235" y="50"/>
                </a:lnTo>
                <a:lnTo>
                  <a:pt x="226" y="54"/>
                </a:lnTo>
                <a:lnTo>
                  <a:pt x="211" y="43"/>
                </a:lnTo>
                <a:lnTo>
                  <a:pt x="209" y="35"/>
                </a:lnTo>
                <a:lnTo>
                  <a:pt x="203" y="26"/>
                </a:lnTo>
                <a:lnTo>
                  <a:pt x="203" y="22"/>
                </a:lnTo>
                <a:lnTo>
                  <a:pt x="187" y="17"/>
                </a:lnTo>
                <a:lnTo>
                  <a:pt x="181" y="24"/>
                </a:lnTo>
                <a:lnTo>
                  <a:pt x="170" y="32"/>
                </a:lnTo>
                <a:lnTo>
                  <a:pt x="157" y="37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4" name="Freeform 14"/>
          <p:cNvSpPr>
            <a:spLocks/>
          </p:cNvSpPr>
          <p:nvPr/>
        </p:nvSpPr>
        <p:spPr bwMode="auto">
          <a:xfrm>
            <a:off x="5307465" y="3907182"/>
            <a:ext cx="634283" cy="401534"/>
          </a:xfrm>
          <a:custGeom>
            <a:avLst/>
            <a:gdLst>
              <a:gd name="T0" fmla="*/ 2147483647 w 420"/>
              <a:gd name="T1" fmla="*/ 2147483647 h 254"/>
              <a:gd name="T2" fmla="*/ 2147483647 w 420"/>
              <a:gd name="T3" fmla="*/ 2147483647 h 254"/>
              <a:gd name="T4" fmla="*/ 2147483647 w 420"/>
              <a:gd name="T5" fmla="*/ 2147483647 h 254"/>
              <a:gd name="T6" fmla="*/ 2147483647 w 420"/>
              <a:gd name="T7" fmla="*/ 2147483647 h 254"/>
              <a:gd name="T8" fmla="*/ 2147483647 w 420"/>
              <a:gd name="T9" fmla="*/ 2147483647 h 254"/>
              <a:gd name="T10" fmla="*/ 2147483647 w 420"/>
              <a:gd name="T11" fmla="*/ 2147483647 h 254"/>
              <a:gd name="T12" fmla="*/ 2147483647 w 420"/>
              <a:gd name="T13" fmla="*/ 2147483647 h 254"/>
              <a:gd name="T14" fmla="*/ 2147483647 w 420"/>
              <a:gd name="T15" fmla="*/ 2147483647 h 254"/>
              <a:gd name="T16" fmla="*/ 2147483647 w 420"/>
              <a:gd name="T17" fmla="*/ 2147483647 h 254"/>
              <a:gd name="T18" fmla="*/ 2147483647 w 420"/>
              <a:gd name="T19" fmla="*/ 2147483647 h 254"/>
              <a:gd name="T20" fmla="*/ 2147483647 w 420"/>
              <a:gd name="T21" fmla="*/ 2147483647 h 254"/>
              <a:gd name="T22" fmla="*/ 2147483647 w 420"/>
              <a:gd name="T23" fmla="*/ 2147483647 h 254"/>
              <a:gd name="T24" fmla="*/ 2147483647 w 420"/>
              <a:gd name="T25" fmla="*/ 2147483647 h 254"/>
              <a:gd name="T26" fmla="*/ 2147483647 w 420"/>
              <a:gd name="T27" fmla="*/ 2147483647 h 254"/>
              <a:gd name="T28" fmla="*/ 2147483647 w 420"/>
              <a:gd name="T29" fmla="*/ 2147483647 h 254"/>
              <a:gd name="T30" fmla="*/ 2147483647 w 420"/>
              <a:gd name="T31" fmla="*/ 2147483647 h 254"/>
              <a:gd name="T32" fmla="*/ 2147483647 w 420"/>
              <a:gd name="T33" fmla="*/ 2147483647 h 254"/>
              <a:gd name="T34" fmla="*/ 2147483647 w 420"/>
              <a:gd name="T35" fmla="*/ 2147483647 h 254"/>
              <a:gd name="T36" fmla="*/ 2147483647 w 420"/>
              <a:gd name="T37" fmla="*/ 2147483647 h 254"/>
              <a:gd name="T38" fmla="*/ 2147483647 w 420"/>
              <a:gd name="T39" fmla="*/ 2147483647 h 254"/>
              <a:gd name="T40" fmla="*/ 2147483647 w 420"/>
              <a:gd name="T41" fmla="*/ 2147483647 h 254"/>
              <a:gd name="T42" fmla="*/ 2147483647 w 420"/>
              <a:gd name="T43" fmla="*/ 2147483647 h 254"/>
              <a:gd name="T44" fmla="*/ 2147483647 w 420"/>
              <a:gd name="T45" fmla="*/ 2147483647 h 254"/>
              <a:gd name="T46" fmla="*/ 2147483647 w 420"/>
              <a:gd name="T47" fmla="*/ 2147483647 h 254"/>
              <a:gd name="T48" fmla="*/ 2147483647 w 420"/>
              <a:gd name="T49" fmla="*/ 2147483647 h 254"/>
              <a:gd name="T50" fmla="*/ 2147483647 w 420"/>
              <a:gd name="T51" fmla="*/ 2147483647 h 254"/>
              <a:gd name="T52" fmla="*/ 2147483647 w 420"/>
              <a:gd name="T53" fmla="*/ 2147483647 h 254"/>
              <a:gd name="T54" fmla="*/ 2147483647 w 420"/>
              <a:gd name="T55" fmla="*/ 2147483647 h 254"/>
              <a:gd name="T56" fmla="*/ 2147483647 w 420"/>
              <a:gd name="T57" fmla="*/ 2147483647 h 254"/>
              <a:gd name="T58" fmla="*/ 2147483647 w 420"/>
              <a:gd name="T59" fmla="*/ 2147483647 h 254"/>
              <a:gd name="T60" fmla="*/ 2147483647 w 420"/>
              <a:gd name="T61" fmla="*/ 2147483647 h 254"/>
              <a:gd name="T62" fmla="*/ 2147483647 w 420"/>
              <a:gd name="T63" fmla="*/ 2147483647 h 254"/>
              <a:gd name="T64" fmla="*/ 2147483647 w 420"/>
              <a:gd name="T65" fmla="*/ 0 h 254"/>
              <a:gd name="T66" fmla="*/ 2147483647 w 420"/>
              <a:gd name="T67" fmla="*/ 2147483647 h 254"/>
              <a:gd name="T68" fmla="*/ 2147483647 w 420"/>
              <a:gd name="T69" fmla="*/ 2147483647 h 254"/>
              <a:gd name="T70" fmla="*/ 2147483647 w 420"/>
              <a:gd name="T71" fmla="*/ 2147483647 h 254"/>
              <a:gd name="T72" fmla="*/ 2147483647 w 420"/>
              <a:gd name="T73" fmla="*/ 2147483647 h 254"/>
              <a:gd name="T74" fmla="*/ 2147483647 w 420"/>
              <a:gd name="T75" fmla="*/ 2147483647 h 254"/>
              <a:gd name="T76" fmla="*/ 2147483647 w 420"/>
              <a:gd name="T77" fmla="*/ 2147483647 h 254"/>
              <a:gd name="T78" fmla="*/ 2147483647 w 420"/>
              <a:gd name="T79" fmla="*/ 2147483647 h 254"/>
              <a:gd name="T80" fmla="*/ 2147483647 w 420"/>
              <a:gd name="T81" fmla="*/ 2147483647 h 254"/>
              <a:gd name="T82" fmla="*/ 2147483647 w 420"/>
              <a:gd name="T83" fmla="*/ 2147483647 h 254"/>
              <a:gd name="T84" fmla="*/ 2147483647 w 420"/>
              <a:gd name="T85" fmla="*/ 2147483647 h 254"/>
              <a:gd name="T86" fmla="*/ 2147483647 w 420"/>
              <a:gd name="T87" fmla="*/ 2147483647 h 254"/>
              <a:gd name="T88" fmla="*/ 2147483647 w 420"/>
              <a:gd name="T89" fmla="*/ 2147483647 h 254"/>
              <a:gd name="T90" fmla="*/ 2147483647 w 420"/>
              <a:gd name="T91" fmla="*/ 2147483647 h 254"/>
              <a:gd name="T92" fmla="*/ 2147483647 w 420"/>
              <a:gd name="T93" fmla="*/ 2147483647 h 254"/>
              <a:gd name="T94" fmla="*/ 2147483647 w 420"/>
              <a:gd name="T95" fmla="*/ 2147483647 h 254"/>
              <a:gd name="T96" fmla="*/ 2147483647 w 420"/>
              <a:gd name="T97" fmla="*/ 2147483647 h 254"/>
              <a:gd name="T98" fmla="*/ 2147483647 w 420"/>
              <a:gd name="T99" fmla="*/ 2147483647 h 254"/>
              <a:gd name="T100" fmla="*/ 2147483647 w 420"/>
              <a:gd name="T101" fmla="*/ 2147483647 h 254"/>
              <a:gd name="T102" fmla="*/ 2147483647 w 420"/>
              <a:gd name="T103" fmla="*/ 2147483647 h 254"/>
              <a:gd name="T104" fmla="*/ 2147483647 w 420"/>
              <a:gd name="T105" fmla="*/ 2147483647 h 254"/>
              <a:gd name="T106" fmla="*/ 2147483647 w 420"/>
              <a:gd name="T107" fmla="*/ 2147483647 h 254"/>
              <a:gd name="T108" fmla="*/ 2147483647 w 420"/>
              <a:gd name="T109" fmla="*/ 2147483647 h 254"/>
              <a:gd name="T110" fmla="*/ 2147483647 w 420"/>
              <a:gd name="T111" fmla="*/ 2147483647 h 254"/>
              <a:gd name="T112" fmla="*/ 2147483647 w 420"/>
              <a:gd name="T113" fmla="*/ 2147483647 h 254"/>
              <a:gd name="T114" fmla="*/ 2147483647 w 420"/>
              <a:gd name="T115" fmla="*/ 2147483647 h 254"/>
              <a:gd name="T116" fmla="*/ 2147483647 w 420"/>
              <a:gd name="T117" fmla="*/ 2147483647 h 254"/>
              <a:gd name="T118" fmla="*/ 2147483647 w 420"/>
              <a:gd name="T119" fmla="*/ 2147483647 h 254"/>
              <a:gd name="T120" fmla="*/ 0 w 420"/>
              <a:gd name="T121" fmla="*/ 2147483647 h 254"/>
              <a:gd name="T122" fmla="*/ 2147483647 w 420"/>
              <a:gd name="T123" fmla="*/ 2147483647 h 25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420"/>
              <a:gd name="T187" fmla="*/ 0 h 254"/>
              <a:gd name="T188" fmla="*/ 420 w 420"/>
              <a:gd name="T189" fmla="*/ 254 h 254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420" h="254">
                <a:moveTo>
                  <a:pt x="2" y="161"/>
                </a:moveTo>
                <a:lnTo>
                  <a:pt x="15" y="172"/>
                </a:lnTo>
                <a:lnTo>
                  <a:pt x="13" y="178"/>
                </a:lnTo>
                <a:lnTo>
                  <a:pt x="17" y="189"/>
                </a:lnTo>
                <a:lnTo>
                  <a:pt x="28" y="189"/>
                </a:lnTo>
                <a:lnTo>
                  <a:pt x="70" y="230"/>
                </a:lnTo>
                <a:lnTo>
                  <a:pt x="83" y="232"/>
                </a:lnTo>
                <a:lnTo>
                  <a:pt x="117" y="254"/>
                </a:lnTo>
                <a:lnTo>
                  <a:pt x="133" y="241"/>
                </a:lnTo>
                <a:lnTo>
                  <a:pt x="157" y="243"/>
                </a:lnTo>
                <a:lnTo>
                  <a:pt x="165" y="248"/>
                </a:lnTo>
                <a:lnTo>
                  <a:pt x="183" y="241"/>
                </a:lnTo>
                <a:lnTo>
                  <a:pt x="220" y="226"/>
                </a:lnTo>
                <a:lnTo>
                  <a:pt x="263" y="219"/>
                </a:lnTo>
                <a:lnTo>
                  <a:pt x="281" y="222"/>
                </a:lnTo>
                <a:lnTo>
                  <a:pt x="287" y="232"/>
                </a:lnTo>
                <a:lnTo>
                  <a:pt x="302" y="215"/>
                </a:lnTo>
                <a:lnTo>
                  <a:pt x="322" y="208"/>
                </a:lnTo>
                <a:lnTo>
                  <a:pt x="341" y="205"/>
                </a:lnTo>
                <a:lnTo>
                  <a:pt x="374" y="172"/>
                </a:lnTo>
                <a:lnTo>
                  <a:pt x="383" y="152"/>
                </a:lnTo>
                <a:lnTo>
                  <a:pt x="387" y="113"/>
                </a:lnTo>
                <a:lnTo>
                  <a:pt x="391" y="81"/>
                </a:lnTo>
                <a:lnTo>
                  <a:pt x="404" y="80"/>
                </a:lnTo>
                <a:lnTo>
                  <a:pt x="414" y="68"/>
                </a:lnTo>
                <a:lnTo>
                  <a:pt x="420" y="59"/>
                </a:lnTo>
                <a:lnTo>
                  <a:pt x="407" y="50"/>
                </a:lnTo>
                <a:lnTo>
                  <a:pt x="400" y="54"/>
                </a:lnTo>
                <a:lnTo>
                  <a:pt x="381" y="50"/>
                </a:lnTo>
                <a:lnTo>
                  <a:pt x="370" y="35"/>
                </a:lnTo>
                <a:lnTo>
                  <a:pt x="359" y="15"/>
                </a:lnTo>
                <a:lnTo>
                  <a:pt x="346" y="15"/>
                </a:lnTo>
                <a:lnTo>
                  <a:pt x="326" y="0"/>
                </a:lnTo>
                <a:lnTo>
                  <a:pt x="315" y="2"/>
                </a:lnTo>
                <a:lnTo>
                  <a:pt x="274" y="7"/>
                </a:lnTo>
                <a:lnTo>
                  <a:pt x="266" y="19"/>
                </a:lnTo>
                <a:lnTo>
                  <a:pt x="255" y="33"/>
                </a:lnTo>
                <a:lnTo>
                  <a:pt x="240" y="41"/>
                </a:lnTo>
                <a:lnTo>
                  <a:pt x="226" y="44"/>
                </a:lnTo>
                <a:lnTo>
                  <a:pt x="216" y="41"/>
                </a:lnTo>
                <a:lnTo>
                  <a:pt x="207" y="35"/>
                </a:lnTo>
                <a:lnTo>
                  <a:pt x="200" y="33"/>
                </a:lnTo>
                <a:lnTo>
                  <a:pt x="187" y="39"/>
                </a:lnTo>
                <a:lnTo>
                  <a:pt x="170" y="48"/>
                </a:lnTo>
                <a:lnTo>
                  <a:pt x="135" y="63"/>
                </a:lnTo>
                <a:lnTo>
                  <a:pt x="120" y="65"/>
                </a:lnTo>
                <a:lnTo>
                  <a:pt x="83" y="63"/>
                </a:lnTo>
                <a:lnTo>
                  <a:pt x="78" y="61"/>
                </a:lnTo>
                <a:lnTo>
                  <a:pt x="68" y="46"/>
                </a:lnTo>
                <a:lnTo>
                  <a:pt x="56" y="39"/>
                </a:lnTo>
                <a:lnTo>
                  <a:pt x="52" y="44"/>
                </a:lnTo>
                <a:lnTo>
                  <a:pt x="50" y="59"/>
                </a:lnTo>
                <a:lnTo>
                  <a:pt x="43" y="74"/>
                </a:lnTo>
                <a:lnTo>
                  <a:pt x="30" y="74"/>
                </a:lnTo>
                <a:lnTo>
                  <a:pt x="26" y="78"/>
                </a:lnTo>
                <a:lnTo>
                  <a:pt x="33" y="93"/>
                </a:lnTo>
                <a:lnTo>
                  <a:pt x="31" y="108"/>
                </a:lnTo>
                <a:lnTo>
                  <a:pt x="22" y="122"/>
                </a:lnTo>
                <a:lnTo>
                  <a:pt x="15" y="128"/>
                </a:lnTo>
                <a:lnTo>
                  <a:pt x="4" y="133"/>
                </a:lnTo>
                <a:lnTo>
                  <a:pt x="0" y="145"/>
                </a:lnTo>
                <a:lnTo>
                  <a:pt x="2" y="161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5" name="Freeform 15"/>
          <p:cNvSpPr>
            <a:spLocks/>
          </p:cNvSpPr>
          <p:nvPr/>
        </p:nvSpPr>
        <p:spPr bwMode="auto">
          <a:xfrm>
            <a:off x="5032609" y="4160116"/>
            <a:ext cx="300530" cy="181797"/>
          </a:xfrm>
          <a:custGeom>
            <a:avLst/>
            <a:gdLst>
              <a:gd name="T0" fmla="*/ 2147483647 w 199"/>
              <a:gd name="T1" fmla="*/ 2147483647 h 115"/>
              <a:gd name="T2" fmla="*/ 2147483647 w 199"/>
              <a:gd name="T3" fmla="*/ 2147483647 h 115"/>
              <a:gd name="T4" fmla="*/ 2147483647 w 199"/>
              <a:gd name="T5" fmla="*/ 2147483647 h 115"/>
              <a:gd name="T6" fmla="*/ 2147483647 w 199"/>
              <a:gd name="T7" fmla="*/ 2147483647 h 115"/>
              <a:gd name="T8" fmla="*/ 2147483647 w 199"/>
              <a:gd name="T9" fmla="*/ 2147483647 h 115"/>
              <a:gd name="T10" fmla="*/ 0 w 199"/>
              <a:gd name="T11" fmla="*/ 2147483647 h 115"/>
              <a:gd name="T12" fmla="*/ 2147483647 w 199"/>
              <a:gd name="T13" fmla="*/ 2147483647 h 115"/>
              <a:gd name="T14" fmla="*/ 2147483647 w 199"/>
              <a:gd name="T15" fmla="*/ 2147483647 h 115"/>
              <a:gd name="T16" fmla="*/ 2147483647 w 199"/>
              <a:gd name="T17" fmla="*/ 2147483647 h 115"/>
              <a:gd name="T18" fmla="*/ 2147483647 w 199"/>
              <a:gd name="T19" fmla="*/ 2147483647 h 115"/>
              <a:gd name="T20" fmla="*/ 2147483647 w 199"/>
              <a:gd name="T21" fmla="*/ 2147483647 h 115"/>
              <a:gd name="T22" fmla="*/ 2147483647 w 199"/>
              <a:gd name="T23" fmla="*/ 2147483647 h 115"/>
              <a:gd name="T24" fmla="*/ 2147483647 w 199"/>
              <a:gd name="T25" fmla="*/ 2147483647 h 115"/>
              <a:gd name="T26" fmla="*/ 2147483647 w 199"/>
              <a:gd name="T27" fmla="*/ 2147483647 h 115"/>
              <a:gd name="T28" fmla="*/ 2147483647 w 199"/>
              <a:gd name="T29" fmla="*/ 2147483647 h 115"/>
              <a:gd name="T30" fmla="*/ 2147483647 w 199"/>
              <a:gd name="T31" fmla="*/ 2147483647 h 115"/>
              <a:gd name="T32" fmla="*/ 2147483647 w 199"/>
              <a:gd name="T33" fmla="*/ 0 h 115"/>
              <a:gd name="T34" fmla="*/ 2147483647 w 199"/>
              <a:gd name="T35" fmla="*/ 2147483647 h 115"/>
              <a:gd name="T36" fmla="*/ 2147483647 w 199"/>
              <a:gd name="T37" fmla="*/ 2147483647 h 115"/>
              <a:gd name="T38" fmla="*/ 2147483647 w 199"/>
              <a:gd name="T39" fmla="*/ 2147483647 h 115"/>
              <a:gd name="T40" fmla="*/ 2147483647 w 199"/>
              <a:gd name="T41" fmla="*/ 2147483647 h 115"/>
              <a:gd name="T42" fmla="*/ 2147483647 w 199"/>
              <a:gd name="T43" fmla="*/ 2147483647 h 115"/>
              <a:gd name="T44" fmla="*/ 2147483647 w 199"/>
              <a:gd name="T45" fmla="*/ 2147483647 h 115"/>
              <a:gd name="T46" fmla="*/ 2147483647 w 199"/>
              <a:gd name="T47" fmla="*/ 2147483647 h 115"/>
              <a:gd name="T48" fmla="*/ 2147483647 w 199"/>
              <a:gd name="T49" fmla="*/ 2147483647 h 115"/>
              <a:gd name="T50" fmla="*/ 2147483647 w 199"/>
              <a:gd name="T51" fmla="*/ 2147483647 h 115"/>
              <a:gd name="T52" fmla="*/ 2147483647 w 199"/>
              <a:gd name="T53" fmla="*/ 2147483647 h 115"/>
              <a:gd name="T54" fmla="*/ 2147483647 w 199"/>
              <a:gd name="T55" fmla="*/ 2147483647 h 115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99"/>
              <a:gd name="T85" fmla="*/ 0 h 115"/>
              <a:gd name="T86" fmla="*/ 199 w 199"/>
              <a:gd name="T87" fmla="*/ 115 h 115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99" h="115">
                <a:moveTo>
                  <a:pt x="17" y="63"/>
                </a:moveTo>
                <a:lnTo>
                  <a:pt x="37" y="83"/>
                </a:lnTo>
                <a:lnTo>
                  <a:pt x="31" y="93"/>
                </a:lnTo>
                <a:lnTo>
                  <a:pt x="22" y="100"/>
                </a:lnTo>
                <a:lnTo>
                  <a:pt x="11" y="102"/>
                </a:lnTo>
                <a:lnTo>
                  <a:pt x="0" y="104"/>
                </a:lnTo>
                <a:lnTo>
                  <a:pt x="20" y="113"/>
                </a:lnTo>
                <a:lnTo>
                  <a:pt x="28" y="115"/>
                </a:lnTo>
                <a:lnTo>
                  <a:pt x="53" y="100"/>
                </a:lnTo>
                <a:lnTo>
                  <a:pt x="108" y="114"/>
                </a:lnTo>
                <a:lnTo>
                  <a:pt x="144" y="74"/>
                </a:lnTo>
                <a:lnTo>
                  <a:pt x="151" y="57"/>
                </a:lnTo>
                <a:lnTo>
                  <a:pt x="158" y="52"/>
                </a:lnTo>
                <a:lnTo>
                  <a:pt x="178" y="54"/>
                </a:lnTo>
                <a:lnTo>
                  <a:pt x="199" y="30"/>
                </a:lnTo>
                <a:lnTo>
                  <a:pt x="197" y="15"/>
                </a:lnTo>
                <a:lnTo>
                  <a:pt x="183" y="0"/>
                </a:lnTo>
                <a:lnTo>
                  <a:pt x="173" y="2"/>
                </a:lnTo>
                <a:lnTo>
                  <a:pt x="163" y="5"/>
                </a:lnTo>
                <a:lnTo>
                  <a:pt x="145" y="1"/>
                </a:lnTo>
                <a:lnTo>
                  <a:pt x="127" y="2"/>
                </a:lnTo>
                <a:lnTo>
                  <a:pt x="109" y="7"/>
                </a:lnTo>
                <a:lnTo>
                  <a:pt x="84" y="5"/>
                </a:lnTo>
                <a:lnTo>
                  <a:pt x="73" y="20"/>
                </a:lnTo>
                <a:lnTo>
                  <a:pt x="31" y="7"/>
                </a:lnTo>
                <a:lnTo>
                  <a:pt x="15" y="7"/>
                </a:lnTo>
                <a:lnTo>
                  <a:pt x="15" y="32"/>
                </a:lnTo>
                <a:lnTo>
                  <a:pt x="17" y="63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6" name="Freeform 17"/>
          <p:cNvSpPr>
            <a:spLocks/>
          </p:cNvSpPr>
          <p:nvPr/>
        </p:nvSpPr>
        <p:spPr bwMode="auto">
          <a:xfrm>
            <a:off x="5579301" y="4767160"/>
            <a:ext cx="223509" cy="392049"/>
          </a:xfrm>
          <a:custGeom>
            <a:avLst/>
            <a:gdLst>
              <a:gd name="T0" fmla="*/ 2147483647 w 148"/>
              <a:gd name="T1" fmla="*/ 2147483647 h 248"/>
              <a:gd name="T2" fmla="*/ 2147483647 w 148"/>
              <a:gd name="T3" fmla="*/ 2147483647 h 248"/>
              <a:gd name="T4" fmla="*/ 2147483647 w 148"/>
              <a:gd name="T5" fmla="*/ 2147483647 h 248"/>
              <a:gd name="T6" fmla="*/ 2147483647 w 148"/>
              <a:gd name="T7" fmla="*/ 2147483647 h 248"/>
              <a:gd name="T8" fmla="*/ 2147483647 w 148"/>
              <a:gd name="T9" fmla="*/ 2147483647 h 248"/>
              <a:gd name="T10" fmla="*/ 2147483647 w 148"/>
              <a:gd name="T11" fmla="*/ 2147483647 h 248"/>
              <a:gd name="T12" fmla="*/ 2147483647 w 148"/>
              <a:gd name="T13" fmla="*/ 2147483647 h 248"/>
              <a:gd name="T14" fmla="*/ 2147483647 w 148"/>
              <a:gd name="T15" fmla="*/ 2147483647 h 248"/>
              <a:gd name="T16" fmla="*/ 2147483647 w 148"/>
              <a:gd name="T17" fmla="*/ 2147483647 h 248"/>
              <a:gd name="T18" fmla="*/ 0 w 148"/>
              <a:gd name="T19" fmla="*/ 2147483647 h 248"/>
              <a:gd name="T20" fmla="*/ 2147483647 w 148"/>
              <a:gd name="T21" fmla="*/ 2147483647 h 248"/>
              <a:gd name="T22" fmla="*/ 2147483647 w 148"/>
              <a:gd name="T23" fmla="*/ 2147483647 h 248"/>
              <a:gd name="T24" fmla="*/ 2147483647 w 148"/>
              <a:gd name="T25" fmla="*/ 2147483647 h 248"/>
              <a:gd name="T26" fmla="*/ 2147483647 w 148"/>
              <a:gd name="T27" fmla="*/ 2147483647 h 248"/>
              <a:gd name="T28" fmla="*/ 2147483647 w 148"/>
              <a:gd name="T29" fmla="*/ 2147483647 h 248"/>
              <a:gd name="T30" fmla="*/ 2147483647 w 148"/>
              <a:gd name="T31" fmla="*/ 2147483647 h 248"/>
              <a:gd name="T32" fmla="*/ 2147483647 w 148"/>
              <a:gd name="T33" fmla="*/ 2147483647 h 248"/>
              <a:gd name="T34" fmla="*/ 2147483647 w 148"/>
              <a:gd name="T35" fmla="*/ 2147483647 h 248"/>
              <a:gd name="T36" fmla="*/ 2147483647 w 148"/>
              <a:gd name="T37" fmla="*/ 2147483647 h 248"/>
              <a:gd name="T38" fmla="*/ 2147483647 w 148"/>
              <a:gd name="T39" fmla="*/ 2147483647 h 248"/>
              <a:gd name="T40" fmla="*/ 2147483647 w 148"/>
              <a:gd name="T41" fmla="*/ 2147483647 h 248"/>
              <a:gd name="T42" fmla="*/ 2147483647 w 148"/>
              <a:gd name="T43" fmla="*/ 2147483647 h 248"/>
              <a:gd name="T44" fmla="*/ 2147483647 w 148"/>
              <a:gd name="T45" fmla="*/ 2147483647 h 248"/>
              <a:gd name="T46" fmla="*/ 2147483647 w 148"/>
              <a:gd name="T47" fmla="*/ 2147483647 h 248"/>
              <a:gd name="T48" fmla="*/ 2147483647 w 148"/>
              <a:gd name="T49" fmla="*/ 2147483647 h 248"/>
              <a:gd name="T50" fmla="*/ 2147483647 w 148"/>
              <a:gd name="T51" fmla="*/ 2147483647 h 248"/>
              <a:gd name="T52" fmla="*/ 2147483647 w 148"/>
              <a:gd name="T53" fmla="*/ 2147483647 h 248"/>
              <a:gd name="T54" fmla="*/ 2147483647 w 148"/>
              <a:gd name="T55" fmla="*/ 2147483647 h 248"/>
              <a:gd name="T56" fmla="*/ 2147483647 w 148"/>
              <a:gd name="T57" fmla="*/ 2147483647 h 248"/>
              <a:gd name="T58" fmla="*/ 2147483647 w 148"/>
              <a:gd name="T59" fmla="*/ 2147483647 h 248"/>
              <a:gd name="T60" fmla="*/ 2147483647 w 148"/>
              <a:gd name="T61" fmla="*/ 2147483647 h 248"/>
              <a:gd name="T62" fmla="*/ 2147483647 w 148"/>
              <a:gd name="T63" fmla="*/ 2147483647 h 248"/>
              <a:gd name="T64" fmla="*/ 2147483647 w 148"/>
              <a:gd name="T65" fmla="*/ 2147483647 h 248"/>
              <a:gd name="T66" fmla="*/ 2147483647 w 148"/>
              <a:gd name="T67" fmla="*/ 2147483647 h 248"/>
              <a:gd name="T68" fmla="*/ 2147483647 w 148"/>
              <a:gd name="T69" fmla="*/ 2147483647 h 248"/>
              <a:gd name="T70" fmla="*/ 2147483647 w 148"/>
              <a:gd name="T71" fmla="*/ 2147483647 h 248"/>
              <a:gd name="T72" fmla="*/ 2147483647 w 148"/>
              <a:gd name="T73" fmla="*/ 2147483647 h 248"/>
              <a:gd name="T74" fmla="*/ 2147483647 w 148"/>
              <a:gd name="T75" fmla="*/ 2147483647 h 248"/>
              <a:gd name="T76" fmla="*/ 2147483647 w 148"/>
              <a:gd name="T77" fmla="*/ 2147483647 h 248"/>
              <a:gd name="T78" fmla="*/ 2147483647 w 148"/>
              <a:gd name="T79" fmla="*/ 2147483647 h 248"/>
              <a:gd name="T80" fmla="*/ 2147483647 w 148"/>
              <a:gd name="T81" fmla="*/ 2147483647 h 248"/>
              <a:gd name="T82" fmla="*/ 2147483647 w 148"/>
              <a:gd name="T83" fmla="*/ 2147483647 h 248"/>
              <a:gd name="T84" fmla="*/ 2147483647 w 148"/>
              <a:gd name="T85" fmla="*/ 2147483647 h 248"/>
              <a:gd name="T86" fmla="*/ 2147483647 w 148"/>
              <a:gd name="T87" fmla="*/ 0 h 248"/>
              <a:gd name="T88" fmla="*/ 2147483647 w 148"/>
              <a:gd name="T89" fmla="*/ 2147483647 h 248"/>
              <a:gd name="T90" fmla="*/ 2147483647 w 148"/>
              <a:gd name="T91" fmla="*/ 2147483647 h 248"/>
              <a:gd name="T92" fmla="*/ 2147483647 w 148"/>
              <a:gd name="T93" fmla="*/ 2147483647 h 248"/>
              <a:gd name="T94" fmla="*/ 2147483647 w 148"/>
              <a:gd name="T95" fmla="*/ 0 h 248"/>
              <a:gd name="T96" fmla="*/ 2147483647 w 148"/>
              <a:gd name="T97" fmla="*/ 2147483647 h 248"/>
              <a:gd name="T98" fmla="*/ 2147483647 w 148"/>
              <a:gd name="T99" fmla="*/ 2147483647 h 248"/>
              <a:gd name="T100" fmla="*/ 2147483647 w 148"/>
              <a:gd name="T101" fmla="*/ 2147483647 h 248"/>
              <a:gd name="T102" fmla="*/ 2147483647 w 148"/>
              <a:gd name="T103" fmla="*/ 2147483647 h 248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48"/>
              <a:gd name="T157" fmla="*/ 0 h 248"/>
              <a:gd name="T158" fmla="*/ 148 w 148"/>
              <a:gd name="T159" fmla="*/ 248 h 248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48" h="248">
                <a:moveTo>
                  <a:pt x="11" y="56"/>
                </a:moveTo>
                <a:lnTo>
                  <a:pt x="20" y="63"/>
                </a:lnTo>
                <a:lnTo>
                  <a:pt x="20" y="74"/>
                </a:lnTo>
                <a:lnTo>
                  <a:pt x="19" y="81"/>
                </a:lnTo>
                <a:lnTo>
                  <a:pt x="13" y="91"/>
                </a:lnTo>
                <a:lnTo>
                  <a:pt x="13" y="115"/>
                </a:lnTo>
                <a:lnTo>
                  <a:pt x="17" y="124"/>
                </a:lnTo>
                <a:lnTo>
                  <a:pt x="4" y="144"/>
                </a:lnTo>
                <a:lnTo>
                  <a:pt x="7" y="148"/>
                </a:lnTo>
                <a:lnTo>
                  <a:pt x="0" y="159"/>
                </a:lnTo>
                <a:lnTo>
                  <a:pt x="6" y="170"/>
                </a:lnTo>
                <a:lnTo>
                  <a:pt x="7" y="178"/>
                </a:lnTo>
                <a:lnTo>
                  <a:pt x="11" y="168"/>
                </a:lnTo>
                <a:lnTo>
                  <a:pt x="22" y="181"/>
                </a:lnTo>
                <a:lnTo>
                  <a:pt x="20" y="194"/>
                </a:lnTo>
                <a:lnTo>
                  <a:pt x="15" y="200"/>
                </a:lnTo>
                <a:lnTo>
                  <a:pt x="22" y="211"/>
                </a:lnTo>
                <a:lnTo>
                  <a:pt x="31" y="215"/>
                </a:lnTo>
                <a:lnTo>
                  <a:pt x="46" y="224"/>
                </a:lnTo>
                <a:lnTo>
                  <a:pt x="59" y="235"/>
                </a:lnTo>
                <a:lnTo>
                  <a:pt x="61" y="242"/>
                </a:lnTo>
                <a:lnTo>
                  <a:pt x="76" y="248"/>
                </a:lnTo>
                <a:lnTo>
                  <a:pt x="89" y="242"/>
                </a:lnTo>
                <a:lnTo>
                  <a:pt x="105" y="233"/>
                </a:lnTo>
                <a:lnTo>
                  <a:pt x="113" y="217"/>
                </a:lnTo>
                <a:lnTo>
                  <a:pt x="120" y="207"/>
                </a:lnTo>
                <a:lnTo>
                  <a:pt x="133" y="183"/>
                </a:lnTo>
                <a:lnTo>
                  <a:pt x="137" y="165"/>
                </a:lnTo>
                <a:lnTo>
                  <a:pt x="139" y="148"/>
                </a:lnTo>
                <a:lnTo>
                  <a:pt x="148" y="137"/>
                </a:lnTo>
                <a:lnTo>
                  <a:pt x="133" y="133"/>
                </a:lnTo>
                <a:lnTo>
                  <a:pt x="128" y="126"/>
                </a:lnTo>
                <a:lnTo>
                  <a:pt x="120" y="128"/>
                </a:lnTo>
                <a:lnTo>
                  <a:pt x="107" y="122"/>
                </a:lnTo>
                <a:lnTo>
                  <a:pt x="104" y="105"/>
                </a:lnTo>
                <a:lnTo>
                  <a:pt x="100" y="93"/>
                </a:lnTo>
                <a:lnTo>
                  <a:pt x="107" y="80"/>
                </a:lnTo>
                <a:lnTo>
                  <a:pt x="107" y="41"/>
                </a:lnTo>
                <a:lnTo>
                  <a:pt x="107" y="28"/>
                </a:lnTo>
                <a:lnTo>
                  <a:pt x="100" y="20"/>
                </a:lnTo>
                <a:lnTo>
                  <a:pt x="87" y="19"/>
                </a:lnTo>
                <a:lnTo>
                  <a:pt x="78" y="15"/>
                </a:lnTo>
                <a:lnTo>
                  <a:pt x="70" y="2"/>
                </a:lnTo>
                <a:lnTo>
                  <a:pt x="61" y="0"/>
                </a:lnTo>
                <a:lnTo>
                  <a:pt x="57" y="6"/>
                </a:lnTo>
                <a:lnTo>
                  <a:pt x="56" y="2"/>
                </a:lnTo>
                <a:lnTo>
                  <a:pt x="41" y="4"/>
                </a:lnTo>
                <a:lnTo>
                  <a:pt x="33" y="0"/>
                </a:lnTo>
                <a:lnTo>
                  <a:pt x="22" y="7"/>
                </a:lnTo>
                <a:lnTo>
                  <a:pt x="20" y="30"/>
                </a:lnTo>
                <a:lnTo>
                  <a:pt x="17" y="44"/>
                </a:lnTo>
                <a:lnTo>
                  <a:pt x="11" y="56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7" name="Freeform 19"/>
          <p:cNvSpPr>
            <a:spLocks/>
          </p:cNvSpPr>
          <p:nvPr/>
        </p:nvSpPr>
        <p:spPr bwMode="auto">
          <a:xfrm>
            <a:off x="4192940" y="3338078"/>
            <a:ext cx="317141" cy="292455"/>
          </a:xfrm>
          <a:custGeom>
            <a:avLst/>
            <a:gdLst>
              <a:gd name="T0" fmla="*/ 0 w 210"/>
              <a:gd name="T1" fmla="*/ 2147483647 h 185"/>
              <a:gd name="T2" fmla="*/ 2147483647 w 210"/>
              <a:gd name="T3" fmla="*/ 2147483647 h 185"/>
              <a:gd name="T4" fmla="*/ 2147483647 w 210"/>
              <a:gd name="T5" fmla="*/ 2147483647 h 185"/>
              <a:gd name="T6" fmla="*/ 2147483647 w 210"/>
              <a:gd name="T7" fmla="*/ 0 h 185"/>
              <a:gd name="T8" fmla="*/ 2147483647 w 210"/>
              <a:gd name="T9" fmla="*/ 2147483647 h 185"/>
              <a:gd name="T10" fmla="*/ 2147483647 w 210"/>
              <a:gd name="T11" fmla="*/ 2147483647 h 185"/>
              <a:gd name="T12" fmla="*/ 2147483647 w 210"/>
              <a:gd name="T13" fmla="*/ 2147483647 h 185"/>
              <a:gd name="T14" fmla="*/ 2147483647 w 210"/>
              <a:gd name="T15" fmla="*/ 2147483647 h 185"/>
              <a:gd name="T16" fmla="*/ 2147483647 w 210"/>
              <a:gd name="T17" fmla="*/ 2147483647 h 185"/>
              <a:gd name="T18" fmla="*/ 2147483647 w 210"/>
              <a:gd name="T19" fmla="*/ 2147483647 h 185"/>
              <a:gd name="T20" fmla="*/ 2147483647 w 210"/>
              <a:gd name="T21" fmla="*/ 2147483647 h 185"/>
              <a:gd name="T22" fmla="*/ 2147483647 w 210"/>
              <a:gd name="T23" fmla="*/ 2147483647 h 185"/>
              <a:gd name="T24" fmla="*/ 2147483647 w 210"/>
              <a:gd name="T25" fmla="*/ 2147483647 h 185"/>
              <a:gd name="T26" fmla="*/ 2147483647 w 210"/>
              <a:gd name="T27" fmla="*/ 2147483647 h 185"/>
              <a:gd name="T28" fmla="*/ 2147483647 w 210"/>
              <a:gd name="T29" fmla="*/ 2147483647 h 185"/>
              <a:gd name="T30" fmla="*/ 2147483647 w 210"/>
              <a:gd name="T31" fmla="*/ 2147483647 h 185"/>
              <a:gd name="T32" fmla="*/ 2147483647 w 210"/>
              <a:gd name="T33" fmla="*/ 2147483647 h 185"/>
              <a:gd name="T34" fmla="*/ 2147483647 w 210"/>
              <a:gd name="T35" fmla="*/ 2147483647 h 185"/>
              <a:gd name="T36" fmla="*/ 2147483647 w 210"/>
              <a:gd name="T37" fmla="*/ 2147483647 h 185"/>
              <a:gd name="T38" fmla="*/ 2147483647 w 210"/>
              <a:gd name="T39" fmla="*/ 2147483647 h 185"/>
              <a:gd name="T40" fmla="*/ 2147483647 w 210"/>
              <a:gd name="T41" fmla="*/ 2147483647 h 185"/>
              <a:gd name="T42" fmla="*/ 2147483647 w 210"/>
              <a:gd name="T43" fmla="*/ 2147483647 h 185"/>
              <a:gd name="T44" fmla="*/ 2147483647 w 210"/>
              <a:gd name="T45" fmla="*/ 2147483647 h 185"/>
              <a:gd name="T46" fmla="*/ 2147483647 w 210"/>
              <a:gd name="T47" fmla="*/ 2147483647 h 185"/>
              <a:gd name="T48" fmla="*/ 2147483647 w 210"/>
              <a:gd name="T49" fmla="*/ 2147483647 h 185"/>
              <a:gd name="T50" fmla="*/ 2147483647 w 210"/>
              <a:gd name="T51" fmla="*/ 2147483647 h 185"/>
              <a:gd name="T52" fmla="*/ 2147483647 w 210"/>
              <a:gd name="T53" fmla="*/ 2147483647 h 185"/>
              <a:gd name="T54" fmla="*/ 2147483647 w 210"/>
              <a:gd name="T55" fmla="*/ 2147483647 h 185"/>
              <a:gd name="T56" fmla="*/ 2147483647 w 210"/>
              <a:gd name="T57" fmla="*/ 2147483647 h 185"/>
              <a:gd name="T58" fmla="*/ 2147483647 w 210"/>
              <a:gd name="T59" fmla="*/ 2147483647 h 185"/>
              <a:gd name="T60" fmla="*/ 2147483647 w 210"/>
              <a:gd name="T61" fmla="*/ 2147483647 h 185"/>
              <a:gd name="T62" fmla="*/ 2147483647 w 210"/>
              <a:gd name="T63" fmla="*/ 2147483647 h 185"/>
              <a:gd name="T64" fmla="*/ 2147483647 w 210"/>
              <a:gd name="T65" fmla="*/ 2147483647 h 185"/>
              <a:gd name="T66" fmla="*/ 2147483647 w 210"/>
              <a:gd name="T67" fmla="*/ 2147483647 h 185"/>
              <a:gd name="T68" fmla="*/ 2147483647 w 210"/>
              <a:gd name="T69" fmla="*/ 2147483647 h 185"/>
              <a:gd name="T70" fmla="*/ 2147483647 w 210"/>
              <a:gd name="T71" fmla="*/ 2147483647 h 185"/>
              <a:gd name="T72" fmla="*/ 2147483647 w 210"/>
              <a:gd name="T73" fmla="*/ 2147483647 h 185"/>
              <a:gd name="T74" fmla="*/ 2147483647 w 210"/>
              <a:gd name="T75" fmla="*/ 2147483647 h 185"/>
              <a:gd name="T76" fmla="*/ 2147483647 w 210"/>
              <a:gd name="T77" fmla="*/ 2147483647 h 185"/>
              <a:gd name="T78" fmla="*/ 0 w 210"/>
              <a:gd name="T79" fmla="*/ 2147483647 h 18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10"/>
              <a:gd name="T121" fmla="*/ 0 h 185"/>
              <a:gd name="T122" fmla="*/ 210 w 210"/>
              <a:gd name="T123" fmla="*/ 185 h 185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10" h="185">
                <a:moveTo>
                  <a:pt x="0" y="33"/>
                </a:moveTo>
                <a:lnTo>
                  <a:pt x="5" y="26"/>
                </a:lnTo>
                <a:lnTo>
                  <a:pt x="3" y="17"/>
                </a:lnTo>
                <a:lnTo>
                  <a:pt x="35" y="0"/>
                </a:lnTo>
                <a:lnTo>
                  <a:pt x="38" y="6"/>
                </a:lnTo>
                <a:lnTo>
                  <a:pt x="61" y="2"/>
                </a:lnTo>
                <a:lnTo>
                  <a:pt x="79" y="3"/>
                </a:lnTo>
                <a:lnTo>
                  <a:pt x="72" y="12"/>
                </a:lnTo>
                <a:lnTo>
                  <a:pt x="76" y="24"/>
                </a:lnTo>
                <a:lnTo>
                  <a:pt x="91" y="29"/>
                </a:lnTo>
                <a:lnTo>
                  <a:pt x="106" y="28"/>
                </a:lnTo>
                <a:lnTo>
                  <a:pt x="118" y="19"/>
                </a:lnTo>
                <a:lnTo>
                  <a:pt x="138" y="17"/>
                </a:lnTo>
                <a:lnTo>
                  <a:pt x="144" y="25"/>
                </a:lnTo>
                <a:lnTo>
                  <a:pt x="156" y="32"/>
                </a:lnTo>
                <a:lnTo>
                  <a:pt x="173" y="33"/>
                </a:lnTo>
                <a:lnTo>
                  <a:pt x="170" y="47"/>
                </a:lnTo>
                <a:lnTo>
                  <a:pt x="171" y="75"/>
                </a:lnTo>
                <a:lnTo>
                  <a:pt x="174" y="92"/>
                </a:lnTo>
                <a:lnTo>
                  <a:pt x="193" y="90"/>
                </a:lnTo>
                <a:lnTo>
                  <a:pt x="199" y="102"/>
                </a:lnTo>
                <a:lnTo>
                  <a:pt x="200" y="112"/>
                </a:lnTo>
                <a:lnTo>
                  <a:pt x="210" y="126"/>
                </a:lnTo>
                <a:lnTo>
                  <a:pt x="198" y="136"/>
                </a:lnTo>
                <a:lnTo>
                  <a:pt x="187" y="144"/>
                </a:lnTo>
                <a:lnTo>
                  <a:pt x="175" y="144"/>
                </a:lnTo>
                <a:lnTo>
                  <a:pt x="161" y="148"/>
                </a:lnTo>
                <a:lnTo>
                  <a:pt x="161" y="163"/>
                </a:lnTo>
                <a:lnTo>
                  <a:pt x="155" y="173"/>
                </a:lnTo>
                <a:lnTo>
                  <a:pt x="140" y="185"/>
                </a:lnTo>
                <a:lnTo>
                  <a:pt x="115" y="166"/>
                </a:lnTo>
                <a:lnTo>
                  <a:pt x="108" y="149"/>
                </a:lnTo>
                <a:lnTo>
                  <a:pt x="85" y="144"/>
                </a:lnTo>
                <a:lnTo>
                  <a:pt x="77" y="122"/>
                </a:lnTo>
                <a:lnTo>
                  <a:pt x="61" y="109"/>
                </a:lnTo>
                <a:lnTo>
                  <a:pt x="55" y="93"/>
                </a:lnTo>
                <a:lnTo>
                  <a:pt x="42" y="77"/>
                </a:lnTo>
                <a:lnTo>
                  <a:pt x="33" y="61"/>
                </a:lnTo>
                <a:lnTo>
                  <a:pt x="16" y="49"/>
                </a:lnTo>
                <a:lnTo>
                  <a:pt x="0" y="33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8" name="Freeform 20"/>
          <p:cNvSpPr>
            <a:spLocks/>
          </p:cNvSpPr>
          <p:nvPr/>
        </p:nvSpPr>
        <p:spPr bwMode="auto">
          <a:xfrm>
            <a:off x="4408898" y="3565720"/>
            <a:ext cx="86080" cy="112240"/>
          </a:xfrm>
          <a:custGeom>
            <a:avLst/>
            <a:gdLst>
              <a:gd name="T0" fmla="*/ 2147483647 w 57"/>
              <a:gd name="T1" fmla="*/ 2147483647 h 71"/>
              <a:gd name="T2" fmla="*/ 2147483647 w 57"/>
              <a:gd name="T3" fmla="*/ 2147483647 h 71"/>
              <a:gd name="T4" fmla="*/ 2147483647 w 57"/>
              <a:gd name="T5" fmla="*/ 2147483647 h 71"/>
              <a:gd name="T6" fmla="*/ 2147483647 w 57"/>
              <a:gd name="T7" fmla="*/ 2147483647 h 71"/>
              <a:gd name="T8" fmla="*/ 2147483647 w 57"/>
              <a:gd name="T9" fmla="*/ 2147483647 h 71"/>
              <a:gd name="T10" fmla="*/ 2147483647 w 57"/>
              <a:gd name="T11" fmla="*/ 2147483647 h 71"/>
              <a:gd name="T12" fmla="*/ 2147483647 w 57"/>
              <a:gd name="T13" fmla="*/ 0 h 71"/>
              <a:gd name="T14" fmla="*/ 2147483647 w 57"/>
              <a:gd name="T15" fmla="*/ 0 h 71"/>
              <a:gd name="T16" fmla="*/ 2147483647 w 57"/>
              <a:gd name="T17" fmla="*/ 2147483647 h 71"/>
              <a:gd name="T18" fmla="*/ 2147483647 w 57"/>
              <a:gd name="T19" fmla="*/ 2147483647 h 71"/>
              <a:gd name="T20" fmla="*/ 2147483647 w 57"/>
              <a:gd name="T21" fmla="*/ 2147483647 h 71"/>
              <a:gd name="T22" fmla="*/ 0 w 57"/>
              <a:gd name="T23" fmla="*/ 2147483647 h 71"/>
              <a:gd name="T24" fmla="*/ 2147483647 w 57"/>
              <a:gd name="T25" fmla="*/ 2147483647 h 71"/>
              <a:gd name="T26" fmla="*/ 2147483647 w 57"/>
              <a:gd name="T27" fmla="*/ 2147483647 h 71"/>
              <a:gd name="T28" fmla="*/ 2147483647 w 57"/>
              <a:gd name="T29" fmla="*/ 2147483647 h 71"/>
              <a:gd name="T30" fmla="*/ 2147483647 w 57"/>
              <a:gd name="T31" fmla="*/ 2147483647 h 71"/>
              <a:gd name="T32" fmla="*/ 2147483647 w 57"/>
              <a:gd name="T33" fmla="*/ 2147483647 h 7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57"/>
              <a:gd name="T52" fmla="*/ 0 h 71"/>
              <a:gd name="T53" fmla="*/ 57 w 57"/>
              <a:gd name="T54" fmla="*/ 71 h 7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57" h="71">
                <a:moveTo>
                  <a:pt x="41" y="71"/>
                </a:moveTo>
                <a:lnTo>
                  <a:pt x="44" y="48"/>
                </a:lnTo>
                <a:lnTo>
                  <a:pt x="57" y="39"/>
                </a:lnTo>
                <a:lnTo>
                  <a:pt x="57" y="28"/>
                </a:lnTo>
                <a:lnTo>
                  <a:pt x="50" y="20"/>
                </a:lnTo>
                <a:lnTo>
                  <a:pt x="43" y="9"/>
                </a:lnTo>
                <a:lnTo>
                  <a:pt x="39" y="0"/>
                </a:lnTo>
                <a:lnTo>
                  <a:pt x="26" y="0"/>
                </a:lnTo>
                <a:lnTo>
                  <a:pt x="17" y="4"/>
                </a:lnTo>
                <a:lnTo>
                  <a:pt x="17" y="19"/>
                </a:lnTo>
                <a:lnTo>
                  <a:pt x="9" y="32"/>
                </a:lnTo>
                <a:lnTo>
                  <a:pt x="0" y="36"/>
                </a:lnTo>
                <a:lnTo>
                  <a:pt x="4" y="47"/>
                </a:lnTo>
                <a:lnTo>
                  <a:pt x="16" y="50"/>
                </a:lnTo>
                <a:lnTo>
                  <a:pt x="28" y="53"/>
                </a:lnTo>
                <a:lnTo>
                  <a:pt x="35" y="60"/>
                </a:lnTo>
                <a:lnTo>
                  <a:pt x="41" y="71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9" name="Freeform 21"/>
          <p:cNvSpPr>
            <a:spLocks/>
          </p:cNvSpPr>
          <p:nvPr/>
        </p:nvSpPr>
        <p:spPr bwMode="auto">
          <a:xfrm>
            <a:off x="4303185" y="3124665"/>
            <a:ext cx="324692" cy="358851"/>
          </a:xfrm>
          <a:custGeom>
            <a:avLst/>
            <a:gdLst>
              <a:gd name="T0" fmla="*/ 2147483647 w 215"/>
              <a:gd name="T1" fmla="*/ 2147483647 h 227"/>
              <a:gd name="T2" fmla="*/ 2147483647 w 215"/>
              <a:gd name="T3" fmla="*/ 2147483647 h 227"/>
              <a:gd name="T4" fmla="*/ 2147483647 w 215"/>
              <a:gd name="T5" fmla="*/ 2147483647 h 227"/>
              <a:gd name="T6" fmla="*/ 2147483647 w 215"/>
              <a:gd name="T7" fmla="*/ 2147483647 h 227"/>
              <a:gd name="T8" fmla="*/ 2147483647 w 215"/>
              <a:gd name="T9" fmla="*/ 2147483647 h 227"/>
              <a:gd name="T10" fmla="*/ 2147483647 w 215"/>
              <a:gd name="T11" fmla="*/ 2147483647 h 227"/>
              <a:gd name="T12" fmla="*/ 2147483647 w 215"/>
              <a:gd name="T13" fmla="*/ 2147483647 h 227"/>
              <a:gd name="T14" fmla="*/ 2147483647 w 215"/>
              <a:gd name="T15" fmla="*/ 2147483647 h 227"/>
              <a:gd name="T16" fmla="*/ 2147483647 w 215"/>
              <a:gd name="T17" fmla="*/ 2147483647 h 227"/>
              <a:gd name="T18" fmla="*/ 2147483647 w 215"/>
              <a:gd name="T19" fmla="*/ 2147483647 h 227"/>
              <a:gd name="T20" fmla="*/ 2147483647 w 215"/>
              <a:gd name="T21" fmla="*/ 2147483647 h 227"/>
              <a:gd name="T22" fmla="*/ 2147483647 w 215"/>
              <a:gd name="T23" fmla="*/ 2147483647 h 227"/>
              <a:gd name="T24" fmla="*/ 2147483647 w 215"/>
              <a:gd name="T25" fmla="*/ 2147483647 h 227"/>
              <a:gd name="T26" fmla="*/ 0 w 215"/>
              <a:gd name="T27" fmla="*/ 2147483647 h 227"/>
              <a:gd name="T28" fmla="*/ 2147483647 w 215"/>
              <a:gd name="T29" fmla="*/ 2147483647 h 227"/>
              <a:gd name="T30" fmla="*/ 2147483647 w 215"/>
              <a:gd name="T31" fmla="*/ 2147483647 h 227"/>
              <a:gd name="T32" fmla="*/ 2147483647 w 215"/>
              <a:gd name="T33" fmla="*/ 2147483647 h 227"/>
              <a:gd name="T34" fmla="*/ 2147483647 w 215"/>
              <a:gd name="T35" fmla="*/ 2147483647 h 227"/>
              <a:gd name="T36" fmla="*/ 2147483647 w 215"/>
              <a:gd name="T37" fmla="*/ 2147483647 h 227"/>
              <a:gd name="T38" fmla="*/ 2147483647 w 215"/>
              <a:gd name="T39" fmla="*/ 2147483647 h 227"/>
              <a:gd name="T40" fmla="*/ 2147483647 w 215"/>
              <a:gd name="T41" fmla="*/ 2147483647 h 227"/>
              <a:gd name="T42" fmla="*/ 2147483647 w 215"/>
              <a:gd name="T43" fmla="*/ 2147483647 h 227"/>
              <a:gd name="T44" fmla="*/ 2147483647 w 215"/>
              <a:gd name="T45" fmla="*/ 2147483647 h 227"/>
              <a:gd name="T46" fmla="*/ 2147483647 w 215"/>
              <a:gd name="T47" fmla="*/ 2147483647 h 227"/>
              <a:gd name="T48" fmla="*/ 2147483647 w 215"/>
              <a:gd name="T49" fmla="*/ 2147483647 h 227"/>
              <a:gd name="T50" fmla="*/ 2147483647 w 215"/>
              <a:gd name="T51" fmla="*/ 2147483647 h 227"/>
              <a:gd name="T52" fmla="*/ 2147483647 w 215"/>
              <a:gd name="T53" fmla="*/ 2147483647 h 227"/>
              <a:gd name="T54" fmla="*/ 2147483647 w 215"/>
              <a:gd name="T55" fmla="*/ 2147483647 h 227"/>
              <a:gd name="T56" fmla="*/ 2147483647 w 215"/>
              <a:gd name="T57" fmla="*/ 2147483647 h 227"/>
              <a:gd name="T58" fmla="*/ 2147483647 w 215"/>
              <a:gd name="T59" fmla="*/ 2147483647 h 227"/>
              <a:gd name="T60" fmla="*/ 2147483647 w 215"/>
              <a:gd name="T61" fmla="*/ 2147483647 h 227"/>
              <a:gd name="T62" fmla="*/ 2147483647 w 215"/>
              <a:gd name="T63" fmla="*/ 2147483647 h 227"/>
              <a:gd name="T64" fmla="*/ 2147483647 w 215"/>
              <a:gd name="T65" fmla="*/ 2147483647 h 227"/>
              <a:gd name="T66" fmla="*/ 2147483647 w 215"/>
              <a:gd name="T67" fmla="*/ 2147483647 h 227"/>
              <a:gd name="T68" fmla="*/ 2147483647 w 215"/>
              <a:gd name="T69" fmla="*/ 2147483647 h 227"/>
              <a:gd name="T70" fmla="*/ 2147483647 w 215"/>
              <a:gd name="T71" fmla="*/ 2147483647 h 227"/>
              <a:gd name="T72" fmla="*/ 2147483647 w 215"/>
              <a:gd name="T73" fmla="*/ 2147483647 h 227"/>
              <a:gd name="T74" fmla="*/ 2147483647 w 215"/>
              <a:gd name="T75" fmla="*/ 2147483647 h 227"/>
              <a:gd name="T76" fmla="*/ 2147483647 w 215"/>
              <a:gd name="T77" fmla="*/ 2147483647 h 227"/>
              <a:gd name="T78" fmla="*/ 2147483647 w 215"/>
              <a:gd name="T79" fmla="*/ 0 h 227"/>
              <a:gd name="T80" fmla="*/ 2147483647 w 215"/>
              <a:gd name="T81" fmla="*/ 0 h 227"/>
              <a:gd name="T82" fmla="*/ 2147483647 w 215"/>
              <a:gd name="T83" fmla="*/ 2147483647 h 227"/>
              <a:gd name="T84" fmla="*/ 2147483647 w 215"/>
              <a:gd name="T85" fmla="*/ 2147483647 h 227"/>
              <a:gd name="T86" fmla="*/ 2147483647 w 215"/>
              <a:gd name="T87" fmla="*/ 2147483647 h 227"/>
              <a:gd name="T88" fmla="*/ 2147483647 w 215"/>
              <a:gd name="T89" fmla="*/ 2147483647 h 227"/>
              <a:gd name="T90" fmla="*/ 2147483647 w 215"/>
              <a:gd name="T91" fmla="*/ 2147483647 h 227"/>
              <a:gd name="T92" fmla="*/ 2147483647 w 215"/>
              <a:gd name="T93" fmla="*/ 2147483647 h 227"/>
              <a:gd name="T94" fmla="*/ 2147483647 w 215"/>
              <a:gd name="T95" fmla="*/ 2147483647 h 227"/>
              <a:gd name="T96" fmla="*/ 2147483647 w 215"/>
              <a:gd name="T97" fmla="*/ 2147483647 h 227"/>
              <a:gd name="T98" fmla="*/ 2147483647 w 215"/>
              <a:gd name="T99" fmla="*/ 2147483647 h 227"/>
              <a:gd name="T100" fmla="*/ 2147483647 w 215"/>
              <a:gd name="T101" fmla="*/ 2147483647 h 227"/>
              <a:gd name="T102" fmla="*/ 2147483647 w 215"/>
              <a:gd name="T103" fmla="*/ 2147483647 h 227"/>
              <a:gd name="T104" fmla="*/ 2147483647 w 215"/>
              <a:gd name="T105" fmla="*/ 2147483647 h 227"/>
              <a:gd name="T106" fmla="*/ 2147483647 w 215"/>
              <a:gd name="T107" fmla="*/ 2147483647 h 227"/>
              <a:gd name="T108" fmla="*/ 2147483647 w 215"/>
              <a:gd name="T109" fmla="*/ 2147483647 h 227"/>
              <a:gd name="T110" fmla="*/ 2147483647 w 215"/>
              <a:gd name="T111" fmla="*/ 2147483647 h 227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15"/>
              <a:gd name="T169" fmla="*/ 0 h 227"/>
              <a:gd name="T170" fmla="*/ 215 w 215"/>
              <a:gd name="T171" fmla="*/ 227 h 227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15" h="227">
                <a:moveTo>
                  <a:pt x="89" y="6"/>
                </a:moveTo>
                <a:lnTo>
                  <a:pt x="67" y="33"/>
                </a:lnTo>
                <a:lnTo>
                  <a:pt x="67" y="41"/>
                </a:lnTo>
                <a:lnTo>
                  <a:pt x="54" y="54"/>
                </a:lnTo>
                <a:lnTo>
                  <a:pt x="56" y="57"/>
                </a:lnTo>
                <a:lnTo>
                  <a:pt x="52" y="66"/>
                </a:lnTo>
                <a:lnTo>
                  <a:pt x="39" y="79"/>
                </a:lnTo>
                <a:lnTo>
                  <a:pt x="26" y="94"/>
                </a:lnTo>
                <a:lnTo>
                  <a:pt x="21" y="102"/>
                </a:lnTo>
                <a:lnTo>
                  <a:pt x="26" y="109"/>
                </a:lnTo>
                <a:lnTo>
                  <a:pt x="22" y="120"/>
                </a:lnTo>
                <a:lnTo>
                  <a:pt x="15" y="129"/>
                </a:lnTo>
                <a:lnTo>
                  <a:pt x="9" y="133"/>
                </a:lnTo>
                <a:lnTo>
                  <a:pt x="0" y="144"/>
                </a:lnTo>
                <a:lnTo>
                  <a:pt x="1" y="155"/>
                </a:lnTo>
                <a:lnTo>
                  <a:pt x="11" y="161"/>
                </a:lnTo>
                <a:lnTo>
                  <a:pt x="35" y="161"/>
                </a:lnTo>
                <a:lnTo>
                  <a:pt x="49" y="153"/>
                </a:lnTo>
                <a:lnTo>
                  <a:pt x="63" y="151"/>
                </a:lnTo>
                <a:lnTo>
                  <a:pt x="74" y="161"/>
                </a:lnTo>
                <a:lnTo>
                  <a:pt x="85" y="166"/>
                </a:lnTo>
                <a:lnTo>
                  <a:pt x="100" y="168"/>
                </a:lnTo>
                <a:lnTo>
                  <a:pt x="96" y="185"/>
                </a:lnTo>
                <a:lnTo>
                  <a:pt x="101" y="227"/>
                </a:lnTo>
                <a:lnTo>
                  <a:pt x="114" y="226"/>
                </a:lnTo>
                <a:lnTo>
                  <a:pt x="122" y="225"/>
                </a:lnTo>
                <a:lnTo>
                  <a:pt x="125" y="213"/>
                </a:lnTo>
                <a:lnTo>
                  <a:pt x="127" y="188"/>
                </a:lnTo>
                <a:lnTo>
                  <a:pt x="137" y="175"/>
                </a:lnTo>
                <a:lnTo>
                  <a:pt x="137" y="153"/>
                </a:lnTo>
                <a:lnTo>
                  <a:pt x="145" y="140"/>
                </a:lnTo>
                <a:lnTo>
                  <a:pt x="162" y="133"/>
                </a:lnTo>
                <a:lnTo>
                  <a:pt x="193" y="98"/>
                </a:lnTo>
                <a:lnTo>
                  <a:pt x="197" y="83"/>
                </a:lnTo>
                <a:lnTo>
                  <a:pt x="192" y="59"/>
                </a:lnTo>
                <a:lnTo>
                  <a:pt x="212" y="43"/>
                </a:lnTo>
                <a:lnTo>
                  <a:pt x="215" y="16"/>
                </a:lnTo>
                <a:lnTo>
                  <a:pt x="201" y="4"/>
                </a:lnTo>
                <a:lnTo>
                  <a:pt x="192" y="2"/>
                </a:lnTo>
                <a:lnTo>
                  <a:pt x="175" y="0"/>
                </a:lnTo>
                <a:lnTo>
                  <a:pt x="137" y="0"/>
                </a:lnTo>
                <a:lnTo>
                  <a:pt x="126" y="9"/>
                </a:lnTo>
                <a:lnTo>
                  <a:pt x="117" y="20"/>
                </a:lnTo>
                <a:lnTo>
                  <a:pt x="119" y="30"/>
                </a:lnTo>
                <a:lnTo>
                  <a:pt x="132" y="39"/>
                </a:lnTo>
                <a:lnTo>
                  <a:pt x="141" y="50"/>
                </a:lnTo>
                <a:lnTo>
                  <a:pt x="141" y="65"/>
                </a:lnTo>
                <a:lnTo>
                  <a:pt x="126" y="76"/>
                </a:lnTo>
                <a:lnTo>
                  <a:pt x="111" y="79"/>
                </a:lnTo>
                <a:lnTo>
                  <a:pt x="100" y="81"/>
                </a:lnTo>
                <a:lnTo>
                  <a:pt x="95" y="72"/>
                </a:lnTo>
                <a:lnTo>
                  <a:pt x="91" y="59"/>
                </a:lnTo>
                <a:lnTo>
                  <a:pt x="98" y="48"/>
                </a:lnTo>
                <a:lnTo>
                  <a:pt x="96" y="35"/>
                </a:lnTo>
                <a:lnTo>
                  <a:pt x="95" y="22"/>
                </a:lnTo>
                <a:lnTo>
                  <a:pt x="89" y="6"/>
                </a:lnTo>
                <a:close/>
              </a:path>
            </a:pathLst>
          </a:custGeom>
          <a:solidFill>
            <a:schemeClr val="accent5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20" name="Freeform 22"/>
          <p:cNvSpPr>
            <a:spLocks/>
          </p:cNvSpPr>
          <p:nvPr/>
        </p:nvSpPr>
        <p:spPr bwMode="auto">
          <a:xfrm>
            <a:off x="3200740" y="2560305"/>
            <a:ext cx="457589" cy="437893"/>
          </a:xfrm>
          <a:custGeom>
            <a:avLst/>
            <a:gdLst>
              <a:gd name="T0" fmla="*/ 2147483647 w 303"/>
              <a:gd name="T1" fmla="*/ 2147483647 h 277"/>
              <a:gd name="T2" fmla="*/ 2147483647 w 303"/>
              <a:gd name="T3" fmla="*/ 2147483647 h 277"/>
              <a:gd name="T4" fmla="*/ 2147483647 w 303"/>
              <a:gd name="T5" fmla="*/ 2147483647 h 277"/>
              <a:gd name="T6" fmla="*/ 2147483647 w 303"/>
              <a:gd name="T7" fmla="*/ 2147483647 h 277"/>
              <a:gd name="T8" fmla="*/ 2147483647 w 303"/>
              <a:gd name="T9" fmla="*/ 2147483647 h 277"/>
              <a:gd name="T10" fmla="*/ 2147483647 w 303"/>
              <a:gd name="T11" fmla="*/ 2147483647 h 277"/>
              <a:gd name="T12" fmla="*/ 2147483647 w 303"/>
              <a:gd name="T13" fmla="*/ 2147483647 h 277"/>
              <a:gd name="T14" fmla="*/ 2147483647 w 303"/>
              <a:gd name="T15" fmla="*/ 2147483647 h 277"/>
              <a:gd name="T16" fmla="*/ 2147483647 w 303"/>
              <a:gd name="T17" fmla="*/ 2147483647 h 277"/>
              <a:gd name="T18" fmla="*/ 2147483647 w 303"/>
              <a:gd name="T19" fmla="*/ 2147483647 h 277"/>
              <a:gd name="T20" fmla="*/ 2147483647 w 303"/>
              <a:gd name="T21" fmla="*/ 2147483647 h 277"/>
              <a:gd name="T22" fmla="*/ 2147483647 w 303"/>
              <a:gd name="T23" fmla="*/ 2147483647 h 277"/>
              <a:gd name="T24" fmla="*/ 2147483647 w 303"/>
              <a:gd name="T25" fmla="*/ 2147483647 h 277"/>
              <a:gd name="T26" fmla="*/ 2147483647 w 303"/>
              <a:gd name="T27" fmla="*/ 2147483647 h 277"/>
              <a:gd name="T28" fmla="*/ 2147483647 w 303"/>
              <a:gd name="T29" fmla="*/ 2147483647 h 277"/>
              <a:gd name="T30" fmla="*/ 2147483647 w 303"/>
              <a:gd name="T31" fmla="*/ 2147483647 h 277"/>
              <a:gd name="T32" fmla="*/ 2147483647 w 303"/>
              <a:gd name="T33" fmla="*/ 2147483647 h 277"/>
              <a:gd name="T34" fmla="*/ 2147483647 w 303"/>
              <a:gd name="T35" fmla="*/ 2147483647 h 277"/>
              <a:gd name="T36" fmla="*/ 2147483647 w 303"/>
              <a:gd name="T37" fmla="*/ 2147483647 h 277"/>
              <a:gd name="T38" fmla="*/ 2147483647 w 303"/>
              <a:gd name="T39" fmla="*/ 2147483647 h 277"/>
              <a:gd name="T40" fmla="*/ 2147483647 w 303"/>
              <a:gd name="T41" fmla="*/ 2147483647 h 277"/>
              <a:gd name="T42" fmla="*/ 2147483647 w 303"/>
              <a:gd name="T43" fmla="*/ 2147483647 h 277"/>
              <a:gd name="T44" fmla="*/ 2147483647 w 303"/>
              <a:gd name="T45" fmla="*/ 2147483647 h 277"/>
              <a:gd name="T46" fmla="*/ 2147483647 w 303"/>
              <a:gd name="T47" fmla="*/ 2147483647 h 277"/>
              <a:gd name="T48" fmla="*/ 2147483647 w 303"/>
              <a:gd name="T49" fmla="*/ 0 h 277"/>
              <a:gd name="T50" fmla="*/ 2147483647 w 303"/>
              <a:gd name="T51" fmla="*/ 2147483647 h 277"/>
              <a:gd name="T52" fmla="*/ 2147483647 w 303"/>
              <a:gd name="T53" fmla="*/ 2147483647 h 277"/>
              <a:gd name="T54" fmla="*/ 2147483647 w 303"/>
              <a:gd name="T55" fmla="*/ 2147483647 h 277"/>
              <a:gd name="T56" fmla="*/ 2147483647 w 303"/>
              <a:gd name="T57" fmla="*/ 2147483647 h 277"/>
              <a:gd name="T58" fmla="*/ 2147483647 w 303"/>
              <a:gd name="T59" fmla="*/ 2147483647 h 277"/>
              <a:gd name="T60" fmla="*/ 2147483647 w 303"/>
              <a:gd name="T61" fmla="*/ 2147483647 h 277"/>
              <a:gd name="T62" fmla="*/ 2147483647 w 303"/>
              <a:gd name="T63" fmla="*/ 2147483647 h 277"/>
              <a:gd name="T64" fmla="*/ 2147483647 w 303"/>
              <a:gd name="T65" fmla="*/ 2147483647 h 277"/>
              <a:gd name="T66" fmla="*/ 2147483647 w 303"/>
              <a:gd name="T67" fmla="*/ 2147483647 h 277"/>
              <a:gd name="T68" fmla="*/ 2147483647 w 303"/>
              <a:gd name="T69" fmla="*/ 2147483647 h 277"/>
              <a:gd name="T70" fmla="*/ 2147483647 w 303"/>
              <a:gd name="T71" fmla="*/ 2147483647 h 27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03"/>
              <a:gd name="T109" fmla="*/ 0 h 277"/>
              <a:gd name="T110" fmla="*/ 303 w 303"/>
              <a:gd name="T111" fmla="*/ 277 h 277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03" h="277">
                <a:moveTo>
                  <a:pt x="112" y="104"/>
                </a:moveTo>
                <a:lnTo>
                  <a:pt x="108" y="115"/>
                </a:lnTo>
                <a:lnTo>
                  <a:pt x="112" y="130"/>
                </a:lnTo>
                <a:lnTo>
                  <a:pt x="106" y="139"/>
                </a:lnTo>
                <a:lnTo>
                  <a:pt x="97" y="133"/>
                </a:lnTo>
                <a:lnTo>
                  <a:pt x="86" y="135"/>
                </a:lnTo>
                <a:lnTo>
                  <a:pt x="86" y="146"/>
                </a:lnTo>
                <a:lnTo>
                  <a:pt x="63" y="167"/>
                </a:lnTo>
                <a:lnTo>
                  <a:pt x="50" y="172"/>
                </a:lnTo>
                <a:lnTo>
                  <a:pt x="33" y="191"/>
                </a:lnTo>
                <a:lnTo>
                  <a:pt x="22" y="196"/>
                </a:lnTo>
                <a:lnTo>
                  <a:pt x="13" y="195"/>
                </a:lnTo>
                <a:lnTo>
                  <a:pt x="9" y="198"/>
                </a:lnTo>
                <a:lnTo>
                  <a:pt x="6" y="201"/>
                </a:lnTo>
                <a:lnTo>
                  <a:pt x="11" y="208"/>
                </a:lnTo>
                <a:lnTo>
                  <a:pt x="11" y="221"/>
                </a:lnTo>
                <a:lnTo>
                  <a:pt x="0" y="233"/>
                </a:lnTo>
                <a:lnTo>
                  <a:pt x="4" y="245"/>
                </a:lnTo>
                <a:lnTo>
                  <a:pt x="17" y="245"/>
                </a:lnTo>
                <a:lnTo>
                  <a:pt x="22" y="236"/>
                </a:lnTo>
                <a:lnTo>
                  <a:pt x="30" y="244"/>
                </a:lnTo>
                <a:lnTo>
                  <a:pt x="20" y="251"/>
                </a:lnTo>
                <a:lnTo>
                  <a:pt x="24" y="262"/>
                </a:lnTo>
                <a:lnTo>
                  <a:pt x="30" y="264"/>
                </a:lnTo>
                <a:lnTo>
                  <a:pt x="54" y="268"/>
                </a:lnTo>
                <a:lnTo>
                  <a:pt x="58" y="270"/>
                </a:lnTo>
                <a:lnTo>
                  <a:pt x="80" y="277"/>
                </a:lnTo>
                <a:lnTo>
                  <a:pt x="89" y="273"/>
                </a:lnTo>
                <a:lnTo>
                  <a:pt x="108" y="262"/>
                </a:lnTo>
                <a:lnTo>
                  <a:pt x="136" y="268"/>
                </a:lnTo>
                <a:lnTo>
                  <a:pt x="186" y="268"/>
                </a:lnTo>
                <a:lnTo>
                  <a:pt x="214" y="262"/>
                </a:lnTo>
                <a:lnTo>
                  <a:pt x="227" y="242"/>
                </a:lnTo>
                <a:lnTo>
                  <a:pt x="244" y="233"/>
                </a:lnTo>
                <a:lnTo>
                  <a:pt x="249" y="221"/>
                </a:lnTo>
                <a:lnTo>
                  <a:pt x="255" y="205"/>
                </a:lnTo>
                <a:lnTo>
                  <a:pt x="268" y="195"/>
                </a:lnTo>
                <a:lnTo>
                  <a:pt x="279" y="167"/>
                </a:lnTo>
                <a:lnTo>
                  <a:pt x="277" y="135"/>
                </a:lnTo>
                <a:lnTo>
                  <a:pt x="303" y="120"/>
                </a:lnTo>
                <a:lnTo>
                  <a:pt x="288" y="107"/>
                </a:lnTo>
                <a:lnTo>
                  <a:pt x="283" y="85"/>
                </a:lnTo>
                <a:lnTo>
                  <a:pt x="273" y="76"/>
                </a:lnTo>
                <a:lnTo>
                  <a:pt x="262" y="76"/>
                </a:lnTo>
                <a:lnTo>
                  <a:pt x="251" y="70"/>
                </a:lnTo>
                <a:lnTo>
                  <a:pt x="231" y="46"/>
                </a:lnTo>
                <a:lnTo>
                  <a:pt x="240" y="41"/>
                </a:lnTo>
                <a:lnTo>
                  <a:pt x="275" y="9"/>
                </a:lnTo>
                <a:lnTo>
                  <a:pt x="271" y="0"/>
                </a:lnTo>
                <a:lnTo>
                  <a:pt x="260" y="2"/>
                </a:lnTo>
                <a:lnTo>
                  <a:pt x="223" y="4"/>
                </a:lnTo>
                <a:lnTo>
                  <a:pt x="210" y="13"/>
                </a:lnTo>
                <a:lnTo>
                  <a:pt x="201" y="19"/>
                </a:lnTo>
                <a:lnTo>
                  <a:pt x="188" y="17"/>
                </a:lnTo>
                <a:lnTo>
                  <a:pt x="180" y="22"/>
                </a:lnTo>
                <a:lnTo>
                  <a:pt x="186" y="32"/>
                </a:lnTo>
                <a:lnTo>
                  <a:pt x="204" y="44"/>
                </a:lnTo>
                <a:lnTo>
                  <a:pt x="191" y="46"/>
                </a:lnTo>
                <a:lnTo>
                  <a:pt x="158" y="50"/>
                </a:lnTo>
                <a:lnTo>
                  <a:pt x="136" y="41"/>
                </a:lnTo>
                <a:lnTo>
                  <a:pt x="113" y="32"/>
                </a:lnTo>
                <a:lnTo>
                  <a:pt x="106" y="37"/>
                </a:lnTo>
                <a:lnTo>
                  <a:pt x="100" y="54"/>
                </a:lnTo>
                <a:lnTo>
                  <a:pt x="102" y="63"/>
                </a:lnTo>
                <a:lnTo>
                  <a:pt x="99" y="67"/>
                </a:lnTo>
                <a:lnTo>
                  <a:pt x="86" y="72"/>
                </a:lnTo>
                <a:lnTo>
                  <a:pt x="87" y="89"/>
                </a:lnTo>
                <a:lnTo>
                  <a:pt x="86" y="93"/>
                </a:lnTo>
                <a:lnTo>
                  <a:pt x="72" y="111"/>
                </a:lnTo>
                <a:lnTo>
                  <a:pt x="84" y="128"/>
                </a:lnTo>
                <a:lnTo>
                  <a:pt x="89" y="126"/>
                </a:lnTo>
                <a:lnTo>
                  <a:pt x="112" y="104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21" name="Group 23"/>
          <p:cNvGrpSpPr>
            <a:grpSpLocks/>
          </p:cNvGrpSpPr>
          <p:nvPr/>
        </p:nvGrpSpPr>
        <p:grpSpPr bwMode="auto">
          <a:xfrm>
            <a:off x="4757754" y="2591922"/>
            <a:ext cx="519508" cy="429989"/>
            <a:chOff x="1939" y="2035"/>
            <a:chExt cx="344" cy="272"/>
          </a:xfrm>
          <a:solidFill>
            <a:schemeClr val="bg1"/>
          </a:solidFill>
        </p:grpSpPr>
        <p:sp>
          <p:nvSpPr>
            <p:cNvPr id="62" name="Freeform 24"/>
            <p:cNvSpPr>
              <a:spLocks/>
            </p:cNvSpPr>
            <p:nvPr/>
          </p:nvSpPr>
          <p:spPr bwMode="auto">
            <a:xfrm>
              <a:off x="1939" y="2090"/>
              <a:ext cx="145" cy="179"/>
            </a:xfrm>
            <a:custGeom>
              <a:avLst/>
              <a:gdLst>
                <a:gd name="T0" fmla="*/ 11 w 145"/>
                <a:gd name="T1" fmla="*/ 153 h 179"/>
                <a:gd name="T2" fmla="*/ 19 w 145"/>
                <a:gd name="T3" fmla="*/ 166 h 179"/>
                <a:gd name="T4" fmla="*/ 35 w 145"/>
                <a:gd name="T5" fmla="*/ 166 h 179"/>
                <a:gd name="T6" fmla="*/ 50 w 145"/>
                <a:gd name="T7" fmla="*/ 170 h 179"/>
                <a:gd name="T8" fmla="*/ 61 w 145"/>
                <a:gd name="T9" fmla="*/ 179 h 179"/>
                <a:gd name="T10" fmla="*/ 73 w 145"/>
                <a:gd name="T11" fmla="*/ 179 h 179"/>
                <a:gd name="T12" fmla="*/ 65 w 145"/>
                <a:gd name="T13" fmla="*/ 168 h 179"/>
                <a:gd name="T14" fmla="*/ 71 w 145"/>
                <a:gd name="T15" fmla="*/ 153 h 179"/>
                <a:gd name="T16" fmla="*/ 78 w 145"/>
                <a:gd name="T17" fmla="*/ 136 h 179"/>
                <a:gd name="T18" fmla="*/ 82 w 145"/>
                <a:gd name="T19" fmla="*/ 117 h 179"/>
                <a:gd name="T20" fmla="*/ 99 w 145"/>
                <a:gd name="T21" fmla="*/ 106 h 179"/>
                <a:gd name="T22" fmla="*/ 113 w 145"/>
                <a:gd name="T23" fmla="*/ 98 h 179"/>
                <a:gd name="T24" fmla="*/ 112 w 145"/>
                <a:gd name="T25" fmla="*/ 87 h 179"/>
                <a:gd name="T26" fmla="*/ 112 w 145"/>
                <a:gd name="T27" fmla="*/ 69 h 179"/>
                <a:gd name="T28" fmla="*/ 115 w 145"/>
                <a:gd name="T29" fmla="*/ 61 h 179"/>
                <a:gd name="T30" fmla="*/ 128 w 145"/>
                <a:gd name="T31" fmla="*/ 59 h 179"/>
                <a:gd name="T32" fmla="*/ 134 w 145"/>
                <a:gd name="T33" fmla="*/ 63 h 179"/>
                <a:gd name="T34" fmla="*/ 145 w 145"/>
                <a:gd name="T35" fmla="*/ 50 h 179"/>
                <a:gd name="T36" fmla="*/ 141 w 145"/>
                <a:gd name="T37" fmla="*/ 39 h 179"/>
                <a:gd name="T38" fmla="*/ 134 w 145"/>
                <a:gd name="T39" fmla="*/ 37 h 179"/>
                <a:gd name="T40" fmla="*/ 121 w 145"/>
                <a:gd name="T41" fmla="*/ 37 h 179"/>
                <a:gd name="T42" fmla="*/ 115 w 145"/>
                <a:gd name="T43" fmla="*/ 37 h 179"/>
                <a:gd name="T44" fmla="*/ 112 w 145"/>
                <a:gd name="T45" fmla="*/ 20 h 179"/>
                <a:gd name="T46" fmla="*/ 113 w 145"/>
                <a:gd name="T47" fmla="*/ 4 h 179"/>
                <a:gd name="T48" fmla="*/ 104 w 145"/>
                <a:gd name="T49" fmla="*/ 0 h 179"/>
                <a:gd name="T50" fmla="*/ 100 w 145"/>
                <a:gd name="T51" fmla="*/ 6 h 179"/>
                <a:gd name="T52" fmla="*/ 78 w 145"/>
                <a:gd name="T53" fmla="*/ 2 h 179"/>
                <a:gd name="T54" fmla="*/ 73 w 145"/>
                <a:gd name="T55" fmla="*/ 7 h 179"/>
                <a:gd name="T56" fmla="*/ 78 w 145"/>
                <a:gd name="T57" fmla="*/ 22 h 179"/>
                <a:gd name="T58" fmla="*/ 76 w 145"/>
                <a:gd name="T59" fmla="*/ 37 h 179"/>
                <a:gd name="T60" fmla="*/ 67 w 145"/>
                <a:gd name="T61" fmla="*/ 26 h 179"/>
                <a:gd name="T62" fmla="*/ 63 w 145"/>
                <a:gd name="T63" fmla="*/ 17 h 179"/>
                <a:gd name="T64" fmla="*/ 50 w 145"/>
                <a:gd name="T65" fmla="*/ 19 h 179"/>
                <a:gd name="T66" fmla="*/ 45 w 145"/>
                <a:gd name="T67" fmla="*/ 28 h 179"/>
                <a:gd name="T68" fmla="*/ 41 w 145"/>
                <a:gd name="T69" fmla="*/ 32 h 179"/>
                <a:gd name="T70" fmla="*/ 41 w 145"/>
                <a:gd name="T71" fmla="*/ 45 h 179"/>
                <a:gd name="T72" fmla="*/ 39 w 145"/>
                <a:gd name="T73" fmla="*/ 43 h 179"/>
                <a:gd name="T74" fmla="*/ 28 w 145"/>
                <a:gd name="T75" fmla="*/ 26 h 179"/>
                <a:gd name="T76" fmla="*/ 22 w 145"/>
                <a:gd name="T77" fmla="*/ 20 h 179"/>
                <a:gd name="T78" fmla="*/ 15 w 145"/>
                <a:gd name="T79" fmla="*/ 24 h 179"/>
                <a:gd name="T80" fmla="*/ 17 w 145"/>
                <a:gd name="T81" fmla="*/ 33 h 179"/>
                <a:gd name="T82" fmla="*/ 17 w 145"/>
                <a:gd name="T83" fmla="*/ 39 h 179"/>
                <a:gd name="T84" fmla="*/ 7 w 145"/>
                <a:gd name="T85" fmla="*/ 43 h 179"/>
                <a:gd name="T86" fmla="*/ 7 w 145"/>
                <a:gd name="T87" fmla="*/ 56 h 179"/>
                <a:gd name="T88" fmla="*/ 15 w 145"/>
                <a:gd name="T89" fmla="*/ 69 h 179"/>
                <a:gd name="T90" fmla="*/ 15 w 145"/>
                <a:gd name="T91" fmla="*/ 78 h 179"/>
                <a:gd name="T92" fmla="*/ 11 w 145"/>
                <a:gd name="T93" fmla="*/ 87 h 179"/>
                <a:gd name="T94" fmla="*/ 0 w 145"/>
                <a:gd name="T95" fmla="*/ 96 h 179"/>
                <a:gd name="T96" fmla="*/ 2 w 145"/>
                <a:gd name="T97" fmla="*/ 106 h 179"/>
                <a:gd name="T98" fmla="*/ 13 w 145"/>
                <a:gd name="T99" fmla="*/ 115 h 179"/>
                <a:gd name="T100" fmla="*/ 17 w 145"/>
                <a:gd name="T101" fmla="*/ 124 h 179"/>
                <a:gd name="T102" fmla="*/ 15 w 145"/>
                <a:gd name="T103" fmla="*/ 142 h 179"/>
                <a:gd name="T104" fmla="*/ 11 w 145"/>
                <a:gd name="T105" fmla="*/ 153 h 17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5"/>
                <a:gd name="T160" fmla="*/ 0 h 179"/>
                <a:gd name="T161" fmla="*/ 145 w 145"/>
                <a:gd name="T162" fmla="*/ 179 h 17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5" h="179">
                  <a:moveTo>
                    <a:pt x="11" y="153"/>
                  </a:moveTo>
                  <a:lnTo>
                    <a:pt x="19" y="166"/>
                  </a:lnTo>
                  <a:lnTo>
                    <a:pt x="35" y="166"/>
                  </a:lnTo>
                  <a:lnTo>
                    <a:pt x="50" y="170"/>
                  </a:lnTo>
                  <a:lnTo>
                    <a:pt x="61" y="179"/>
                  </a:lnTo>
                  <a:lnTo>
                    <a:pt x="73" y="179"/>
                  </a:lnTo>
                  <a:lnTo>
                    <a:pt x="65" y="168"/>
                  </a:lnTo>
                  <a:lnTo>
                    <a:pt x="71" y="153"/>
                  </a:lnTo>
                  <a:lnTo>
                    <a:pt x="78" y="136"/>
                  </a:lnTo>
                  <a:lnTo>
                    <a:pt x="82" y="117"/>
                  </a:lnTo>
                  <a:lnTo>
                    <a:pt x="99" y="106"/>
                  </a:lnTo>
                  <a:lnTo>
                    <a:pt x="113" y="98"/>
                  </a:lnTo>
                  <a:lnTo>
                    <a:pt x="112" y="87"/>
                  </a:lnTo>
                  <a:lnTo>
                    <a:pt x="112" y="69"/>
                  </a:lnTo>
                  <a:lnTo>
                    <a:pt x="115" y="61"/>
                  </a:lnTo>
                  <a:lnTo>
                    <a:pt x="128" y="59"/>
                  </a:lnTo>
                  <a:lnTo>
                    <a:pt x="134" y="63"/>
                  </a:lnTo>
                  <a:lnTo>
                    <a:pt x="145" y="50"/>
                  </a:lnTo>
                  <a:lnTo>
                    <a:pt x="141" y="39"/>
                  </a:lnTo>
                  <a:lnTo>
                    <a:pt x="134" y="37"/>
                  </a:lnTo>
                  <a:lnTo>
                    <a:pt x="121" y="37"/>
                  </a:lnTo>
                  <a:lnTo>
                    <a:pt x="115" y="37"/>
                  </a:lnTo>
                  <a:lnTo>
                    <a:pt x="112" y="20"/>
                  </a:lnTo>
                  <a:lnTo>
                    <a:pt x="113" y="4"/>
                  </a:lnTo>
                  <a:lnTo>
                    <a:pt x="104" y="0"/>
                  </a:lnTo>
                  <a:lnTo>
                    <a:pt x="100" y="6"/>
                  </a:lnTo>
                  <a:lnTo>
                    <a:pt x="78" y="2"/>
                  </a:lnTo>
                  <a:lnTo>
                    <a:pt x="73" y="7"/>
                  </a:lnTo>
                  <a:lnTo>
                    <a:pt x="78" y="22"/>
                  </a:lnTo>
                  <a:lnTo>
                    <a:pt x="76" y="37"/>
                  </a:lnTo>
                  <a:lnTo>
                    <a:pt x="67" y="26"/>
                  </a:lnTo>
                  <a:lnTo>
                    <a:pt x="63" y="17"/>
                  </a:lnTo>
                  <a:lnTo>
                    <a:pt x="50" y="19"/>
                  </a:lnTo>
                  <a:lnTo>
                    <a:pt x="45" y="28"/>
                  </a:lnTo>
                  <a:lnTo>
                    <a:pt x="41" y="32"/>
                  </a:lnTo>
                  <a:lnTo>
                    <a:pt x="41" y="45"/>
                  </a:lnTo>
                  <a:lnTo>
                    <a:pt x="39" y="43"/>
                  </a:lnTo>
                  <a:lnTo>
                    <a:pt x="28" y="26"/>
                  </a:lnTo>
                  <a:lnTo>
                    <a:pt x="22" y="20"/>
                  </a:lnTo>
                  <a:lnTo>
                    <a:pt x="15" y="24"/>
                  </a:lnTo>
                  <a:lnTo>
                    <a:pt x="17" y="33"/>
                  </a:lnTo>
                  <a:lnTo>
                    <a:pt x="17" y="39"/>
                  </a:lnTo>
                  <a:lnTo>
                    <a:pt x="7" y="43"/>
                  </a:lnTo>
                  <a:lnTo>
                    <a:pt x="7" y="56"/>
                  </a:lnTo>
                  <a:lnTo>
                    <a:pt x="15" y="69"/>
                  </a:lnTo>
                  <a:lnTo>
                    <a:pt x="15" y="78"/>
                  </a:lnTo>
                  <a:lnTo>
                    <a:pt x="11" y="87"/>
                  </a:lnTo>
                  <a:lnTo>
                    <a:pt x="0" y="96"/>
                  </a:lnTo>
                  <a:lnTo>
                    <a:pt x="2" y="106"/>
                  </a:lnTo>
                  <a:lnTo>
                    <a:pt x="13" y="115"/>
                  </a:lnTo>
                  <a:lnTo>
                    <a:pt x="17" y="124"/>
                  </a:lnTo>
                  <a:lnTo>
                    <a:pt x="15" y="142"/>
                  </a:lnTo>
                  <a:lnTo>
                    <a:pt x="11" y="153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" name="Freeform 25"/>
            <p:cNvSpPr>
              <a:spLocks/>
            </p:cNvSpPr>
            <p:nvPr/>
          </p:nvSpPr>
          <p:spPr bwMode="auto">
            <a:xfrm>
              <a:off x="1969" y="2035"/>
              <a:ext cx="109" cy="68"/>
            </a:xfrm>
            <a:custGeom>
              <a:avLst/>
              <a:gdLst>
                <a:gd name="T0" fmla="*/ 0 w 109"/>
                <a:gd name="T1" fmla="*/ 66 h 68"/>
                <a:gd name="T2" fmla="*/ 9 w 109"/>
                <a:gd name="T3" fmla="*/ 68 h 68"/>
                <a:gd name="T4" fmla="*/ 20 w 109"/>
                <a:gd name="T5" fmla="*/ 60 h 68"/>
                <a:gd name="T6" fmla="*/ 31 w 109"/>
                <a:gd name="T7" fmla="*/ 47 h 68"/>
                <a:gd name="T8" fmla="*/ 61 w 109"/>
                <a:gd name="T9" fmla="*/ 47 h 68"/>
                <a:gd name="T10" fmla="*/ 87 w 109"/>
                <a:gd name="T11" fmla="*/ 42 h 68"/>
                <a:gd name="T12" fmla="*/ 102 w 109"/>
                <a:gd name="T13" fmla="*/ 30 h 68"/>
                <a:gd name="T14" fmla="*/ 107 w 109"/>
                <a:gd name="T15" fmla="*/ 15 h 68"/>
                <a:gd name="T16" fmla="*/ 109 w 109"/>
                <a:gd name="T17" fmla="*/ 0 h 68"/>
                <a:gd name="T18" fmla="*/ 89 w 109"/>
                <a:gd name="T19" fmla="*/ 9 h 68"/>
                <a:gd name="T20" fmla="*/ 52 w 109"/>
                <a:gd name="T21" fmla="*/ 26 h 68"/>
                <a:gd name="T22" fmla="*/ 42 w 109"/>
                <a:gd name="T23" fmla="*/ 28 h 68"/>
                <a:gd name="T24" fmla="*/ 31 w 109"/>
                <a:gd name="T25" fmla="*/ 36 h 68"/>
                <a:gd name="T26" fmla="*/ 9 w 109"/>
                <a:gd name="T27" fmla="*/ 40 h 68"/>
                <a:gd name="T28" fmla="*/ 0 w 109"/>
                <a:gd name="T29" fmla="*/ 45 h 68"/>
                <a:gd name="T30" fmla="*/ 0 w 109"/>
                <a:gd name="T31" fmla="*/ 66 h 6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9"/>
                <a:gd name="T49" fmla="*/ 0 h 68"/>
                <a:gd name="T50" fmla="*/ 109 w 109"/>
                <a:gd name="T51" fmla="*/ 68 h 6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9" h="68">
                  <a:moveTo>
                    <a:pt x="0" y="66"/>
                  </a:moveTo>
                  <a:lnTo>
                    <a:pt x="9" y="68"/>
                  </a:lnTo>
                  <a:lnTo>
                    <a:pt x="20" y="60"/>
                  </a:lnTo>
                  <a:lnTo>
                    <a:pt x="31" y="47"/>
                  </a:lnTo>
                  <a:lnTo>
                    <a:pt x="61" y="47"/>
                  </a:lnTo>
                  <a:lnTo>
                    <a:pt x="87" y="42"/>
                  </a:lnTo>
                  <a:lnTo>
                    <a:pt x="102" y="30"/>
                  </a:lnTo>
                  <a:lnTo>
                    <a:pt x="107" y="15"/>
                  </a:lnTo>
                  <a:lnTo>
                    <a:pt x="109" y="0"/>
                  </a:lnTo>
                  <a:lnTo>
                    <a:pt x="89" y="9"/>
                  </a:lnTo>
                  <a:lnTo>
                    <a:pt x="52" y="26"/>
                  </a:lnTo>
                  <a:lnTo>
                    <a:pt x="42" y="28"/>
                  </a:lnTo>
                  <a:lnTo>
                    <a:pt x="31" y="36"/>
                  </a:lnTo>
                  <a:lnTo>
                    <a:pt x="9" y="40"/>
                  </a:lnTo>
                  <a:lnTo>
                    <a:pt x="0" y="45"/>
                  </a:lnTo>
                  <a:lnTo>
                    <a:pt x="0" y="66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" name="Freeform 26"/>
            <p:cNvSpPr>
              <a:spLocks/>
            </p:cNvSpPr>
            <p:nvPr/>
          </p:nvSpPr>
          <p:spPr bwMode="auto">
            <a:xfrm>
              <a:off x="2025" y="2202"/>
              <a:ext cx="47" cy="57"/>
            </a:xfrm>
            <a:custGeom>
              <a:avLst/>
              <a:gdLst>
                <a:gd name="T0" fmla="*/ 15 w 47"/>
                <a:gd name="T1" fmla="*/ 0 h 57"/>
                <a:gd name="T2" fmla="*/ 45 w 47"/>
                <a:gd name="T3" fmla="*/ 20 h 57"/>
                <a:gd name="T4" fmla="*/ 47 w 47"/>
                <a:gd name="T5" fmla="*/ 29 h 57"/>
                <a:gd name="T6" fmla="*/ 36 w 47"/>
                <a:gd name="T7" fmla="*/ 40 h 57"/>
                <a:gd name="T8" fmla="*/ 26 w 47"/>
                <a:gd name="T9" fmla="*/ 48 h 57"/>
                <a:gd name="T10" fmla="*/ 28 w 47"/>
                <a:gd name="T11" fmla="*/ 57 h 57"/>
                <a:gd name="T12" fmla="*/ 15 w 47"/>
                <a:gd name="T13" fmla="*/ 55 h 57"/>
                <a:gd name="T14" fmla="*/ 2 w 47"/>
                <a:gd name="T15" fmla="*/ 40 h 57"/>
                <a:gd name="T16" fmla="*/ 0 w 47"/>
                <a:gd name="T17" fmla="*/ 29 h 57"/>
                <a:gd name="T18" fmla="*/ 6 w 47"/>
                <a:gd name="T19" fmla="*/ 17 h 57"/>
                <a:gd name="T20" fmla="*/ 15 w 47"/>
                <a:gd name="T21" fmla="*/ 0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"/>
                <a:gd name="T34" fmla="*/ 0 h 57"/>
                <a:gd name="T35" fmla="*/ 47 w 47"/>
                <a:gd name="T36" fmla="*/ 57 h 5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" h="57">
                  <a:moveTo>
                    <a:pt x="15" y="0"/>
                  </a:moveTo>
                  <a:lnTo>
                    <a:pt x="45" y="20"/>
                  </a:lnTo>
                  <a:lnTo>
                    <a:pt x="47" y="29"/>
                  </a:lnTo>
                  <a:lnTo>
                    <a:pt x="36" y="40"/>
                  </a:lnTo>
                  <a:lnTo>
                    <a:pt x="26" y="48"/>
                  </a:lnTo>
                  <a:lnTo>
                    <a:pt x="28" y="57"/>
                  </a:lnTo>
                  <a:lnTo>
                    <a:pt x="15" y="55"/>
                  </a:lnTo>
                  <a:lnTo>
                    <a:pt x="2" y="40"/>
                  </a:lnTo>
                  <a:lnTo>
                    <a:pt x="0" y="29"/>
                  </a:lnTo>
                  <a:lnTo>
                    <a:pt x="6" y="17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" name="Freeform 27"/>
            <p:cNvSpPr>
              <a:spLocks/>
            </p:cNvSpPr>
            <p:nvPr/>
          </p:nvSpPr>
          <p:spPr bwMode="auto">
            <a:xfrm>
              <a:off x="2084" y="2186"/>
              <a:ext cx="69" cy="83"/>
            </a:xfrm>
            <a:custGeom>
              <a:avLst/>
              <a:gdLst>
                <a:gd name="T0" fmla="*/ 65 w 69"/>
                <a:gd name="T1" fmla="*/ 0 h 83"/>
                <a:gd name="T2" fmla="*/ 69 w 69"/>
                <a:gd name="T3" fmla="*/ 4 h 83"/>
                <a:gd name="T4" fmla="*/ 65 w 69"/>
                <a:gd name="T5" fmla="*/ 9 h 83"/>
                <a:gd name="T6" fmla="*/ 69 w 69"/>
                <a:gd name="T7" fmla="*/ 18 h 83"/>
                <a:gd name="T8" fmla="*/ 64 w 69"/>
                <a:gd name="T9" fmla="*/ 29 h 83"/>
                <a:gd name="T10" fmla="*/ 54 w 69"/>
                <a:gd name="T11" fmla="*/ 37 h 83"/>
                <a:gd name="T12" fmla="*/ 58 w 69"/>
                <a:gd name="T13" fmla="*/ 46 h 83"/>
                <a:gd name="T14" fmla="*/ 54 w 69"/>
                <a:gd name="T15" fmla="*/ 54 h 83"/>
                <a:gd name="T16" fmla="*/ 58 w 69"/>
                <a:gd name="T17" fmla="*/ 63 h 83"/>
                <a:gd name="T18" fmla="*/ 45 w 69"/>
                <a:gd name="T19" fmla="*/ 83 h 83"/>
                <a:gd name="T20" fmla="*/ 16 w 69"/>
                <a:gd name="T21" fmla="*/ 63 h 83"/>
                <a:gd name="T22" fmla="*/ 0 w 69"/>
                <a:gd name="T23" fmla="*/ 52 h 83"/>
                <a:gd name="T24" fmla="*/ 9 w 69"/>
                <a:gd name="T25" fmla="*/ 46 h 83"/>
                <a:gd name="T26" fmla="*/ 9 w 69"/>
                <a:gd name="T27" fmla="*/ 33 h 83"/>
                <a:gd name="T28" fmla="*/ 27 w 69"/>
                <a:gd name="T29" fmla="*/ 22 h 83"/>
                <a:gd name="T30" fmla="*/ 36 w 69"/>
                <a:gd name="T31" fmla="*/ 26 h 83"/>
                <a:gd name="T32" fmla="*/ 45 w 69"/>
                <a:gd name="T33" fmla="*/ 22 h 83"/>
                <a:gd name="T34" fmla="*/ 60 w 69"/>
                <a:gd name="T35" fmla="*/ 11 h 83"/>
                <a:gd name="T36" fmla="*/ 65 w 69"/>
                <a:gd name="T37" fmla="*/ 0 h 8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9"/>
                <a:gd name="T58" fmla="*/ 0 h 83"/>
                <a:gd name="T59" fmla="*/ 69 w 69"/>
                <a:gd name="T60" fmla="*/ 83 h 8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9" h="83">
                  <a:moveTo>
                    <a:pt x="65" y="0"/>
                  </a:moveTo>
                  <a:lnTo>
                    <a:pt x="69" y="4"/>
                  </a:lnTo>
                  <a:lnTo>
                    <a:pt x="65" y="9"/>
                  </a:lnTo>
                  <a:lnTo>
                    <a:pt x="69" y="18"/>
                  </a:lnTo>
                  <a:lnTo>
                    <a:pt x="64" y="29"/>
                  </a:lnTo>
                  <a:lnTo>
                    <a:pt x="54" y="37"/>
                  </a:lnTo>
                  <a:lnTo>
                    <a:pt x="58" y="46"/>
                  </a:lnTo>
                  <a:lnTo>
                    <a:pt x="54" y="54"/>
                  </a:lnTo>
                  <a:lnTo>
                    <a:pt x="58" y="63"/>
                  </a:lnTo>
                  <a:lnTo>
                    <a:pt x="45" y="83"/>
                  </a:lnTo>
                  <a:lnTo>
                    <a:pt x="16" y="63"/>
                  </a:lnTo>
                  <a:lnTo>
                    <a:pt x="0" y="52"/>
                  </a:lnTo>
                  <a:lnTo>
                    <a:pt x="9" y="46"/>
                  </a:lnTo>
                  <a:lnTo>
                    <a:pt x="9" y="33"/>
                  </a:lnTo>
                  <a:lnTo>
                    <a:pt x="27" y="22"/>
                  </a:lnTo>
                  <a:lnTo>
                    <a:pt x="36" y="26"/>
                  </a:lnTo>
                  <a:lnTo>
                    <a:pt x="45" y="22"/>
                  </a:lnTo>
                  <a:lnTo>
                    <a:pt x="60" y="11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6" name="Freeform 28"/>
            <p:cNvSpPr>
              <a:spLocks/>
            </p:cNvSpPr>
            <p:nvPr/>
          </p:nvSpPr>
          <p:spPr bwMode="auto">
            <a:xfrm>
              <a:off x="2075" y="2272"/>
              <a:ext cx="28" cy="35"/>
            </a:xfrm>
            <a:custGeom>
              <a:avLst/>
              <a:gdLst>
                <a:gd name="T0" fmla="*/ 0 w 28"/>
                <a:gd name="T1" fmla="*/ 0 h 35"/>
                <a:gd name="T2" fmla="*/ 19 w 28"/>
                <a:gd name="T3" fmla="*/ 6 h 35"/>
                <a:gd name="T4" fmla="*/ 26 w 28"/>
                <a:gd name="T5" fmla="*/ 15 h 35"/>
                <a:gd name="T6" fmla="*/ 28 w 28"/>
                <a:gd name="T7" fmla="*/ 28 h 35"/>
                <a:gd name="T8" fmla="*/ 19 w 28"/>
                <a:gd name="T9" fmla="*/ 35 h 35"/>
                <a:gd name="T10" fmla="*/ 5 w 28"/>
                <a:gd name="T11" fmla="*/ 29 h 35"/>
                <a:gd name="T12" fmla="*/ 2 w 28"/>
                <a:gd name="T13" fmla="*/ 20 h 35"/>
                <a:gd name="T14" fmla="*/ 0 w 28"/>
                <a:gd name="T15" fmla="*/ 0 h 3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8"/>
                <a:gd name="T25" fmla="*/ 0 h 35"/>
                <a:gd name="T26" fmla="*/ 28 w 28"/>
                <a:gd name="T27" fmla="*/ 35 h 3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8" h="35">
                  <a:moveTo>
                    <a:pt x="0" y="0"/>
                  </a:moveTo>
                  <a:lnTo>
                    <a:pt x="19" y="6"/>
                  </a:lnTo>
                  <a:lnTo>
                    <a:pt x="26" y="15"/>
                  </a:lnTo>
                  <a:lnTo>
                    <a:pt x="28" y="28"/>
                  </a:lnTo>
                  <a:lnTo>
                    <a:pt x="19" y="35"/>
                  </a:lnTo>
                  <a:lnTo>
                    <a:pt x="5" y="29"/>
                  </a:lnTo>
                  <a:lnTo>
                    <a:pt x="2" y="2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7" name="Freeform 29"/>
            <p:cNvSpPr>
              <a:spLocks/>
            </p:cNvSpPr>
            <p:nvPr/>
          </p:nvSpPr>
          <p:spPr bwMode="auto">
            <a:xfrm>
              <a:off x="2267" y="2263"/>
              <a:ext cx="16" cy="29"/>
            </a:xfrm>
            <a:custGeom>
              <a:avLst/>
              <a:gdLst>
                <a:gd name="T0" fmla="*/ 5 w 16"/>
                <a:gd name="T1" fmla="*/ 0 h 29"/>
                <a:gd name="T2" fmla="*/ 0 w 16"/>
                <a:gd name="T3" fmla="*/ 5 h 29"/>
                <a:gd name="T4" fmla="*/ 0 w 16"/>
                <a:gd name="T5" fmla="*/ 20 h 29"/>
                <a:gd name="T6" fmla="*/ 11 w 16"/>
                <a:gd name="T7" fmla="*/ 29 h 29"/>
                <a:gd name="T8" fmla="*/ 16 w 16"/>
                <a:gd name="T9" fmla="*/ 16 h 29"/>
                <a:gd name="T10" fmla="*/ 5 w 16"/>
                <a:gd name="T11" fmla="*/ 0 h 2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29"/>
                <a:gd name="T20" fmla="*/ 16 w 16"/>
                <a:gd name="T21" fmla="*/ 29 h 2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29">
                  <a:moveTo>
                    <a:pt x="5" y="0"/>
                  </a:moveTo>
                  <a:lnTo>
                    <a:pt x="0" y="5"/>
                  </a:lnTo>
                  <a:lnTo>
                    <a:pt x="0" y="20"/>
                  </a:lnTo>
                  <a:lnTo>
                    <a:pt x="11" y="29"/>
                  </a:lnTo>
                  <a:lnTo>
                    <a:pt x="16" y="16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22" name="Group 30"/>
          <p:cNvGrpSpPr>
            <a:grpSpLocks/>
          </p:cNvGrpSpPr>
          <p:nvPr/>
        </p:nvGrpSpPr>
        <p:grpSpPr bwMode="auto">
          <a:xfrm>
            <a:off x="4467795" y="2939707"/>
            <a:ext cx="773221" cy="1081296"/>
            <a:chOff x="1747" y="2255"/>
            <a:chExt cx="512" cy="684"/>
          </a:xfrm>
          <a:solidFill>
            <a:schemeClr val="accent3"/>
          </a:solidFill>
        </p:grpSpPr>
        <p:sp>
          <p:nvSpPr>
            <p:cNvPr id="60" name="Freeform 31"/>
            <p:cNvSpPr>
              <a:spLocks/>
            </p:cNvSpPr>
            <p:nvPr/>
          </p:nvSpPr>
          <p:spPr bwMode="auto">
            <a:xfrm>
              <a:off x="2181" y="2320"/>
              <a:ext cx="24" cy="22"/>
            </a:xfrm>
            <a:custGeom>
              <a:avLst/>
              <a:gdLst>
                <a:gd name="T0" fmla="*/ 2 w 24"/>
                <a:gd name="T1" fmla="*/ 0 h 22"/>
                <a:gd name="T2" fmla="*/ 0 w 24"/>
                <a:gd name="T3" fmla="*/ 4 h 22"/>
                <a:gd name="T4" fmla="*/ 2 w 24"/>
                <a:gd name="T5" fmla="*/ 15 h 22"/>
                <a:gd name="T6" fmla="*/ 15 w 24"/>
                <a:gd name="T7" fmla="*/ 22 h 22"/>
                <a:gd name="T8" fmla="*/ 24 w 24"/>
                <a:gd name="T9" fmla="*/ 13 h 22"/>
                <a:gd name="T10" fmla="*/ 2 w 24"/>
                <a:gd name="T11" fmla="*/ 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22"/>
                <a:gd name="T20" fmla="*/ 24 w 24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22">
                  <a:moveTo>
                    <a:pt x="2" y="0"/>
                  </a:moveTo>
                  <a:lnTo>
                    <a:pt x="0" y="4"/>
                  </a:lnTo>
                  <a:lnTo>
                    <a:pt x="2" y="15"/>
                  </a:lnTo>
                  <a:lnTo>
                    <a:pt x="15" y="22"/>
                  </a:lnTo>
                  <a:lnTo>
                    <a:pt x="24" y="1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" name="Freeform 32"/>
            <p:cNvSpPr>
              <a:spLocks/>
            </p:cNvSpPr>
            <p:nvPr/>
          </p:nvSpPr>
          <p:spPr bwMode="auto">
            <a:xfrm>
              <a:off x="1747" y="2255"/>
              <a:ext cx="512" cy="684"/>
            </a:xfrm>
            <a:custGeom>
              <a:avLst/>
              <a:gdLst>
                <a:gd name="T0" fmla="*/ 201 w 512"/>
                <a:gd name="T1" fmla="*/ 15 h 684"/>
                <a:gd name="T2" fmla="*/ 207 w 512"/>
                <a:gd name="T3" fmla="*/ 48 h 684"/>
                <a:gd name="T4" fmla="*/ 203 w 512"/>
                <a:gd name="T5" fmla="*/ 72 h 684"/>
                <a:gd name="T6" fmla="*/ 231 w 512"/>
                <a:gd name="T7" fmla="*/ 107 h 684"/>
                <a:gd name="T8" fmla="*/ 190 w 512"/>
                <a:gd name="T9" fmla="*/ 96 h 684"/>
                <a:gd name="T10" fmla="*/ 158 w 512"/>
                <a:gd name="T11" fmla="*/ 122 h 684"/>
                <a:gd name="T12" fmla="*/ 136 w 512"/>
                <a:gd name="T13" fmla="*/ 100 h 684"/>
                <a:gd name="T14" fmla="*/ 95 w 512"/>
                <a:gd name="T15" fmla="*/ 122 h 684"/>
                <a:gd name="T16" fmla="*/ 103 w 512"/>
                <a:gd name="T17" fmla="*/ 157 h 684"/>
                <a:gd name="T18" fmla="*/ 82 w 512"/>
                <a:gd name="T19" fmla="*/ 176 h 684"/>
                <a:gd name="T20" fmla="*/ 86 w 512"/>
                <a:gd name="T21" fmla="*/ 209 h 684"/>
                <a:gd name="T22" fmla="*/ 58 w 512"/>
                <a:gd name="T23" fmla="*/ 244 h 684"/>
                <a:gd name="T24" fmla="*/ 28 w 512"/>
                <a:gd name="T25" fmla="*/ 272 h 684"/>
                <a:gd name="T26" fmla="*/ 19 w 512"/>
                <a:gd name="T27" fmla="*/ 326 h 684"/>
                <a:gd name="T28" fmla="*/ 15 w 512"/>
                <a:gd name="T29" fmla="*/ 350 h 684"/>
                <a:gd name="T30" fmla="*/ 2 w 512"/>
                <a:gd name="T31" fmla="*/ 400 h 684"/>
                <a:gd name="T32" fmla="*/ 19 w 512"/>
                <a:gd name="T33" fmla="*/ 424 h 684"/>
                <a:gd name="T34" fmla="*/ 0 w 512"/>
                <a:gd name="T35" fmla="*/ 455 h 684"/>
                <a:gd name="T36" fmla="*/ 28 w 512"/>
                <a:gd name="T37" fmla="*/ 489 h 684"/>
                <a:gd name="T38" fmla="*/ 81 w 512"/>
                <a:gd name="T39" fmla="*/ 496 h 684"/>
                <a:gd name="T40" fmla="*/ 90 w 512"/>
                <a:gd name="T41" fmla="*/ 520 h 684"/>
                <a:gd name="T42" fmla="*/ 66 w 512"/>
                <a:gd name="T43" fmla="*/ 553 h 684"/>
                <a:gd name="T44" fmla="*/ 45 w 512"/>
                <a:gd name="T45" fmla="*/ 608 h 684"/>
                <a:gd name="T46" fmla="*/ 73 w 512"/>
                <a:gd name="T47" fmla="*/ 641 h 684"/>
                <a:gd name="T48" fmla="*/ 99 w 512"/>
                <a:gd name="T49" fmla="*/ 628 h 684"/>
                <a:gd name="T50" fmla="*/ 125 w 512"/>
                <a:gd name="T51" fmla="*/ 638 h 684"/>
                <a:gd name="T52" fmla="*/ 149 w 512"/>
                <a:gd name="T53" fmla="*/ 660 h 684"/>
                <a:gd name="T54" fmla="*/ 197 w 512"/>
                <a:gd name="T55" fmla="*/ 667 h 684"/>
                <a:gd name="T56" fmla="*/ 229 w 512"/>
                <a:gd name="T57" fmla="*/ 673 h 684"/>
                <a:gd name="T58" fmla="*/ 277 w 512"/>
                <a:gd name="T59" fmla="*/ 673 h 684"/>
                <a:gd name="T60" fmla="*/ 308 w 512"/>
                <a:gd name="T61" fmla="*/ 669 h 684"/>
                <a:gd name="T62" fmla="*/ 342 w 512"/>
                <a:gd name="T63" fmla="*/ 669 h 684"/>
                <a:gd name="T64" fmla="*/ 382 w 512"/>
                <a:gd name="T65" fmla="*/ 678 h 684"/>
                <a:gd name="T66" fmla="*/ 373 w 512"/>
                <a:gd name="T67" fmla="*/ 649 h 684"/>
                <a:gd name="T68" fmla="*/ 432 w 512"/>
                <a:gd name="T69" fmla="*/ 593 h 684"/>
                <a:gd name="T70" fmla="*/ 403 w 512"/>
                <a:gd name="T71" fmla="*/ 567 h 684"/>
                <a:gd name="T72" fmla="*/ 347 w 512"/>
                <a:gd name="T73" fmla="*/ 511 h 684"/>
                <a:gd name="T74" fmla="*/ 333 w 512"/>
                <a:gd name="T75" fmla="*/ 461 h 684"/>
                <a:gd name="T76" fmla="*/ 352 w 512"/>
                <a:gd name="T77" fmla="*/ 449 h 684"/>
                <a:gd name="T78" fmla="*/ 463 w 512"/>
                <a:gd name="T79" fmla="*/ 400 h 684"/>
                <a:gd name="T80" fmla="*/ 503 w 512"/>
                <a:gd name="T81" fmla="*/ 397 h 684"/>
                <a:gd name="T82" fmla="*/ 512 w 512"/>
                <a:gd name="T83" fmla="*/ 363 h 684"/>
                <a:gd name="T84" fmla="*/ 501 w 512"/>
                <a:gd name="T85" fmla="*/ 300 h 684"/>
                <a:gd name="T86" fmla="*/ 492 w 512"/>
                <a:gd name="T87" fmla="*/ 256 h 684"/>
                <a:gd name="T88" fmla="*/ 479 w 512"/>
                <a:gd name="T89" fmla="*/ 207 h 684"/>
                <a:gd name="T90" fmla="*/ 458 w 512"/>
                <a:gd name="T91" fmla="*/ 130 h 684"/>
                <a:gd name="T92" fmla="*/ 414 w 512"/>
                <a:gd name="T93" fmla="*/ 85 h 684"/>
                <a:gd name="T94" fmla="*/ 379 w 512"/>
                <a:gd name="T95" fmla="*/ 83 h 684"/>
                <a:gd name="T96" fmla="*/ 319 w 512"/>
                <a:gd name="T97" fmla="*/ 106 h 684"/>
                <a:gd name="T98" fmla="*/ 314 w 512"/>
                <a:gd name="T99" fmla="*/ 87 h 684"/>
                <a:gd name="T100" fmla="*/ 284 w 512"/>
                <a:gd name="T101" fmla="*/ 59 h 684"/>
                <a:gd name="T102" fmla="*/ 260 w 512"/>
                <a:gd name="T103" fmla="*/ 15 h 684"/>
                <a:gd name="T104" fmla="*/ 225 w 512"/>
                <a:gd name="T105" fmla="*/ 2 h 68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12"/>
                <a:gd name="T160" fmla="*/ 0 h 684"/>
                <a:gd name="T161" fmla="*/ 512 w 512"/>
                <a:gd name="T162" fmla="*/ 684 h 68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12" h="684">
                  <a:moveTo>
                    <a:pt x="212" y="0"/>
                  </a:moveTo>
                  <a:lnTo>
                    <a:pt x="201" y="7"/>
                  </a:lnTo>
                  <a:lnTo>
                    <a:pt x="201" y="15"/>
                  </a:lnTo>
                  <a:lnTo>
                    <a:pt x="203" y="22"/>
                  </a:lnTo>
                  <a:lnTo>
                    <a:pt x="205" y="33"/>
                  </a:lnTo>
                  <a:lnTo>
                    <a:pt x="207" y="48"/>
                  </a:lnTo>
                  <a:lnTo>
                    <a:pt x="201" y="54"/>
                  </a:lnTo>
                  <a:lnTo>
                    <a:pt x="201" y="63"/>
                  </a:lnTo>
                  <a:lnTo>
                    <a:pt x="203" y="72"/>
                  </a:lnTo>
                  <a:lnTo>
                    <a:pt x="218" y="85"/>
                  </a:lnTo>
                  <a:lnTo>
                    <a:pt x="227" y="87"/>
                  </a:lnTo>
                  <a:lnTo>
                    <a:pt x="231" y="107"/>
                  </a:lnTo>
                  <a:lnTo>
                    <a:pt x="210" y="102"/>
                  </a:lnTo>
                  <a:lnTo>
                    <a:pt x="199" y="91"/>
                  </a:lnTo>
                  <a:lnTo>
                    <a:pt x="190" y="96"/>
                  </a:lnTo>
                  <a:lnTo>
                    <a:pt x="173" y="117"/>
                  </a:lnTo>
                  <a:lnTo>
                    <a:pt x="166" y="124"/>
                  </a:lnTo>
                  <a:lnTo>
                    <a:pt x="158" y="122"/>
                  </a:lnTo>
                  <a:lnTo>
                    <a:pt x="157" y="113"/>
                  </a:lnTo>
                  <a:lnTo>
                    <a:pt x="151" y="106"/>
                  </a:lnTo>
                  <a:lnTo>
                    <a:pt x="136" y="100"/>
                  </a:lnTo>
                  <a:lnTo>
                    <a:pt x="114" y="100"/>
                  </a:lnTo>
                  <a:lnTo>
                    <a:pt x="107" y="109"/>
                  </a:lnTo>
                  <a:lnTo>
                    <a:pt x="95" y="122"/>
                  </a:lnTo>
                  <a:lnTo>
                    <a:pt x="105" y="131"/>
                  </a:lnTo>
                  <a:lnTo>
                    <a:pt x="105" y="148"/>
                  </a:lnTo>
                  <a:lnTo>
                    <a:pt x="103" y="157"/>
                  </a:lnTo>
                  <a:lnTo>
                    <a:pt x="99" y="165"/>
                  </a:lnTo>
                  <a:lnTo>
                    <a:pt x="86" y="174"/>
                  </a:lnTo>
                  <a:lnTo>
                    <a:pt x="82" y="176"/>
                  </a:lnTo>
                  <a:lnTo>
                    <a:pt x="84" y="189"/>
                  </a:lnTo>
                  <a:lnTo>
                    <a:pt x="90" y="198"/>
                  </a:lnTo>
                  <a:lnTo>
                    <a:pt x="86" y="209"/>
                  </a:lnTo>
                  <a:lnTo>
                    <a:pt x="77" y="222"/>
                  </a:lnTo>
                  <a:lnTo>
                    <a:pt x="66" y="235"/>
                  </a:lnTo>
                  <a:lnTo>
                    <a:pt x="58" y="244"/>
                  </a:lnTo>
                  <a:lnTo>
                    <a:pt x="45" y="254"/>
                  </a:lnTo>
                  <a:lnTo>
                    <a:pt x="35" y="257"/>
                  </a:lnTo>
                  <a:lnTo>
                    <a:pt x="28" y="272"/>
                  </a:lnTo>
                  <a:lnTo>
                    <a:pt x="26" y="294"/>
                  </a:lnTo>
                  <a:lnTo>
                    <a:pt x="19" y="307"/>
                  </a:lnTo>
                  <a:lnTo>
                    <a:pt x="19" y="326"/>
                  </a:lnTo>
                  <a:lnTo>
                    <a:pt x="11" y="335"/>
                  </a:lnTo>
                  <a:lnTo>
                    <a:pt x="9" y="341"/>
                  </a:lnTo>
                  <a:lnTo>
                    <a:pt x="15" y="350"/>
                  </a:lnTo>
                  <a:lnTo>
                    <a:pt x="19" y="365"/>
                  </a:lnTo>
                  <a:lnTo>
                    <a:pt x="28" y="378"/>
                  </a:lnTo>
                  <a:lnTo>
                    <a:pt x="2" y="400"/>
                  </a:lnTo>
                  <a:lnTo>
                    <a:pt x="7" y="413"/>
                  </a:lnTo>
                  <a:lnTo>
                    <a:pt x="17" y="422"/>
                  </a:lnTo>
                  <a:lnTo>
                    <a:pt x="19" y="424"/>
                  </a:lnTo>
                  <a:lnTo>
                    <a:pt x="19" y="433"/>
                  </a:lnTo>
                  <a:lnTo>
                    <a:pt x="6" y="442"/>
                  </a:lnTo>
                  <a:lnTo>
                    <a:pt x="0" y="455"/>
                  </a:lnTo>
                  <a:lnTo>
                    <a:pt x="6" y="472"/>
                  </a:lnTo>
                  <a:lnTo>
                    <a:pt x="13" y="483"/>
                  </a:lnTo>
                  <a:lnTo>
                    <a:pt x="28" y="489"/>
                  </a:lnTo>
                  <a:lnTo>
                    <a:pt x="47" y="492"/>
                  </a:lnTo>
                  <a:lnTo>
                    <a:pt x="66" y="494"/>
                  </a:lnTo>
                  <a:lnTo>
                    <a:pt x="81" y="496"/>
                  </a:lnTo>
                  <a:lnTo>
                    <a:pt x="92" y="504"/>
                  </a:lnTo>
                  <a:lnTo>
                    <a:pt x="103" y="513"/>
                  </a:lnTo>
                  <a:lnTo>
                    <a:pt x="90" y="520"/>
                  </a:lnTo>
                  <a:lnTo>
                    <a:pt x="79" y="531"/>
                  </a:lnTo>
                  <a:lnTo>
                    <a:pt x="68" y="541"/>
                  </a:lnTo>
                  <a:lnTo>
                    <a:pt x="66" y="553"/>
                  </a:lnTo>
                  <a:lnTo>
                    <a:pt x="60" y="580"/>
                  </a:lnTo>
                  <a:lnTo>
                    <a:pt x="51" y="597"/>
                  </a:lnTo>
                  <a:lnTo>
                    <a:pt x="45" y="608"/>
                  </a:lnTo>
                  <a:lnTo>
                    <a:pt x="60" y="628"/>
                  </a:lnTo>
                  <a:lnTo>
                    <a:pt x="64" y="634"/>
                  </a:lnTo>
                  <a:lnTo>
                    <a:pt x="73" y="641"/>
                  </a:lnTo>
                  <a:lnTo>
                    <a:pt x="82" y="640"/>
                  </a:lnTo>
                  <a:lnTo>
                    <a:pt x="94" y="634"/>
                  </a:lnTo>
                  <a:lnTo>
                    <a:pt x="99" y="628"/>
                  </a:lnTo>
                  <a:lnTo>
                    <a:pt x="101" y="625"/>
                  </a:lnTo>
                  <a:lnTo>
                    <a:pt x="118" y="628"/>
                  </a:lnTo>
                  <a:lnTo>
                    <a:pt x="125" y="638"/>
                  </a:lnTo>
                  <a:lnTo>
                    <a:pt x="131" y="649"/>
                  </a:lnTo>
                  <a:lnTo>
                    <a:pt x="138" y="658"/>
                  </a:lnTo>
                  <a:lnTo>
                    <a:pt x="149" y="660"/>
                  </a:lnTo>
                  <a:lnTo>
                    <a:pt x="171" y="658"/>
                  </a:lnTo>
                  <a:lnTo>
                    <a:pt x="182" y="656"/>
                  </a:lnTo>
                  <a:lnTo>
                    <a:pt x="197" y="667"/>
                  </a:lnTo>
                  <a:lnTo>
                    <a:pt x="208" y="662"/>
                  </a:lnTo>
                  <a:lnTo>
                    <a:pt x="219" y="665"/>
                  </a:lnTo>
                  <a:lnTo>
                    <a:pt x="229" y="673"/>
                  </a:lnTo>
                  <a:lnTo>
                    <a:pt x="247" y="665"/>
                  </a:lnTo>
                  <a:lnTo>
                    <a:pt x="264" y="665"/>
                  </a:lnTo>
                  <a:lnTo>
                    <a:pt x="277" y="673"/>
                  </a:lnTo>
                  <a:lnTo>
                    <a:pt x="286" y="677"/>
                  </a:lnTo>
                  <a:lnTo>
                    <a:pt x="297" y="669"/>
                  </a:lnTo>
                  <a:lnTo>
                    <a:pt x="308" y="669"/>
                  </a:lnTo>
                  <a:lnTo>
                    <a:pt x="327" y="665"/>
                  </a:lnTo>
                  <a:lnTo>
                    <a:pt x="340" y="673"/>
                  </a:lnTo>
                  <a:lnTo>
                    <a:pt x="342" y="669"/>
                  </a:lnTo>
                  <a:lnTo>
                    <a:pt x="356" y="678"/>
                  </a:lnTo>
                  <a:lnTo>
                    <a:pt x="368" y="684"/>
                  </a:lnTo>
                  <a:lnTo>
                    <a:pt x="382" y="678"/>
                  </a:lnTo>
                  <a:lnTo>
                    <a:pt x="384" y="669"/>
                  </a:lnTo>
                  <a:lnTo>
                    <a:pt x="375" y="656"/>
                  </a:lnTo>
                  <a:lnTo>
                    <a:pt x="373" y="649"/>
                  </a:lnTo>
                  <a:lnTo>
                    <a:pt x="368" y="627"/>
                  </a:lnTo>
                  <a:lnTo>
                    <a:pt x="419" y="593"/>
                  </a:lnTo>
                  <a:lnTo>
                    <a:pt x="432" y="593"/>
                  </a:lnTo>
                  <a:lnTo>
                    <a:pt x="434" y="588"/>
                  </a:lnTo>
                  <a:lnTo>
                    <a:pt x="416" y="581"/>
                  </a:lnTo>
                  <a:lnTo>
                    <a:pt x="403" y="567"/>
                  </a:lnTo>
                  <a:lnTo>
                    <a:pt x="370" y="538"/>
                  </a:lnTo>
                  <a:lnTo>
                    <a:pt x="366" y="515"/>
                  </a:lnTo>
                  <a:lnTo>
                    <a:pt x="347" y="511"/>
                  </a:lnTo>
                  <a:lnTo>
                    <a:pt x="345" y="489"/>
                  </a:lnTo>
                  <a:lnTo>
                    <a:pt x="341" y="470"/>
                  </a:lnTo>
                  <a:lnTo>
                    <a:pt x="333" y="461"/>
                  </a:lnTo>
                  <a:lnTo>
                    <a:pt x="338" y="452"/>
                  </a:lnTo>
                  <a:lnTo>
                    <a:pt x="342" y="448"/>
                  </a:lnTo>
                  <a:lnTo>
                    <a:pt x="352" y="449"/>
                  </a:lnTo>
                  <a:lnTo>
                    <a:pt x="383" y="440"/>
                  </a:lnTo>
                  <a:lnTo>
                    <a:pt x="449" y="406"/>
                  </a:lnTo>
                  <a:lnTo>
                    <a:pt x="463" y="400"/>
                  </a:lnTo>
                  <a:lnTo>
                    <a:pt x="477" y="391"/>
                  </a:lnTo>
                  <a:lnTo>
                    <a:pt x="488" y="403"/>
                  </a:lnTo>
                  <a:lnTo>
                    <a:pt x="503" y="397"/>
                  </a:lnTo>
                  <a:lnTo>
                    <a:pt x="507" y="382"/>
                  </a:lnTo>
                  <a:lnTo>
                    <a:pt x="506" y="373"/>
                  </a:lnTo>
                  <a:lnTo>
                    <a:pt x="512" y="363"/>
                  </a:lnTo>
                  <a:lnTo>
                    <a:pt x="504" y="351"/>
                  </a:lnTo>
                  <a:lnTo>
                    <a:pt x="495" y="330"/>
                  </a:lnTo>
                  <a:lnTo>
                    <a:pt x="501" y="300"/>
                  </a:lnTo>
                  <a:lnTo>
                    <a:pt x="491" y="285"/>
                  </a:lnTo>
                  <a:lnTo>
                    <a:pt x="487" y="270"/>
                  </a:lnTo>
                  <a:lnTo>
                    <a:pt x="492" y="256"/>
                  </a:lnTo>
                  <a:lnTo>
                    <a:pt x="489" y="244"/>
                  </a:lnTo>
                  <a:lnTo>
                    <a:pt x="468" y="221"/>
                  </a:lnTo>
                  <a:lnTo>
                    <a:pt x="479" y="207"/>
                  </a:lnTo>
                  <a:lnTo>
                    <a:pt x="479" y="183"/>
                  </a:lnTo>
                  <a:lnTo>
                    <a:pt x="481" y="155"/>
                  </a:lnTo>
                  <a:lnTo>
                    <a:pt x="458" y="130"/>
                  </a:lnTo>
                  <a:lnTo>
                    <a:pt x="447" y="115"/>
                  </a:lnTo>
                  <a:lnTo>
                    <a:pt x="434" y="102"/>
                  </a:lnTo>
                  <a:lnTo>
                    <a:pt x="414" y="85"/>
                  </a:lnTo>
                  <a:lnTo>
                    <a:pt x="401" y="76"/>
                  </a:lnTo>
                  <a:lnTo>
                    <a:pt x="392" y="74"/>
                  </a:lnTo>
                  <a:lnTo>
                    <a:pt x="379" y="83"/>
                  </a:lnTo>
                  <a:lnTo>
                    <a:pt x="369" y="89"/>
                  </a:lnTo>
                  <a:lnTo>
                    <a:pt x="340" y="111"/>
                  </a:lnTo>
                  <a:lnTo>
                    <a:pt x="319" y="106"/>
                  </a:lnTo>
                  <a:lnTo>
                    <a:pt x="310" y="106"/>
                  </a:lnTo>
                  <a:lnTo>
                    <a:pt x="310" y="98"/>
                  </a:lnTo>
                  <a:lnTo>
                    <a:pt x="314" y="87"/>
                  </a:lnTo>
                  <a:lnTo>
                    <a:pt x="319" y="78"/>
                  </a:lnTo>
                  <a:lnTo>
                    <a:pt x="292" y="61"/>
                  </a:lnTo>
                  <a:lnTo>
                    <a:pt x="284" y="59"/>
                  </a:lnTo>
                  <a:lnTo>
                    <a:pt x="271" y="48"/>
                  </a:lnTo>
                  <a:lnTo>
                    <a:pt x="266" y="28"/>
                  </a:lnTo>
                  <a:lnTo>
                    <a:pt x="260" y="15"/>
                  </a:lnTo>
                  <a:lnTo>
                    <a:pt x="251" y="17"/>
                  </a:lnTo>
                  <a:lnTo>
                    <a:pt x="240" y="4"/>
                  </a:lnTo>
                  <a:lnTo>
                    <a:pt x="22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23" name="Freeform 33"/>
          <p:cNvSpPr>
            <a:spLocks/>
          </p:cNvSpPr>
          <p:nvPr/>
        </p:nvSpPr>
        <p:spPr bwMode="auto">
          <a:xfrm>
            <a:off x="5174568" y="3026652"/>
            <a:ext cx="832119" cy="818876"/>
          </a:xfrm>
          <a:custGeom>
            <a:avLst/>
            <a:gdLst>
              <a:gd name="T0" fmla="*/ 2147483647 w 551"/>
              <a:gd name="T1" fmla="*/ 2147483647 h 518"/>
              <a:gd name="T2" fmla="*/ 0 w 551"/>
              <a:gd name="T3" fmla="*/ 2147483647 h 518"/>
              <a:gd name="T4" fmla="*/ 2147483647 w 551"/>
              <a:gd name="T5" fmla="*/ 2147483647 h 518"/>
              <a:gd name="T6" fmla="*/ 2147483647 w 551"/>
              <a:gd name="T7" fmla="*/ 2147483647 h 518"/>
              <a:gd name="T8" fmla="*/ 2147483647 w 551"/>
              <a:gd name="T9" fmla="*/ 2147483647 h 518"/>
              <a:gd name="T10" fmla="*/ 2147483647 w 551"/>
              <a:gd name="T11" fmla="*/ 2147483647 h 518"/>
              <a:gd name="T12" fmla="*/ 2147483647 w 551"/>
              <a:gd name="T13" fmla="*/ 2147483647 h 518"/>
              <a:gd name="T14" fmla="*/ 2147483647 w 551"/>
              <a:gd name="T15" fmla="*/ 2147483647 h 518"/>
              <a:gd name="T16" fmla="*/ 2147483647 w 551"/>
              <a:gd name="T17" fmla="*/ 2147483647 h 518"/>
              <a:gd name="T18" fmla="*/ 2147483647 w 551"/>
              <a:gd name="T19" fmla="*/ 2147483647 h 518"/>
              <a:gd name="T20" fmla="*/ 2147483647 w 551"/>
              <a:gd name="T21" fmla="*/ 2147483647 h 518"/>
              <a:gd name="T22" fmla="*/ 2147483647 w 551"/>
              <a:gd name="T23" fmla="*/ 2147483647 h 518"/>
              <a:gd name="T24" fmla="*/ 2147483647 w 551"/>
              <a:gd name="T25" fmla="*/ 2147483647 h 518"/>
              <a:gd name="T26" fmla="*/ 2147483647 w 551"/>
              <a:gd name="T27" fmla="*/ 2147483647 h 518"/>
              <a:gd name="T28" fmla="*/ 2147483647 w 551"/>
              <a:gd name="T29" fmla="*/ 2147483647 h 518"/>
              <a:gd name="T30" fmla="*/ 2147483647 w 551"/>
              <a:gd name="T31" fmla="*/ 2147483647 h 518"/>
              <a:gd name="T32" fmla="*/ 2147483647 w 551"/>
              <a:gd name="T33" fmla="*/ 2147483647 h 518"/>
              <a:gd name="T34" fmla="*/ 2147483647 w 551"/>
              <a:gd name="T35" fmla="*/ 2147483647 h 518"/>
              <a:gd name="T36" fmla="*/ 2147483647 w 551"/>
              <a:gd name="T37" fmla="*/ 2147483647 h 518"/>
              <a:gd name="T38" fmla="*/ 2147483647 w 551"/>
              <a:gd name="T39" fmla="*/ 2147483647 h 518"/>
              <a:gd name="T40" fmla="*/ 2147483647 w 551"/>
              <a:gd name="T41" fmla="*/ 2147483647 h 518"/>
              <a:gd name="T42" fmla="*/ 2147483647 w 551"/>
              <a:gd name="T43" fmla="*/ 2147483647 h 518"/>
              <a:gd name="T44" fmla="*/ 2147483647 w 551"/>
              <a:gd name="T45" fmla="*/ 2147483647 h 518"/>
              <a:gd name="T46" fmla="*/ 2147483647 w 551"/>
              <a:gd name="T47" fmla="*/ 2147483647 h 518"/>
              <a:gd name="T48" fmla="*/ 2147483647 w 551"/>
              <a:gd name="T49" fmla="*/ 2147483647 h 518"/>
              <a:gd name="T50" fmla="*/ 2147483647 w 551"/>
              <a:gd name="T51" fmla="*/ 2147483647 h 518"/>
              <a:gd name="T52" fmla="*/ 2147483647 w 551"/>
              <a:gd name="T53" fmla="*/ 2147483647 h 518"/>
              <a:gd name="T54" fmla="*/ 2147483647 w 551"/>
              <a:gd name="T55" fmla="*/ 2147483647 h 518"/>
              <a:gd name="T56" fmla="*/ 2147483647 w 551"/>
              <a:gd name="T57" fmla="*/ 2147483647 h 518"/>
              <a:gd name="T58" fmla="*/ 2147483647 w 551"/>
              <a:gd name="T59" fmla="*/ 2147483647 h 518"/>
              <a:gd name="T60" fmla="*/ 2147483647 w 551"/>
              <a:gd name="T61" fmla="*/ 2147483647 h 518"/>
              <a:gd name="T62" fmla="*/ 2147483647 w 551"/>
              <a:gd name="T63" fmla="*/ 2147483647 h 518"/>
              <a:gd name="T64" fmla="*/ 2147483647 w 551"/>
              <a:gd name="T65" fmla="*/ 2147483647 h 518"/>
              <a:gd name="T66" fmla="*/ 2147483647 w 551"/>
              <a:gd name="T67" fmla="*/ 2147483647 h 518"/>
              <a:gd name="T68" fmla="*/ 2147483647 w 551"/>
              <a:gd name="T69" fmla="*/ 2147483647 h 518"/>
              <a:gd name="T70" fmla="*/ 2147483647 w 551"/>
              <a:gd name="T71" fmla="*/ 2147483647 h 518"/>
              <a:gd name="T72" fmla="*/ 2147483647 w 551"/>
              <a:gd name="T73" fmla="*/ 2147483647 h 518"/>
              <a:gd name="T74" fmla="*/ 2147483647 w 551"/>
              <a:gd name="T75" fmla="*/ 2147483647 h 518"/>
              <a:gd name="T76" fmla="*/ 2147483647 w 551"/>
              <a:gd name="T77" fmla="*/ 2147483647 h 518"/>
              <a:gd name="T78" fmla="*/ 2147483647 w 551"/>
              <a:gd name="T79" fmla="*/ 2147483647 h 518"/>
              <a:gd name="T80" fmla="*/ 2147483647 w 551"/>
              <a:gd name="T81" fmla="*/ 2147483647 h 518"/>
              <a:gd name="T82" fmla="*/ 2147483647 w 551"/>
              <a:gd name="T83" fmla="*/ 2147483647 h 518"/>
              <a:gd name="T84" fmla="*/ 2147483647 w 551"/>
              <a:gd name="T85" fmla="*/ 2147483647 h 518"/>
              <a:gd name="T86" fmla="*/ 2147483647 w 551"/>
              <a:gd name="T87" fmla="*/ 2147483647 h 518"/>
              <a:gd name="T88" fmla="*/ 2147483647 w 551"/>
              <a:gd name="T89" fmla="*/ 2147483647 h 518"/>
              <a:gd name="T90" fmla="*/ 2147483647 w 551"/>
              <a:gd name="T91" fmla="*/ 2147483647 h 518"/>
              <a:gd name="T92" fmla="*/ 2147483647 w 551"/>
              <a:gd name="T93" fmla="*/ 2147483647 h 518"/>
              <a:gd name="T94" fmla="*/ 2147483647 w 551"/>
              <a:gd name="T95" fmla="*/ 2147483647 h 51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551"/>
              <a:gd name="T145" fmla="*/ 0 h 518"/>
              <a:gd name="T146" fmla="*/ 551 w 551"/>
              <a:gd name="T147" fmla="*/ 518 h 51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551" h="518">
                <a:moveTo>
                  <a:pt x="13" y="98"/>
                </a:moveTo>
                <a:lnTo>
                  <a:pt x="11" y="130"/>
                </a:lnTo>
                <a:lnTo>
                  <a:pt x="11" y="150"/>
                </a:lnTo>
                <a:lnTo>
                  <a:pt x="0" y="165"/>
                </a:lnTo>
                <a:lnTo>
                  <a:pt x="22" y="191"/>
                </a:lnTo>
                <a:lnTo>
                  <a:pt x="24" y="198"/>
                </a:lnTo>
                <a:lnTo>
                  <a:pt x="19" y="215"/>
                </a:lnTo>
                <a:lnTo>
                  <a:pt x="20" y="226"/>
                </a:lnTo>
                <a:lnTo>
                  <a:pt x="31" y="241"/>
                </a:lnTo>
                <a:lnTo>
                  <a:pt x="30" y="250"/>
                </a:lnTo>
                <a:lnTo>
                  <a:pt x="28" y="278"/>
                </a:lnTo>
                <a:lnTo>
                  <a:pt x="37" y="297"/>
                </a:lnTo>
                <a:lnTo>
                  <a:pt x="44" y="308"/>
                </a:lnTo>
                <a:lnTo>
                  <a:pt x="39" y="315"/>
                </a:lnTo>
                <a:lnTo>
                  <a:pt x="39" y="326"/>
                </a:lnTo>
                <a:lnTo>
                  <a:pt x="33" y="332"/>
                </a:lnTo>
                <a:lnTo>
                  <a:pt x="33" y="339"/>
                </a:lnTo>
                <a:lnTo>
                  <a:pt x="48" y="341"/>
                </a:lnTo>
                <a:lnTo>
                  <a:pt x="59" y="345"/>
                </a:lnTo>
                <a:lnTo>
                  <a:pt x="63" y="352"/>
                </a:lnTo>
                <a:lnTo>
                  <a:pt x="63" y="365"/>
                </a:lnTo>
                <a:lnTo>
                  <a:pt x="78" y="380"/>
                </a:lnTo>
                <a:lnTo>
                  <a:pt x="92" y="386"/>
                </a:lnTo>
                <a:lnTo>
                  <a:pt x="95" y="399"/>
                </a:lnTo>
                <a:lnTo>
                  <a:pt x="112" y="421"/>
                </a:lnTo>
                <a:lnTo>
                  <a:pt x="127" y="408"/>
                </a:lnTo>
                <a:lnTo>
                  <a:pt x="140" y="404"/>
                </a:lnTo>
                <a:lnTo>
                  <a:pt x="149" y="406"/>
                </a:lnTo>
                <a:lnTo>
                  <a:pt x="175" y="434"/>
                </a:lnTo>
                <a:lnTo>
                  <a:pt x="181" y="436"/>
                </a:lnTo>
                <a:lnTo>
                  <a:pt x="212" y="450"/>
                </a:lnTo>
                <a:lnTo>
                  <a:pt x="219" y="452"/>
                </a:lnTo>
                <a:lnTo>
                  <a:pt x="232" y="449"/>
                </a:lnTo>
                <a:lnTo>
                  <a:pt x="247" y="447"/>
                </a:lnTo>
                <a:lnTo>
                  <a:pt x="260" y="452"/>
                </a:lnTo>
                <a:lnTo>
                  <a:pt x="277" y="467"/>
                </a:lnTo>
                <a:lnTo>
                  <a:pt x="284" y="475"/>
                </a:lnTo>
                <a:lnTo>
                  <a:pt x="292" y="469"/>
                </a:lnTo>
                <a:lnTo>
                  <a:pt x="301" y="467"/>
                </a:lnTo>
                <a:lnTo>
                  <a:pt x="314" y="478"/>
                </a:lnTo>
                <a:lnTo>
                  <a:pt x="329" y="490"/>
                </a:lnTo>
                <a:lnTo>
                  <a:pt x="340" y="498"/>
                </a:lnTo>
                <a:lnTo>
                  <a:pt x="355" y="503"/>
                </a:lnTo>
                <a:lnTo>
                  <a:pt x="362" y="501"/>
                </a:lnTo>
                <a:lnTo>
                  <a:pt x="369" y="494"/>
                </a:lnTo>
                <a:lnTo>
                  <a:pt x="379" y="490"/>
                </a:lnTo>
                <a:lnTo>
                  <a:pt x="397" y="496"/>
                </a:lnTo>
                <a:lnTo>
                  <a:pt x="482" y="518"/>
                </a:lnTo>
                <a:lnTo>
                  <a:pt x="495" y="507"/>
                </a:lnTo>
                <a:lnTo>
                  <a:pt x="486" y="490"/>
                </a:lnTo>
                <a:lnTo>
                  <a:pt x="477" y="462"/>
                </a:lnTo>
                <a:lnTo>
                  <a:pt x="536" y="408"/>
                </a:lnTo>
                <a:lnTo>
                  <a:pt x="547" y="395"/>
                </a:lnTo>
                <a:lnTo>
                  <a:pt x="551" y="374"/>
                </a:lnTo>
                <a:lnTo>
                  <a:pt x="542" y="347"/>
                </a:lnTo>
                <a:lnTo>
                  <a:pt x="532" y="324"/>
                </a:lnTo>
                <a:lnTo>
                  <a:pt x="516" y="298"/>
                </a:lnTo>
                <a:lnTo>
                  <a:pt x="505" y="287"/>
                </a:lnTo>
                <a:lnTo>
                  <a:pt x="503" y="271"/>
                </a:lnTo>
                <a:lnTo>
                  <a:pt x="505" y="254"/>
                </a:lnTo>
                <a:lnTo>
                  <a:pt x="510" y="237"/>
                </a:lnTo>
                <a:lnTo>
                  <a:pt x="503" y="226"/>
                </a:lnTo>
                <a:lnTo>
                  <a:pt x="494" y="219"/>
                </a:lnTo>
                <a:lnTo>
                  <a:pt x="503" y="208"/>
                </a:lnTo>
                <a:lnTo>
                  <a:pt x="518" y="187"/>
                </a:lnTo>
                <a:lnTo>
                  <a:pt x="523" y="182"/>
                </a:lnTo>
                <a:lnTo>
                  <a:pt x="520" y="146"/>
                </a:lnTo>
                <a:lnTo>
                  <a:pt x="514" y="128"/>
                </a:lnTo>
                <a:lnTo>
                  <a:pt x="508" y="109"/>
                </a:lnTo>
                <a:lnTo>
                  <a:pt x="508" y="91"/>
                </a:lnTo>
                <a:lnTo>
                  <a:pt x="497" y="74"/>
                </a:lnTo>
                <a:lnTo>
                  <a:pt x="482" y="59"/>
                </a:lnTo>
                <a:lnTo>
                  <a:pt x="466" y="57"/>
                </a:lnTo>
                <a:lnTo>
                  <a:pt x="418" y="56"/>
                </a:lnTo>
                <a:lnTo>
                  <a:pt x="392" y="54"/>
                </a:lnTo>
                <a:lnTo>
                  <a:pt x="344" y="50"/>
                </a:lnTo>
                <a:lnTo>
                  <a:pt x="325" y="41"/>
                </a:lnTo>
                <a:lnTo>
                  <a:pt x="305" y="39"/>
                </a:lnTo>
                <a:lnTo>
                  <a:pt x="294" y="43"/>
                </a:lnTo>
                <a:lnTo>
                  <a:pt x="281" y="52"/>
                </a:lnTo>
                <a:lnTo>
                  <a:pt x="269" y="48"/>
                </a:lnTo>
                <a:lnTo>
                  <a:pt x="258" y="37"/>
                </a:lnTo>
                <a:lnTo>
                  <a:pt x="245" y="37"/>
                </a:lnTo>
                <a:lnTo>
                  <a:pt x="240" y="32"/>
                </a:lnTo>
                <a:lnTo>
                  <a:pt x="236" y="15"/>
                </a:lnTo>
                <a:lnTo>
                  <a:pt x="219" y="2"/>
                </a:lnTo>
                <a:lnTo>
                  <a:pt x="207" y="0"/>
                </a:lnTo>
                <a:lnTo>
                  <a:pt x="184" y="6"/>
                </a:lnTo>
                <a:lnTo>
                  <a:pt x="166" y="11"/>
                </a:lnTo>
                <a:lnTo>
                  <a:pt x="151" y="20"/>
                </a:lnTo>
                <a:lnTo>
                  <a:pt x="125" y="35"/>
                </a:lnTo>
                <a:lnTo>
                  <a:pt x="99" y="43"/>
                </a:lnTo>
                <a:lnTo>
                  <a:pt x="76" y="52"/>
                </a:lnTo>
                <a:lnTo>
                  <a:pt x="52" y="63"/>
                </a:lnTo>
                <a:lnTo>
                  <a:pt x="39" y="78"/>
                </a:lnTo>
                <a:lnTo>
                  <a:pt x="24" y="91"/>
                </a:lnTo>
                <a:lnTo>
                  <a:pt x="13" y="98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24" name="Freeform 56"/>
          <p:cNvSpPr>
            <a:spLocks/>
          </p:cNvSpPr>
          <p:nvPr/>
        </p:nvSpPr>
        <p:spPr bwMode="auto">
          <a:xfrm>
            <a:off x="4972201" y="3556234"/>
            <a:ext cx="608610" cy="347785"/>
          </a:xfrm>
          <a:custGeom>
            <a:avLst/>
            <a:gdLst>
              <a:gd name="T0" fmla="*/ 2147483647 w 403"/>
              <a:gd name="T1" fmla="*/ 2147483647 h 220"/>
              <a:gd name="T2" fmla="*/ 2147483647 w 403"/>
              <a:gd name="T3" fmla="*/ 2147483647 h 220"/>
              <a:gd name="T4" fmla="*/ 2147483647 w 403"/>
              <a:gd name="T5" fmla="*/ 2147483647 h 220"/>
              <a:gd name="T6" fmla="*/ 2147483647 w 403"/>
              <a:gd name="T7" fmla="*/ 2147483647 h 220"/>
              <a:gd name="T8" fmla="*/ 2147483647 w 403"/>
              <a:gd name="T9" fmla="*/ 2147483647 h 220"/>
              <a:gd name="T10" fmla="*/ 2147483647 w 403"/>
              <a:gd name="T11" fmla="*/ 2147483647 h 220"/>
              <a:gd name="T12" fmla="*/ 2147483647 w 403"/>
              <a:gd name="T13" fmla="*/ 2147483647 h 220"/>
              <a:gd name="T14" fmla="*/ 2147483647 w 403"/>
              <a:gd name="T15" fmla="*/ 2147483647 h 220"/>
              <a:gd name="T16" fmla="*/ 0 w 403"/>
              <a:gd name="T17" fmla="*/ 2147483647 h 220"/>
              <a:gd name="T18" fmla="*/ 2147483647 w 403"/>
              <a:gd name="T19" fmla="*/ 2147483647 h 220"/>
              <a:gd name="T20" fmla="*/ 2147483647 w 403"/>
              <a:gd name="T21" fmla="*/ 2147483647 h 220"/>
              <a:gd name="T22" fmla="*/ 2147483647 w 403"/>
              <a:gd name="T23" fmla="*/ 2147483647 h 220"/>
              <a:gd name="T24" fmla="*/ 2147483647 w 403"/>
              <a:gd name="T25" fmla="*/ 2147483647 h 220"/>
              <a:gd name="T26" fmla="*/ 2147483647 w 403"/>
              <a:gd name="T27" fmla="*/ 0 h 220"/>
              <a:gd name="T28" fmla="*/ 2147483647 w 403"/>
              <a:gd name="T29" fmla="*/ 2147483647 h 220"/>
              <a:gd name="T30" fmla="*/ 2147483647 w 403"/>
              <a:gd name="T31" fmla="*/ 2147483647 h 220"/>
              <a:gd name="T32" fmla="*/ 2147483647 w 403"/>
              <a:gd name="T33" fmla="*/ 2147483647 h 220"/>
              <a:gd name="T34" fmla="*/ 2147483647 w 403"/>
              <a:gd name="T35" fmla="*/ 2147483647 h 220"/>
              <a:gd name="T36" fmla="*/ 2147483647 w 403"/>
              <a:gd name="T37" fmla="*/ 2147483647 h 220"/>
              <a:gd name="T38" fmla="*/ 2147483647 w 403"/>
              <a:gd name="T39" fmla="*/ 2147483647 h 220"/>
              <a:gd name="T40" fmla="*/ 2147483647 w 403"/>
              <a:gd name="T41" fmla="*/ 2147483647 h 220"/>
              <a:gd name="T42" fmla="*/ 2147483647 w 403"/>
              <a:gd name="T43" fmla="*/ 2147483647 h 220"/>
              <a:gd name="T44" fmla="*/ 2147483647 w 403"/>
              <a:gd name="T45" fmla="*/ 2147483647 h 220"/>
              <a:gd name="T46" fmla="*/ 2147483647 w 403"/>
              <a:gd name="T47" fmla="*/ 2147483647 h 220"/>
              <a:gd name="T48" fmla="*/ 2147483647 w 403"/>
              <a:gd name="T49" fmla="*/ 2147483647 h 220"/>
              <a:gd name="T50" fmla="*/ 2147483647 w 403"/>
              <a:gd name="T51" fmla="*/ 2147483647 h 220"/>
              <a:gd name="T52" fmla="*/ 2147483647 w 403"/>
              <a:gd name="T53" fmla="*/ 2147483647 h 220"/>
              <a:gd name="T54" fmla="*/ 2147483647 w 403"/>
              <a:gd name="T55" fmla="*/ 2147483647 h 220"/>
              <a:gd name="T56" fmla="*/ 2147483647 w 403"/>
              <a:gd name="T57" fmla="*/ 2147483647 h 220"/>
              <a:gd name="T58" fmla="*/ 2147483647 w 403"/>
              <a:gd name="T59" fmla="*/ 2147483647 h 220"/>
              <a:gd name="T60" fmla="*/ 2147483647 w 403"/>
              <a:gd name="T61" fmla="*/ 2147483647 h 220"/>
              <a:gd name="T62" fmla="*/ 2147483647 w 403"/>
              <a:gd name="T63" fmla="*/ 2147483647 h 220"/>
              <a:gd name="T64" fmla="*/ 2147483647 w 403"/>
              <a:gd name="T65" fmla="*/ 2147483647 h 220"/>
              <a:gd name="T66" fmla="*/ 2147483647 w 403"/>
              <a:gd name="T67" fmla="*/ 2147483647 h 220"/>
              <a:gd name="T68" fmla="*/ 2147483647 w 403"/>
              <a:gd name="T69" fmla="*/ 2147483647 h 220"/>
              <a:gd name="T70" fmla="*/ 2147483647 w 403"/>
              <a:gd name="T71" fmla="*/ 2147483647 h 220"/>
              <a:gd name="T72" fmla="*/ 2147483647 w 403"/>
              <a:gd name="T73" fmla="*/ 2147483647 h 220"/>
              <a:gd name="T74" fmla="*/ 2147483647 w 403"/>
              <a:gd name="T75" fmla="*/ 2147483647 h 220"/>
              <a:gd name="T76" fmla="*/ 2147483647 w 403"/>
              <a:gd name="T77" fmla="*/ 2147483647 h 220"/>
              <a:gd name="T78" fmla="*/ 2147483647 w 403"/>
              <a:gd name="T79" fmla="*/ 2147483647 h 220"/>
              <a:gd name="T80" fmla="*/ 2147483647 w 403"/>
              <a:gd name="T81" fmla="*/ 2147483647 h 220"/>
              <a:gd name="T82" fmla="*/ 2147483647 w 403"/>
              <a:gd name="T83" fmla="*/ 2147483647 h 220"/>
              <a:gd name="T84" fmla="*/ 2147483647 w 403"/>
              <a:gd name="T85" fmla="*/ 2147483647 h 220"/>
              <a:gd name="T86" fmla="*/ 2147483647 w 403"/>
              <a:gd name="T87" fmla="*/ 2147483647 h 220"/>
              <a:gd name="T88" fmla="*/ 2147483647 w 403"/>
              <a:gd name="T89" fmla="*/ 2147483647 h 220"/>
              <a:gd name="T90" fmla="*/ 2147483647 w 403"/>
              <a:gd name="T91" fmla="*/ 2147483647 h 220"/>
              <a:gd name="T92" fmla="*/ 2147483647 w 403"/>
              <a:gd name="T93" fmla="*/ 2147483647 h 220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03"/>
              <a:gd name="T142" fmla="*/ 0 h 220"/>
              <a:gd name="T143" fmla="*/ 403 w 403"/>
              <a:gd name="T144" fmla="*/ 220 h 220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03" h="220">
                <a:moveTo>
                  <a:pt x="99" y="211"/>
                </a:moveTo>
                <a:lnTo>
                  <a:pt x="96" y="199"/>
                </a:lnTo>
                <a:lnTo>
                  <a:pt x="83" y="192"/>
                </a:lnTo>
                <a:lnTo>
                  <a:pt x="36" y="149"/>
                </a:lnTo>
                <a:lnTo>
                  <a:pt x="33" y="126"/>
                </a:lnTo>
                <a:lnTo>
                  <a:pt x="12" y="123"/>
                </a:lnTo>
                <a:lnTo>
                  <a:pt x="13" y="102"/>
                </a:lnTo>
                <a:lnTo>
                  <a:pt x="6" y="82"/>
                </a:lnTo>
                <a:lnTo>
                  <a:pt x="0" y="71"/>
                </a:lnTo>
                <a:lnTo>
                  <a:pt x="4" y="59"/>
                </a:lnTo>
                <a:lnTo>
                  <a:pt x="19" y="59"/>
                </a:lnTo>
                <a:lnTo>
                  <a:pt x="45" y="53"/>
                </a:lnTo>
                <a:lnTo>
                  <a:pt x="126" y="11"/>
                </a:lnTo>
                <a:lnTo>
                  <a:pt x="143" y="0"/>
                </a:lnTo>
                <a:lnTo>
                  <a:pt x="154" y="13"/>
                </a:lnTo>
                <a:lnTo>
                  <a:pt x="171" y="6"/>
                </a:lnTo>
                <a:lnTo>
                  <a:pt x="187" y="7"/>
                </a:lnTo>
                <a:lnTo>
                  <a:pt x="197" y="14"/>
                </a:lnTo>
                <a:lnTo>
                  <a:pt x="197" y="33"/>
                </a:lnTo>
                <a:lnTo>
                  <a:pt x="227" y="52"/>
                </a:lnTo>
                <a:lnTo>
                  <a:pt x="229" y="65"/>
                </a:lnTo>
                <a:lnTo>
                  <a:pt x="240" y="80"/>
                </a:lnTo>
                <a:lnTo>
                  <a:pt x="248" y="86"/>
                </a:lnTo>
                <a:lnTo>
                  <a:pt x="253" y="80"/>
                </a:lnTo>
                <a:lnTo>
                  <a:pt x="274" y="69"/>
                </a:lnTo>
                <a:lnTo>
                  <a:pt x="283" y="71"/>
                </a:lnTo>
                <a:lnTo>
                  <a:pt x="309" y="100"/>
                </a:lnTo>
                <a:lnTo>
                  <a:pt x="315" y="99"/>
                </a:lnTo>
                <a:lnTo>
                  <a:pt x="342" y="115"/>
                </a:lnTo>
                <a:lnTo>
                  <a:pt x="382" y="113"/>
                </a:lnTo>
                <a:lnTo>
                  <a:pt x="403" y="126"/>
                </a:lnTo>
                <a:lnTo>
                  <a:pt x="359" y="151"/>
                </a:lnTo>
                <a:lnTo>
                  <a:pt x="357" y="181"/>
                </a:lnTo>
                <a:lnTo>
                  <a:pt x="330" y="206"/>
                </a:lnTo>
                <a:lnTo>
                  <a:pt x="301" y="205"/>
                </a:lnTo>
                <a:lnTo>
                  <a:pt x="285" y="212"/>
                </a:lnTo>
                <a:lnTo>
                  <a:pt x="265" y="220"/>
                </a:lnTo>
                <a:lnTo>
                  <a:pt x="240" y="204"/>
                </a:lnTo>
                <a:lnTo>
                  <a:pt x="224" y="212"/>
                </a:lnTo>
                <a:lnTo>
                  <a:pt x="209" y="215"/>
                </a:lnTo>
                <a:lnTo>
                  <a:pt x="197" y="196"/>
                </a:lnTo>
                <a:lnTo>
                  <a:pt x="162" y="197"/>
                </a:lnTo>
                <a:lnTo>
                  <a:pt x="151" y="205"/>
                </a:lnTo>
                <a:lnTo>
                  <a:pt x="143" y="213"/>
                </a:lnTo>
                <a:lnTo>
                  <a:pt x="128" y="213"/>
                </a:lnTo>
                <a:lnTo>
                  <a:pt x="112" y="216"/>
                </a:lnTo>
                <a:lnTo>
                  <a:pt x="99" y="211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25" name="Freeform 57"/>
          <p:cNvSpPr>
            <a:spLocks/>
          </p:cNvSpPr>
          <p:nvPr/>
        </p:nvSpPr>
        <p:spPr bwMode="auto">
          <a:xfrm>
            <a:off x="5032609" y="4202799"/>
            <a:ext cx="549712" cy="564361"/>
          </a:xfrm>
          <a:custGeom>
            <a:avLst/>
            <a:gdLst>
              <a:gd name="T0" fmla="*/ 2147483647 w 364"/>
              <a:gd name="T1" fmla="*/ 2147483647 h 357"/>
              <a:gd name="T2" fmla="*/ 2147483647 w 364"/>
              <a:gd name="T3" fmla="*/ 2147483647 h 357"/>
              <a:gd name="T4" fmla="*/ 2147483647 w 364"/>
              <a:gd name="T5" fmla="*/ 2147483647 h 357"/>
              <a:gd name="T6" fmla="*/ 2147483647 w 364"/>
              <a:gd name="T7" fmla="*/ 2147483647 h 357"/>
              <a:gd name="T8" fmla="*/ 2147483647 w 364"/>
              <a:gd name="T9" fmla="*/ 2147483647 h 357"/>
              <a:gd name="T10" fmla="*/ 2147483647 w 364"/>
              <a:gd name="T11" fmla="*/ 2147483647 h 357"/>
              <a:gd name="T12" fmla="*/ 2147483647 w 364"/>
              <a:gd name="T13" fmla="*/ 2147483647 h 357"/>
              <a:gd name="T14" fmla="*/ 2147483647 w 364"/>
              <a:gd name="T15" fmla="*/ 2147483647 h 357"/>
              <a:gd name="T16" fmla="*/ 2147483647 w 364"/>
              <a:gd name="T17" fmla="*/ 2147483647 h 357"/>
              <a:gd name="T18" fmla="*/ 2147483647 w 364"/>
              <a:gd name="T19" fmla="*/ 2147483647 h 357"/>
              <a:gd name="T20" fmla="*/ 2147483647 w 364"/>
              <a:gd name="T21" fmla="*/ 2147483647 h 357"/>
              <a:gd name="T22" fmla="*/ 2147483647 w 364"/>
              <a:gd name="T23" fmla="*/ 2147483647 h 357"/>
              <a:gd name="T24" fmla="*/ 2147483647 w 364"/>
              <a:gd name="T25" fmla="*/ 2147483647 h 357"/>
              <a:gd name="T26" fmla="*/ 2147483647 w 364"/>
              <a:gd name="T27" fmla="*/ 2147483647 h 357"/>
              <a:gd name="T28" fmla="*/ 2147483647 w 364"/>
              <a:gd name="T29" fmla="*/ 2147483647 h 357"/>
              <a:gd name="T30" fmla="*/ 2147483647 w 364"/>
              <a:gd name="T31" fmla="*/ 2147483647 h 357"/>
              <a:gd name="T32" fmla="*/ 2147483647 w 364"/>
              <a:gd name="T33" fmla="*/ 2147483647 h 357"/>
              <a:gd name="T34" fmla="*/ 2147483647 w 364"/>
              <a:gd name="T35" fmla="*/ 2147483647 h 357"/>
              <a:gd name="T36" fmla="*/ 2147483647 w 364"/>
              <a:gd name="T37" fmla="*/ 2147483647 h 357"/>
              <a:gd name="T38" fmla="*/ 2147483647 w 364"/>
              <a:gd name="T39" fmla="*/ 2147483647 h 357"/>
              <a:gd name="T40" fmla="*/ 2147483647 w 364"/>
              <a:gd name="T41" fmla="*/ 2147483647 h 357"/>
              <a:gd name="T42" fmla="*/ 2147483647 w 364"/>
              <a:gd name="T43" fmla="*/ 2147483647 h 357"/>
              <a:gd name="T44" fmla="*/ 2147483647 w 364"/>
              <a:gd name="T45" fmla="*/ 2147483647 h 357"/>
              <a:gd name="T46" fmla="*/ 2147483647 w 364"/>
              <a:gd name="T47" fmla="*/ 2147483647 h 357"/>
              <a:gd name="T48" fmla="*/ 2147483647 w 364"/>
              <a:gd name="T49" fmla="*/ 2147483647 h 357"/>
              <a:gd name="T50" fmla="*/ 2147483647 w 364"/>
              <a:gd name="T51" fmla="*/ 2147483647 h 357"/>
              <a:gd name="T52" fmla="*/ 2147483647 w 364"/>
              <a:gd name="T53" fmla="*/ 2147483647 h 357"/>
              <a:gd name="T54" fmla="*/ 2147483647 w 364"/>
              <a:gd name="T55" fmla="*/ 2147483647 h 357"/>
              <a:gd name="T56" fmla="*/ 2147483647 w 364"/>
              <a:gd name="T57" fmla="*/ 2147483647 h 357"/>
              <a:gd name="T58" fmla="*/ 2147483647 w 364"/>
              <a:gd name="T59" fmla="*/ 2147483647 h 357"/>
              <a:gd name="T60" fmla="*/ 2147483647 w 364"/>
              <a:gd name="T61" fmla="*/ 2147483647 h 357"/>
              <a:gd name="T62" fmla="*/ 2147483647 w 364"/>
              <a:gd name="T63" fmla="*/ 2147483647 h 357"/>
              <a:gd name="T64" fmla="*/ 2147483647 w 364"/>
              <a:gd name="T65" fmla="*/ 2147483647 h 357"/>
              <a:gd name="T66" fmla="*/ 2147483647 w 364"/>
              <a:gd name="T67" fmla="*/ 2147483647 h 357"/>
              <a:gd name="T68" fmla="*/ 2147483647 w 364"/>
              <a:gd name="T69" fmla="*/ 2147483647 h 357"/>
              <a:gd name="T70" fmla="*/ 2147483647 w 364"/>
              <a:gd name="T71" fmla="*/ 2147483647 h 357"/>
              <a:gd name="T72" fmla="*/ 2147483647 w 364"/>
              <a:gd name="T73" fmla="*/ 2147483647 h 357"/>
              <a:gd name="T74" fmla="*/ 2147483647 w 364"/>
              <a:gd name="T75" fmla="*/ 2147483647 h 357"/>
              <a:gd name="T76" fmla="*/ 2147483647 w 364"/>
              <a:gd name="T77" fmla="*/ 2147483647 h 357"/>
              <a:gd name="T78" fmla="*/ 2147483647 w 364"/>
              <a:gd name="T79" fmla="*/ 0 h 357"/>
              <a:gd name="T80" fmla="*/ 2147483647 w 364"/>
              <a:gd name="T81" fmla="*/ 2147483647 h 357"/>
              <a:gd name="T82" fmla="*/ 2147483647 w 364"/>
              <a:gd name="T83" fmla="*/ 2147483647 h 357"/>
              <a:gd name="T84" fmla="*/ 2147483647 w 364"/>
              <a:gd name="T85" fmla="*/ 2147483647 h 357"/>
              <a:gd name="T86" fmla="*/ 2147483647 w 364"/>
              <a:gd name="T87" fmla="*/ 2147483647 h 357"/>
              <a:gd name="T88" fmla="*/ 0 w 364"/>
              <a:gd name="T89" fmla="*/ 2147483647 h 357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64"/>
              <a:gd name="T136" fmla="*/ 0 h 357"/>
              <a:gd name="T137" fmla="*/ 364 w 364"/>
              <a:gd name="T138" fmla="*/ 357 h 357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64" h="357">
                <a:moveTo>
                  <a:pt x="0" y="80"/>
                </a:moveTo>
                <a:lnTo>
                  <a:pt x="7" y="102"/>
                </a:lnTo>
                <a:lnTo>
                  <a:pt x="15" y="119"/>
                </a:lnTo>
                <a:lnTo>
                  <a:pt x="22" y="130"/>
                </a:lnTo>
                <a:lnTo>
                  <a:pt x="31" y="132"/>
                </a:lnTo>
                <a:lnTo>
                  <a:pt x="41" y="126"/>
                </a:lnTo>
                <a:lnTo>
                  <a:pt x="46" y="115"/>
                </a:lnTo>
                <a:lnTo>
                  <a:pt x="56" y="98"/>
                </a:lnTo>
                <a:lnTo>
                  <a:pt x="69" y="108"/>
                </a:lnTo>
                <a:lnTo>
                  <a:pt x="82" y="111"/>
                </a:lnTo>
                <a:lnTo>
                  <a:pt x="91" y="117"/>
                </a:lnTo>
                <a:lnTo>
                  <a:pt x="89" y="135"/>
                </a:lnTo>
                <a:lnTo>
                  <a:pt x="89" y="147"/>
                </a:lnTo>
                <a:lnTo>
                  <a:pt x="102" y="167"/>
                </a:lnTo>
                <a:lnTo>
                  <a:pt x="117" y="184"/>
                </a:lnTo>
                <a:lnTo>
                  <a:pt x="115" y="189"/>
                </a:lnTo>
                <a:lnTo>
                  <a:pt x="98" y="189"/>
                </a:lnTo>
                <a:lnTo>
                  <a:pt x="106" y="199"/>
                </a:lnTo>
                <a:lnTo>
                  <a:pt x="156" y="256"/>
                </a:lnTo>
                <a:lnTo>
                  <a:pt x="161" y="260"/>
                </a:lnTo>
                <a:lnTo>
                  <a:pt x="176" y="260"/>
                </a:lnTo>
                <a:lnTo>
                  <a:pt x="188" y="263"/>
                </a:lnTo>
                <a:lnTo>
                  <a:pt x="210" y="273"/>
                </a:lnTo>
                <a:lnTo>
                  <a:pt x="229" y="291"/>
                </a:lnTo>
                <a:lnTo>
                  <a:pt x="233" y="299"/>
                </a:lnTo>
                <a:lnTo>
                  <a:pt x="240" y="314"/>
                </a:lnTo>
                <a:lnTo>
                  <a:pt x="246" y="313"/>
                </a:lnTo>
                <a:lnTo>
                  <a:pt x="251" y="313"/>
                </a:lnTo>
                <a:lnTo>
                  <a:pt x="266" y="319"/>
                </a:lnTo>
                <a:lnTo>
                  <a:pt x="275" y="326"/>
                </a:lnTo>
                <a:lnTo>
                  <a:pt x="303" y="357"/>
                </a:lnTo>
                <a:lnTo>
                  <a:pt x="291" y="325"/>
                </a:lnTo>
                <a:lnTo>
                  <a:pt x="284" y="313"/>
                </a:lnTo>
                <a:lnTo>
                  <a:pt x="290" y="301"/>
                </a:lnTo>
                <a:lnTo>
                  <a:pt x="286" y="291"/>
                </a:lnTo>
                <a:lnTo>
                  <a:pt x="272" y="275"/>
                </a:lnTo>
                <a:lnTo>
                  <a:pt x="246" y="245"/>
                </a:lnTo>
                <a:lnTo>
                  <a:pt x="229" y="232"/>
                </a:lnTo>
                <a:lnTo>
                  <a:pt x="223" y="226"/>
                </a:lnTo>
                <a:lnTo>
                  <a:pt x="214" y="228"/>
                </a:lnTo>
                <a:lnTo>
                  <a:pt x="201" y="217"/>
                </a:lnTo>
                <a:lnTo>
                  <a:pt x="199" y="217"/>
                </a:lnTo>
                <a:lnTo>
                  <a:pt x="192" y="210"/>
                </a:lnTo>
                <a:lnTo>
                  <a:pt x="188" y="197"/>
                </a:lnTo>
                <a:lnTo>
                  <a:pt x="184" y="184"/>
                </a:lnTo>
                <a:lnTo>
                  <a:pt x="169" y="165"/>
                </a:lnTo>
                <a:lnTo>
                  <a:pt x="139" y="134"/>
                </a:lnTo>
                <a:lnTo>
                  <a:pt x="137" y="126"/>
                </a:lnTo>
                <a:lnTo>
                  <a:pt x="139" y="122"/>
                </a:lnTo>
                <a:lnTo>
                  <a:pt x="154" y="119"/>
                </a:lnTo>
                <a:lnTo>
                  <a:pt x="196" y="132"/>
                </a:lnTo>
                <a:lnTo>
                  <a:pt x="223" y="102"/>
                </a:lnTo>
                <a:lnTo>
                  <a:pt x="246" y="121"/>
                </a:lnTo>
                <a:lnTo>
                  <a:pt x="255" y="122"/>
                </a:lnTo>
                <a:lnTo>
                  <a:pt x="260" y="130"/>
                </a:lnTo>
                <a:lnTo>
                  <a:pt x="268" y="122"/>
                </a:lnTo>
                <a:lnTo>
                  <a:pt x="283" y="122"/>
                </a:lnTo>
                <a:lnTo>
                  <a:pt x="296" y="124"/>
                </a:lnTo>
                <a:lnTo>
                  <a:pt x="314" y="115"/>
                </a:lnTo>
                <a:lnTo>
                  <a:pt x="333" y="122"/>
                </a:lnTo>
                <a:lnTo>
                  <a:pt x="344" y="132"/>
                </a:lnTo>
                <a:lnTo>
                  <a:pt x="357" y="135"/>
                </a:lnTo>
                <a:lnTo>
                  <a:pt x="358" y="126"/>
                </a:lnTo>
                <a:lnTo>
                  <a:pt x="364" y="111"/>
                </a:lnTo>
                <a:lnTo>
                  <a:pt x="357" y="104"/>
                </a:lnTo>
                <a:lnTo>
                  <a:pt x="345" y="91"/>
                </a:lnTo>
                <a:lnTo>
                  <a:pt x="344" y="78"/>
                </a:lnTo>
                <a:lnTo>
                  <a:pt x="344" y="69"/>
                </a:lnTo>
                <a:lnTo>
                  <a:pt x="345" y="58"/>
                </a:lnTo>
                <a:lnTo>
                  <a:pt x="329" y="54"/>
                </a:lnTo>
                <a:lnTo>
                  <a:pt x="321" y="52"/>
                </a:lnTo>
                <a:lnTo>
                  <a:pt x="313" y="58"/>
                </a:lnTo>
                <a:lnTo>
                  <a:pt x="303" y="65"/>
                </a:lnTo>
                <a:lnTo>
                  <a:pt x="294" y="65"/>
                </a:lnTo>
                <a:lnTo>
                  <a:pt x="279" y="50"/>
                </a:lnTo>
                <a:lnTo>
                  <a:pt x="266" y="43"/>
                </a:lnTo>
                <a:lnTo>
                  <a:pt x="253" y="45"/>
                </a:lnTo>
                <a:lnTo>
                  <a:pt x="242" y="33"/>
                </a:lnTo>
                <a:lnTo>
                  <a:pt x="212" y="2"/>
                </a:lnTo>
                <a:lnTo>
                  <a:pt x="199" y="0"/>
                </a:lnTo>
                <a:lnTo>
                  <a:pt x="178" y="26"/>
                </a:lnTo>
                <a:lnTo>
                  <a:pt x="157" y="24"/>
                </a:lnTo>
                <a:lnTo>
                  <a:pt x="148" y="33"/>
                </a:lnTo>
                <a:lnTo>
                  <a:pt x="145" y="45"/>
                </a:lnTo>
                <a:lnTo>
                  <a:pt x="106" y="87"/>
                </a:lnTo>
                <a:lnTo>
                  <a:pt x="80" y="80"/>
                </a:lnTo>
                <a:lnTo>
                  <a:pt x="54" y="74"/>
                </a:lnTo>
                <a:lnTo>
                  <a:pt x="41" y="80"/>
                </a:lnTo>
                <a:lnTo>
                  <a:pt x="24" y="87"/>
                </a:lnTo>
                <a:lnTo>
                  <a:pt x="0" y="80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26" name="Group 58"/>
          <p:cNvGrpSpPr>
            <a:grpSpLocks/>
          </p:cNvGrpSpPr>
          <p:nvPr/>
        </p:nvGrpSpPr>
        <p:grpSpPr bwMode="auto">
          <a:xfrm>
            <a:off x="5674443" y="4833555"/>
            <a:ext cx="884976" cy="965894"/>
            <a:chOff x="2546" y="3453"/>
            <a:chExt cx="586" cy="611"/>
          </a:xfrm>
          <a:solidFill>
            <a:schemeClr val="accent5"/>
          </a:solidFill>
        </p:grpSpPr>
        <p:sp>
          <p:nvSpPr>
            <p:cNvPr id="51" name="Freeform 59"/>
            <p:cNvSpPr>
              <a:spLocks/>
            </p:cNvSpPr>
            <p:nvPr/>
          </p:nvSpPr>
          <p:spPr bwMode="auto">
            <a:xfrm>
              <a:off x="2559" y="3773"/>
              <a:ext cx="24" cy="25"/>
            </a:xfrm>
            <a:custGeom>
              <a:avLst/>
              <a:gdLst>
                <a:gd name="T0" fmla="*/ 18 w 24"/>
                <a:gd name="T1" fmla="*/ 0 h 25"/>
                <a:gd name="T2" fmla="*/ 24 w 24"/>
                <a:gd name="T3" fmla="*/ 7 h 25"/>
                <a:gd name="T4" fmla="*/ 22 w 24"/>
                <a:gd name="T5" fmla="*/ 16 h 25"/>
                <a:gd name="T6" fmla="*/ 24 w 24"/>
                <a:gd name="T7" fmla="*/ 23 h 25"/>
                <a:gd name="T8" fmla="*/ 18 w 24"/>
                <a:gd name="T9" fmla="*/ 25 h 25"/>
                <a:gd name="T10" fmla="*/ 7 w 24"/>
                <a:gd name="T11" fmla="*/ 23 h 25"/>
                <a:gd name="T12" fmla="*/ 0 w 24"/>
                <a:gd name="T13" fmla="*/ 14 h 25"/>
                <a:gd name="T14" fmla="*/ 18 w 24"/>
                <a:gd name="T15" fmla="*/ 0 h 2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"/>
                <a:gd name="T25" fmla="*/ 0 h 25"/>
                <a:gd name="T26" fmla="*/ 24 w 24"/>
                <a:gd name="T27" fmla="*/ 25 h 2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" h="25">
                  <a:moveTo>
                    <a:pt x="18" y="0"/>
                  </a:moveTo>
                  <a:lnTo>
                    <a:pt x="24" y="7"/>
                  </a:lnTo>
                  <a:lnTo>
                    <a:pt x="22" y="16"/>
                  </a:lnTo>
                  <a:lnTo>
                    <a:pt x="24" y="23"/>
                  </a:lnTo>
                  <a:lnTo>
                    <a:pt x="18" y="25"/>
                  </a:lnTo>
                  <a:lnTo>
                    <a:pt x="7" y="23"/>
                  </a:lnTo>
                  <a:lnTo>
                    <a:pt x="0" y="14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52" name="Freeform 60"/>
            <p:cNvSpPr>
              <a:spLocks/>
            </p:cNvSpPr>
            <p:nvPr/>
          </p:nvSpPr>
          <p:spPr bwMode="auto">
            <a:xfrm>
              <a:off x="2608" y="3783"/>
              <a:ext cx="184" cy="163"/>
            </a:xfrm>
            <a:custGeom>
              <a:avLst/>
              <a:gdLst>
                <a:gd name="T0" fmla="*/ 26 w 184"/>
                <a:gd name="T1" fmla="*/ 7 h 163"/>
                <a:gd name="T2" fmla="*/ 17 w 184"/>
                <a:gd name="T3" fmla="*/ 11 h 163"/>
                <a:gd name="T4" fmla="*/ 20 w 184"/>
                <a:gd name="T5" fmla="*/ 20 h 163"/>
                <a:gd name="T6" fmla="*/ 11 w 184"/>
                <a:gd name="T7" fmla="*/ 31 h 163"/>
                <a:gd name="T8" fmla="*/ 4 w 184"/>
                <a:gd name="T9" fmla="*/ 30 h 163"/>
                <a:gd name="T10" fmla="*/ 0 w 184"/>
                <a:gd name="T11" fmla="*/ 35 h 163"/>
                <a:gd name="T12" fmla="*/ 2 w 184"/>
                <a:gd name="T13" fmla="*/ 46 h 163"/>
                <a:gd name="T14" fmla="*/ 32 w 184"/>
                <a:gd name="T15" fmla="*/ 57 h 163"/>
                <a:gd name="T16" fmla="*/ 39 w 184"/>
                <a:gd name="T17" fmla="*/ 82 h 163"/>
                <a:gd name="T18" fmla="*/ 48 w 184"/>
                <a:gd name="T19" fmla="*/ 113 h 163"/>
                <a:gd name="T20" fmla="*/ 59 w 184"/>
                <a:gd name="T21" fmla="*/ 130 h 163"/>
                <a:gd name="T22" fmla="*/ 72 w 184"/>
                <a:gd name="T23" fmla="*/ 119 h 163"/>
                <a:gd name="T24" fmla="*/ 89 w 184"/>
                <a:gd name="T25" fmla="*/ 141 h 163"/>
                <a:gd name="T26" fmla="*/ 106 w 184"/>
                <a:gd name="T27" fmla="*/ 163 h 163"/>
                <a:gd name="T28" fmla="*/ 113 w 184"/>
                <a:gd name="T29" fmla="*/ 146 h 163"/>
                <a:gd name="T30" fmla="*/ 108 w 184"/>
                <a:gd name="T31" fmla="*/ 135 h 163"/>
                <a:gd name="T32" fmla="*/ 115 w 184"/>
                <a:gd name="T33" fmla="*/ 130 h 163"/>
                <a:gd name="T34" fmla="*/ 141 w 184"/>
                <a:gd name="T35" fmla="*/ 150 h 163"/>
                <a:gd name="T36" fmla="*/ 149 w 184"/>
                <a:gd name="T37" fmla="*/ 144 h 163"/>
                <a:gd name="T38" fmla="*/ 151 w 184"/>
                <a:gd name="T39" fmla="*/ 137 h 163"/>
                <a:gd name="T40" fmla="*/ 138 w 184"/>
                <a:gd name="T41" fmla="*/ 111 h 163"/>
                <a:gd name="T42" fmla="*/ 138 w 184"/>
                <a:gd name="T43" fmla="*/ 106 h 163"/>
                <a:gd name="T44" fmla="*/ 126 w 184"/>
                <a:gd name="T45" fmla="*/ 85 h 163"/>
                <a:gd name="T46" fmla="*/ 121 w 184"/>
                <a:gd name="T47" fmla="*/ 70 h 163"/>
                <a:gd name="T48" fmla="*/ 126 w 184"/>
                <a:gd name="T49" fmla="*/ 69 h 163"/>
                <a:gd name="T50" fmla="*/ 141 w 184"/>
                <a:gd name="T51" fmla="*/ 72 h 163"/>
                <a:gd name="T52" fmla="*/ 158 w 184"/>
                <a:gd name="T53" fmla="*/ 87 h 163"/>
                <a:gd name="T54" fmla="*/ 167 w 184"/>
                <a:gd name="T55" fmla="*/ 76 h 163"/>
                <a:gd name="T56" fmla="*/ 182 w 184"/>
                <a:gd name="T57" fmla="*/ 78 h 163"/>
                <a:gd name="T58" fmla="*/ 184 w 184"/>
                <a:gd name="T59" fmla="*/ 74 h 163"/>
                <a:gd name="T60" fmla="*/ 165 w 184"/>
                <a:gd name="T61" fmla="*/ 50 h 163"/>
                <a:gd name="T62" fmla="*/ 151 w 184"/>
                <a:gd name="T63" fmla="*/ 52 h 163"/>
                <a:gd name="T64" fmla="*/ 147 w 184"/>
                <a:gd name="T65" fmla="*/ 44 h 163"/>
                <a:gd name="T66" fmla="*/ 138 w 184"/>
                <a:gd name="T67" fmla="*/ 26 h 163"/>
                <a:gd name="T68" fmla="*/ 130 w 184"/>
                <a:gd name="T69" fmla="*/ 33 h 163"/>
                <a:gd name="T70" fmla="*/ 112 w 184"/>
                <a:gd name="T71" fmla="*/ 26 h 163"/>
                <a:gd name="T72" fmla="*/ 100 w 184"/>
                <a:gd name="T73" fmla="*/ 7 h 163"/>
                <a:gd name="T74" fmla="*/ 78 w 184"/>
                <a:gd name="T75" fmla="*/ 9 h 163"/>
                <a:gd name="T76" fmla="*/ 61 w 184"/>
                <a:gd name="T77" fmla="*/ 11 h 163"/>
                <a:gd name="T78" fmla="*/ 50 w 184"/>
                <a:gd name="T79" fmla="*/ 0 h 163"/>
                <a:gd name="T80" fmla="*/ 41 w 184"/>
                <a:gd name="T81" fmla="*/ 6 h 163"/>
                <a:gd name="T82" fmla="*/ 26 w 184"/>
                <a:gd name="T83" fmla="*/ 7 h 16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4"/>
                <a:gd name="T127" fmla="*/ 0 h 163"/>
                <a:gd name="T128" fmla="*/ 184 w 184"/>
                <a:gd name="T129" fmla="*/ 163 h 16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4" h="163">
                  <a:moveTo>
                    <a:pt x="26" y="7"/>
                  </a:moveTo>
                  <a:lnTo>
                    <a:pt x="17" y="11"/>
                  </a:lnTo>
                  <a:lnTo>
                    <a:pt x="20" y="20"/>
                  </a:lnTo>
                  <a:lnTo>
                    <a:pt x="11" y="31"/>
                  </a:lnTo>
                  <a:lnTo>
                    <a:pt x="4" y="30"/>
                  </a:lnTo>
                  <a:lnTo>
                    <a:pt x="0" y="35"/>
                  </a:lnTo>
                  <a:lnTo>
                    <a:pt x="2" y="46"/>
                  </a:lnTo>
                  <a:lnTo>
                    <a:pt x="32" y="57"/>
                  </a:lnTo>
                  <a:lnTo>
                    <a:pt x="39" y="82"/>
                  </a:lnTo>
                  <a:lnTo>
                    <a:pt x="48" y="113"/>
                  </a:lnTo>
                  <a:lnTo>
                    <a:pt x="59" y="130"/>
                  </a:lnTo>
                  <a:lnTo>
                    <a:pt x="72" y="119"/>
                  </a:lnTo>
                  <a:lnTo>
                    <a:pt x="89" y="141"/>
                  </a:lnTo>
                  <a:lnTo>
                    <a:pt x="106" y="163"/>
                  </a:lnTo>
                  <a:lnTo>
                    <a:pt x="113" y="146"/>
                  </a:lnTo>
                  <a:lnTo>
                    <a:pt x="108" y="135"/>
                  </a:lnTo>
                  <a:lnTo>
                    <a:pt x="115" y="130"/>
                  </a:lnTo>
                  <a:lnTo>
                    <a:pt x="141" y="150"/>
                  </a:lnTo>
                  <a:lnTo>
                    <a:pt x="149" y="144"/>
                  </a:lnTo>
                  <a:lnTo>
                    <a:pt x="151" y="137"/>
                  </a:lnTo>
                  <a:lnTo>
                    <a:pt x="138" y="111"/>
                  </a:lnTo>
                  <a:lnTo>
                    <a:pt x="138" y="106"/>
                  </a:lnTo>
                  <a:lnTo>
                    <a:pt x="126" y="85"/>
                  </a:lnTo>
                  <a:lnTo>
                    <a:pt x="121" y="70"/>
                  </a:lnTo>
                  <a:lnTo>
                    <a:pt x="126" y="69"/>
                  </a:lnTo>
                  <a:lnTo>
                    <a:pt x="141" y="72"/>
                  </a:lnTo>
                  <a:lnTo>
                    <a:pt x="158" y="87"/>
                  </a:lnTo>
                  <a:lnTo>
                    <a:pt x="167" y="76"/>
                  </a:lnTo>
                  <a:lnTo>
                    <a:pt x="182" y="78"/>
                  </a:lnTo>
                  <a:lnTo>
                    <a:pt x="184" y="74"/>
                  </a:lnTo>
                  <a:lnTo>
                    <a:pt x="165" y="50"/>
                  </a:lnTo>
                  <a:lnTo>
                    <a:pt x="151" y="52"/>
                  </a:lnTo>
                  <a:lnTo>
                    <a:pt x="147" y="44"/>
                  </a:lnTo>
                  <a:lnTo>
                    <a:pt x="138" y="26"/>
                  </a:lnTo>
                  <a:lnTo>
                    <a:pt x="130" y="33"/>
                  </a:lnTo>
                  <a:lnTo>
                    <a:pt x="112" y="26"/>
                  </a:lnTo>
                  <a:lnTo>
                    <a:pt x="100" y="7"/>
                  </a:lnTo>
                  <a:lnTo>
                    <a:pt x="78" y="9"/>
                  </a:lnTo>
                  <a:lnTo>
                    <a:pt x="61" y="11"/>
                  </a:lnTo>
                  <a:lnTo>
                    <a:pt x="50" y="0"/>
                  </a:lnTo>
                  <a:lnTo>
                    <a:pt x="41" y="6"/>
                  </a:lnTo>
                  <a:lnTo>
                    <a:pt x="26" y="7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53" name="Freeform 61"/>
            <p:cNvSpPr>
              <a:spLocks/>
            </p:cNvSpPr>
            <p:nvPr/>
          </p:nvSpPr>
          <p:spPr bwMode="auto">
            <a:xfrm>
              <a:off x="2546" y="3453"/>
              <a:ext cx="430" cy="386"/>
            </a:xfrm>
            <a:custGeom>
              <a:avLst/>
              <a:gdLst>
                <a:gd name="T0" fmla="*/ 78 w 430"/>
                <a:gd name="T1" fmla="*/ 102 h 386"/>
                <a:gd name="T2" fmla="*/ 55 w 430"/>
                <a:gd name="T3" fmla="*/ 167 h 386"/>
                <a:gd name="T4" fmla="*/ 44 w 430"/>
                <a:gd name="T5" fmla="*/ 182 h 386"/>
                <a:gd name="T6" fmla="*/ 24 w 430"/>
                <a:gd name="T7" fmla="*/ 200 h 386"/>
                <a:gd name="T8" fmla="*/ 0 w 430"/>
                <a:gd name="T9" fmla="*/ 204 h 386"/>
                <a:gd name="T10" fmla="*/ 31 w 430"/>
                <a:gd name="T11" fmla="*/ 260 h 386"/>
                <a:gd name="T12" fmla="*/ 57 w 430"/>
                <a:gd name="T13" fmla="*/ 260 h 386"/>
                <a:gd name="T14" fmla="*/ 48 w 430"/>
                <a:gd name="T15" fmla="*/ 278 h 386"/>
                <a:gd name="T16" fmla="*/ 57 w 430"/>
                <a:gd name="T17" fmla="*/ 308 h 386"/>
                <a:gd name="T18" fmla="*/ 76 w 430"/>
                <a:gd name="T19" fmla="*/ 330 h 386"/>
                <a:gd name="T20" fmla="*/ 91 w 430"/>
                <a:gd name="T21" fmla="*/ 317 h 386"/>
                <a:gd name="T22" fmla="*/ 107 w 430"/>
                <a:gd name="T23" fmla="*/ 319 h 386"/>
                <a:gd name="T24" fmla="*/ 159 w 430"/>
                <a:gd name="T25" fmla="*/ 325 h 386"/>
                <a:gd name="T26" fmla="*/ 190 w 430"/>
                <a:gd name="T27" fmla="*/ 341 h 386"/>
                <a:gd name="T28" fmla="*/ 207 w 430"/>
                <a:gd name="T29" fmla="*/ 362 h 386"/>
                <a:gd name="T30" fmla="*/ 229 w 430"/>
                <a:gd name="T31" fmla="*/ 353 h 386"/>
                <a:gd name="T32" fmla="*/ 271 w 430"/>
                <a:gd name="T33" fmla="*/ 386 h 386"/>
                <a:gd name="T34" fmla="*/ 278 w 430"/>
                <a:gd name="T35" fmla="*/ 367 h 386"/>
                <a:gd name="T36" fmla="*/ 277 w 430"/>
                <a:gd name="T37" fmla="*/ 336 h 386"/>
                <a:gd name="T38" fmla="*/ 259 w 430"/>
                <a:gd name="T39" fmla="*/ 323 h 386"/>
                <a:gd name="T40" fmla="*/ 215 w 430"/>
                <a:gd name="T41" fmla="*/ 295 h 386"/>
                <a:gd name="T42" fmla="*/ 189 w 430"/>
                <a:gd name="T43" fmla="*/ 286 h 386"/>
                <a:gd name="T44" fmla="*/ 179 w 430"/>
                <a:gd name="T45" fmla="*/ 273 h 386"/>
                <a:gd name="T46" fmla="*/ 194 w 430"/>
                <a:gd name="T47" fmla="*/ 258 h 386"/>
                <a:gd name="T48" fmla="*/ 183 w 430"/>
                <a:gd name="T49" fmla="*/ 236 h 386"/>
                <a:gd name="T50" fmla="*/ 202 w 430"/>
                <a:gd name="T51" fmla="*/ 245 h 386"/>
                <a:gd name="T52" fmla="*/ 215 w 430"/>
                <a:gd name="T53" fmla="*/ 238 h 386"/>
                <a:gd name="T54" fmla="*/ 190 w 430"/>
                <a:gd name="T55" fmla="*/ 202 h 386"/>
                <a:gd name="T56" fmla="*/ 170 w 430"/>
                <a:gd name="T57" fmla="*/ 160 h 386"/>
                <a:gd name="T58" fmla="*/ 165 w 430"/>
                <a:gd name="T59" fmla="*/ 134 h 386"/>
                <a:gd name="T60" fmla="*/ 176 w 430"/>
                <a:gd name="T61" fmla="*/ 117 h 386"/>
                <a:gd name="T62" fmla="*/ 185 w 430"/>
                <a:gd name="T63" fmla="*/ 139 h 386"/>
                <a:gd name="T64" fmla="*/ 190 w 430"/>
                <a:gd name="T65" fmla="*/ 147 h 386"/>
                <a:gd name="T66" fmla="*/ 227 w 430"/>
                <a:gd name="T67" fmla="*/ 176 h 386"/>
                <a:gd name="T68" fmla="*/ 231 w 430"/>
                <a:gd name="T69" fmla="*/ 156 h 386"/>
                <a:gd name="T70" fmla="*/ 257 w 430"/>
                <a:gd name="T71" fmla="*/ 176 h 386"/>
                <a:gd name="T72" fmla="*/ 246 w 430"/>
                <a:gd name="T73" fmla="*/ 152 h 386"/>
                <a:gd name="T74" fmla="*/ 257 w 430"/>
                <a:gd name="T75" fmla="*/ 141 h 386"/>
                <a:gd name="T76" fmla="*/ 288 w 430"/>
                <a:gd name="T77" fmla="*/ 148 h 386"/>
                <a:gd name="T78" fmla="*/ 275 w 430"/>
                <a:gd name="T79" fmla="*/ 130 h 386"/>
                <a:gd name="T80" fmla="*/ 246 w 430"/>
                <a:gd name="T81" fmla="*/ 113 h 386"/>
                <a:gd name="T82" fmla="*/ 248 w 430"/>
                <a:gd name="T83" fmla="*/ 98 h 386"/>
                <a:gd name="T84" fmla="*/ 299 w 430"/>
                <a:gd name="T85" fmla="*/ 87 h 386"/>
                <a:gd name="T86" fmla="*/ 350 w 430"/>
                <a:gd name="T87" fmla="*/ 82 h 386"/>
                <a:gd name="T88" fmla="*/ 378 w 430"/>
                <a:gd name="T89" fmla="*/ 87 h 386"/>
                <a:gd name="T90" fmla="*/ 406 w 430"/>
                <a:gd name="T91" fmla="*/ 76 h 386"/>
                <a:gd name="T92" fmla="*/ 428 w 430"/>
                <a:gd name="T93" fmla="*/ 48 h 386"/>
                <a:gd name="T94" fmla="*/ 428 w 430"/>
                <a:gd name="T95" fmla="*/ 6 h 386"/>
                <a:gd name="T96" fmla="*/ 408 w 430"/>
                <a:gd name="T97" fmla="*/ 0 h 386"/>
                <a:gd name="T98" fmla="*/ 402 w 430"/>
                <a:gd name="T99" fmla="*/ 20 h 386"/>
                <a:gd name="T100" fmla="*/ 389 w 430"/>
                <a:gd name="T101" fmla="*/ 35 h 386"/>
                <a:gd name="T102" fmla="*/ 371 w 430"/>
                <a:gd name="T103" fmla="*/ 45 h 386"/>
                <a:gd name="T104" fmla="*/ 338 w 430"/>
                <a:gd name="T105" fmla="*/ 33 h 386"/>
                <a:gd name="T106" fmla="*/ 306 w 430"/>
                <a:gd name="T107" fmla="*/ 20 h 386"/>
                <a:gd name="T108" fmla="*/ 271 w 430"/>
                <a:gd name="T109" fmla="*/ 45 h 386"/>
                <a:gd name="T110" fmla="*/ 231 w 430"/>
                <a:gd name="T111" fmla="*/ 56 h 386"/>
                <a:gd name="T112" fmla="*/ 202 w 430"/>
                <a:gd name="T113" fmla="*/ 61 h 386"/>
                <a:gd name="T114" fmla="*/ 183 w 430"/>
                <a:gd name="T115" fmla="*/ 78 h 386"/>
                <a:gd name="T116" fmla="*/ 153 w 430"/>
                <a:gd name="T117" fmla="*/ 82 h 386"/>
                <a:gd name="T118" fmla="*/ 126 w 430"/>
                <a:gd name="T119" fmla="*/ 97 h 386"/>
                <a:gd name="T120" fmla="*/ 98 w 430"/>
                <a:gd name="T121" fmla="*/ 97 h 38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30"/>
                <a:gd name="T184" fmla="*/ 0 h 386"/>
                <a:gd name="T185" fmla="*/ 430 w 430"/>
                <a:gd name="T186" fmla="*/ 386 h 38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30" h="386">
                  <a:moveTo>
                    <a:pt x="87" y="95"/>
                  </a:moveTo>
                  <a:lnTo>
                    <a:pt x="78" y="102"/>
                  </a:lnTo>
                  <a:lnTo>
                    <a:pt x="68" y="135"/>
                  </a:lnTo>
                  <a:lnTo>
                    <a:pt x="55" y="167"/>
                  </a:lnTo>
                  <a:lnTo>
                    <a:pt x="50" y="171"/>
                  </a:lnTo>
                  <a:lnTo>
                    <a:pt x="44" y="182"/>
                  </a:lnTo>
                  <a:lnTo>
                    <a:pt x="37" y="193"/>
                  </a:lnTo>
                  <a:lnTo>
                    <a:pt x="24" y="200"/>
                  </a:lnTo>
                  <a:lnTo>
                    <a:pt x="13" y="204"/>
                  </a:lnTo>
                  <a:lnTo>
                    <a:pt x="0" y="204"/>
                  </a:lnTo>
                  <a:lnTo>
                    <a:pt x="17" y="241"/>
                  </a:lnTo>
                  <a:lnTo>
                    <a:pt x="31" y="260"/>
                  </a:lnTo>
                  <a:lnTo>
                    <a:pt x="44" y="260"/>
                  </a:lnTo>
                  <a:lnTo>
                    <a:pt x="57" y="260"/>
                  </a:lnTo>
                  <a:lnTo>
                    <a:pt x="61" y="269"/>
                  </a:lnTo>
                  <a:lnTo>
                    <a:pt x="48" y="278"/>
                  </a:lnTo>
                  <a:lnTo>
                    <a:pt x="48" y="290"/>
                  </a:lnTo>
                  <a:lnTo>
                    <a:pt x="57" y="308"/>
                  </a:lnTo>
                  <a:lnTo>
                    <a:pt x="68" y="323"/>
                  </a:lnTo>
                  <a:lnTo>
                    <a:pt x="76" y="330"/>
                  </a:lnTo>
                  <a:lnTo>
                    <a:pt x="80" y="319"/>
                  </a:lnTo>
                  <a:lnTo>
                    <a:pt x="91" y="317"/>
                  </a:lnTo>
                  <a:lnTo>
                    <a:pt x="104" y="328"/>
                  </a:lnTo>
                  <a:lnTo>
                    <a:pt x="107" y="319"/>
                  </a:lnTo>
                  <a:lnTo>
                    <a:pt x="128" y="321"/>
                  </a:lnTo>
                  <a:lnTo>
                    <a:pt x="159" y="325"/>
                  </a:lnTo>
                  <a:lnTo>
                    <a:pt x="181" y="332"/>
                  </a:lnTo>
                  <a:lnTo>
                    <a:pt x="190" y="341"/>
                  </a:lnTo>
                  <a:lnTo>
                    <a:pt x="200" y="354"/>
                  </a:lnTo>
                  <a:lnTo>
                    <a:pt x="207" y="362"/>
                  </a:lnTo>
                  <a:lnTo>
                    <a:pt x="216" y="354"/>
                  </a:lnTo>
                  <a:lnTo>
                    <a:pt x="229" y="353"/>
                  </a:lnTo>
                  <a:lnTo>
                    <a:pt x="248" y="366"/>
                  </a:lnTo>
                  <a:lnTo>
                    <a:pt x="271" y="386"/>
                  </a:lnTo>
                  <a:lnTo>
                    <a:pt x="277" y="382"/>
                  </a:lnTo>
                  <a:lnTo>
                    <a:pt x="278" y="367"/>
                  </a:lnTo>
                  <a:lnTo>
                    <a:pt x="278" y="351"/>
                  </a:lnTo>
                  <a:lnTo>
                    <a:pt x="277" y="336"/>
                  </a:lnTo>
                  <a:lnTo>
                    <a:pt x="266" y="319"/>
                  </a:lnTo>
                  <a:lnTo>
                    <a:pt x="259" y="323"/>
                  </a:lnTo>
                  <a:lnTo>
                    <a:pt x="242" y="315"/>
                  </a:lnTo>
                  <a:lnTo>
                    <a:pt x="215" y="295"/>
                  </a:lnTo>
                  <a:lnTo>
                    <a:pt x="207" y="288"/>
                  </a:lnTo>
                  <a:lnTo>
                    <a:pt x="189" y="286"/>
                  </a:lnTo>
                  <a:lnTo>
                    <a:pt x="179" y="280"/>
                  </a:lnTo>
                  <a:lnTo>
                    <a:pt x="179" y="273"/>
                  </a:lnTo>
                  <a:lnTo>
                    <a:pt x="190" y="262"/>
                  </a:lnTo>
                  <a:lnTo>
                    <a:pt x="194" y="258"/>
                  </a:lnTo>
                  <a:lnTo>
                    <a:pt x="187" y="249"/>
                  </a:lnTo>
                  <a:lnTo>
                    <a:pt x="183" y="236"/>
                  </a:lnTo>
                  <a:lnTo>
                    <a:pt x="187" y="230"/>
                  </a:lnTo>
                  <a:lnTo>
                    <a:pt x="202" y="245"/>
                  </a:lnTo>
                  <a:lnTo>
                    <a:pt x="215" y="251"/>
                  </a:lnTo>
                  <a:lnTo>
                    <a:pt x="215" y="238"/>
                  </a:lnTo>
                  <a:lnTo>
                    <a:pt x="207" y="223"/>
                  </a:lnTo>
                  <a:lnTo>
                    <a:pt x="190" y="202"/>
                  </a:lnTo>
                  <a:lnTo>
                    <a:pt x="172" y="174"/>
                  </a:lnTo>
                  <a:lnTo>
                    <a:pt x="170" y="160"/>
                  </a:lnTo>
                  <a:lnTo>
                    <a:pt x="168" y="147"/>
                  </a:lnTo>
                  <a:lnTo>
                    <a:pt x="165" y="134"/>
                  </a:lnTo>
                  <a:lnTo>
                    <a:pt x="163" y="121"/>
                  </a:lnTo>
                  <a:lnTo>
                    <a:pt x="176" y="117"/>
                  </a:lnTo>
                  <a:lnTo>
                    <a:pt x="174" y="126"/>
                  </a:lnTo>
                  <a:lnTo>
                    <a:pt x="185" y="139"/>
                  </a:lnTo>
                  <a:lnTo>
                    <a:pt x="192" y="139"/>
                  </a:lnTo>
                  <a:lnTo>
                    <a:pt x="190" y="147"/>
                  </a:lnTo>
                  <a:lnTo>
                    <a:pt x="226" y="182"/>
                  </a:lnTo>
                  <a:lnTo>
                    <a:pt x="227" y="176"/>
                  </a:lnTo>
                  <a:lnTo>
                    <a:pt x="220" y="160"/>
                  </a:lnTo>
                  <a:lnTo>
                    <a:pt x="231" y="156"/>
                  </a:lnTo>
                  <a:lnTo>
                    <a:pt x="248" y="163"/>
                  </a:lnTo>
                  <a:lnTo>
                    <a:pt x="257" y="176"/>
                  </a:lnTo>
                  <a:lnTo>
                    <a:pt x="259" y="167"/>
                  </a:lnTo>
                  <a:lnTo>
                    <a:pt x="246" y="152"/>
                  </a:lnTo>
                  <a:lnTo>
                    <a:pt x="248" y="145"/>
                  </a:lnTo>
                  <a:lnTo>
                    <a:pt x="257" y="141"/>
                  </a:lnTo>
                  <a:lnTo>
                    <a:pt x="282" y="152"/>
                  </a:lnTo>
                  <a:lnTo>
                    <a:pt x="288" y="148"/>
                  </a:lnTo>
                  <a:lnTo>
                    <a:pt x="286" y="137"/>
                  </a:lnTo>
                  <a:lnTo>
                    <a:pt x="275" y="130"/>
                  </a:lnTo>
                  <a:lnTo>
                    <a:pt x="257" y="122"/>
                  </a:lnTo>
                  <a:lnTo>
                    <a:pt x="246" y="113"/>
                  </a:lnTo>
                  <a:lnTo>
                    <a:pt x="244" y="106"/>
                  </a:lnTo>
                  <a:lnTo>
                    <a:pt x="248" y="98"/>
                  </a:lnTo>
                  <a:lnTo>
                    <a:pt x="273" y="95"/>
                  </a:lnTo>
                  <a:lnTo>
                    <a:pt x="299" y="87"/>
                  </a:lnTo>
                  <a:lnTo>
                    <a:pt x="317" y="89"/>
                  </a:lnTo>
                  <a:lnTo>
                    <a:pt x="350" y="82"/>
                  </a:lnTo>
                  <a:lnTo>
                    <a:pt x="356" y="78"/>
                  </a:lnTo>
                  <a:lnTo>
                    <a:pt x="378" y="87"/>
                  </a:lnTo>
                  <a:lnTo>
                    <a:pt x="397" y="97"/>
                  </a:lnTo>
                  <a:lnTo>
                    <a:pt x="406" y="76"/>
                  </a:lnTo>
                  <a:lnTo>
                    <a:pt x="423" y="54"/>
                  </a:lnTo>
                  <a:lnTo>
                    <a:pt x="428" y="48"/>
                  </a:lnTo>
                  <a:lnTo>
                    <a:pt x="430" y="9"/>
                  </a:lnTo>
                  <a:lnTo>
                    <a:pt x="428" y="6"/>
                  </a:lnTo>
                  <a:lnTo>
                    <a:pt x="419" y="0"/>
                  </a:lnTo>
                  <a:lnTo>
                    <a:pt x="408" y="0"/>
                  </a:lnTo>
                  <a:lnTo>
                    <a:pt x="402" y="6"/>
                  </a:lnTo>
                  <a:lnTo>
                    <a:pt x="402" y="20"/>
                  </a:lnTo>
                  <a:lnTo>
                    <a:pt x="404" y="32"/>
                  </a:lnTo>
                  <a:lnTo>
                    <a:pt x="389" y="35"/>
                  </a:lnTo>
                  <a:lnTo>
                    <a:pt x="378" y="43"/>
                  </a:lnTo>
                  <a:lnTo>
                    <a:pt x="371" y="45"/>
                  </a:lnTo>
                  <a:lnTo>
                    <a:pt x="347" y="39"/>
                  </a:lnTo>
                  <a:lnTo>
                    <a:pt x="338" y="33"/>
                  </a:lnTo>
                  <a:lnTo>
                    <a:pt x="325" y="41"/>
                  </a:lnTo>
                  <a:lnTo>
                    <a:pt x="306" y="20"/>
                  </a:lnTo>
                  <a:lnTo>
                    <a:pt x="286" y="35"/>
                  </a:lnTo>
                  <a:lnTo>
                    <a:pt x="271" y="45"/>
                  </a:lnTo>
                  <a:lnTo>
                    <a:pt x="255" y="52"/>
                  </a:lnTo>
                  <a:lnTo>
                    <a:pt x="231" y="56"/>
                  </a:lnTo>
                  <a:lnTo>
                    <a:pt x="215" y="61"/>
                  </a:lnTo>
                  <a:lnTo>
                    <a:pt x="202" y="61"/>
                  </a:lnTo>
                  <a:lnTo>
                    <a:pt x="196" y="63"/>
                  </a:lnTo>
                  <a:lnTo>
                    <a:pt x="183" y="78"/>
                  </a:lnTo>
                  <a:lnTo>
                    <a:pt x="172" y="78"/>
                  </a:lnTo>
                  <a:lnTo>
                    <a:pt x="153" y="82"/>
                  </a:lnTo>
                  <a:lnTo>
                    <a:pt x="135" y="80"/>
                  </a:lnTo>
                  <a:lnTo>
                    <a:pt x="126" y="97"/>
                  </a:lnTo>
                  <a:lnTo>
                    <a:pt x="111" y="98"/>
                  </a:lnTo>
                  <a:lnTo>
                    <a:pt x="98" y="97"/>
                  </a:lnTo>
                  <a:lnTo>
                    <a:pt x="87" y="95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54" name="Freeform 62"/>
            <p:cNvSpPr>
              <a:spLocks/>
            </p:cNvSpPr>
            <p:nvPr/>
          </p:nvSpPr>
          <p:spPr bwMode="auto">
            <a:xfrm>
              <a:off x="2760" y="3718"/>
              <a:ext cx="107" cy="87"/>
            </a:xfrm>
            <a:custGeom>
              <a:avLst/>
              <a:gdLst>
                <a:gd name="T0" fmla="*/ 9 w 107"/>
                <a:gd name="T1" fmla="*/ 0 h 87"/>
                <a:gd name="T2" fmla="*/ 0 w 107"/>
                <a:gd name="T3" fmla="*/ 7 h 87"/>
                <a:gd name="T4" fmla="*/ 11 w 107"/>
                <a:gd name="T5" fmla="*/ 26 h 87"/>
                <a:gd name="T6" fmla="*/ 24 w 107"/>
                <a:gd name="T7" fmla="*/ 30 h 87"/>
                <a:gd name="T8" fmla="*/ 39 w 107"/>
                <a:gd name="T9" fmla="*/ 46 h 87"/>
                <a:gd name="T10" fmla="*/ 52 w 107"/>
                <a:gd name="T11" fmla="*/ 54 h 87"/>
                <a:gd name="T12" fmla="*/ 74 w 107"/>
                <a:gd name="T13" fmla="*/ 70 h 87"/>
                <a:gd name="T14" fmla="*/ 87 w 107"/>
                <a:gd name="T15" fmla="*/ 76 h 87"/>
                <a:gd name="T16" fmla="*/ 103 w 107"/>
                <a:gd name="T17" fmla="*/ 87 h 87"/>
                <a:gd name="T18" fmla="*/ 107 w 107"/>
                <a:gd name="T19" fmla="*/ 81 h 87"/>
                <a:gd name="T20" fmla="*/ 74 w 107"/>
                <a:gd name="T21" fmla="*/ 56 h 87"/>
                <a:gd name="T22" fmla="*/ 72 w 107"/>
                <a:gd name="T23" fmla="*/ 44 h 87"/>
                <a:gd name="T24" fmla="*/ 68 w 107"/>
                <a:gd name="T25" fmla="*/ 33 h 87"/>
                <a:gd name="T26" fmla="*/ 54 w 107"/>
                <a:gd name="T27" fmla="*/ 20 h 87"/>
                <a:gd name="T28" fmla="*/ 50 w 107"/>
                <a:gd name="T29" fmla="*/ 22 h 87"/>
                <a:gd name="T30" fmla="*/ 32 w 107"/>
                <a:gd name="T31" fmla="*/ 9 h 87"/>
                <a:gd name="T32" fmla="*/ 22 w 107"/>
                <a:gd name="T33" fmla="*/ 4 h 87"/>
                <a:gd name="T34" fmla="*/ 9 w 107"/>
                <a:gd name="T35" fmla="*/ 0 h 8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7"/>
                <a:gd name="T55" fmla="*/ 0 h 87"/>
                <a:gd name="T56" fmla="*/ 107 w 107"/>
                <a:gd name="T57" fmla="*/ 87 h 8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7" h="87">
                  <a:moveTo>
                    <a:pt x="9" y="0"/>
                  </a:moveTo>
                  <a:lnTo>
                    <a:pt x="0" y="7"/>
                  </a:lnTo>
                  <a:lnTo>
                    <a:pt x="11" y="26"/>
                  </a:lnTo>
                  <a:lnTo>
                    <a:pt x="24" y="30"/>
                  </a:lnTo>
                  <a:lnTo>
                    <a:pt x="39" y="46"/>
                  </a:lnTo>
                  <a:lnTo>
                    <a:pt x="52" y="54"/>
                  </a:lnTo>
                  <a:lnTo>
                    <a:pt x="74" y="70"/>
                  </a:lnTo>
                  <a:lnTo>
                    <a:pt x="87" y="76"/>
                  </a:lnTo>
                  <a:lnTo>
                    <a:pt x="103" y="87"/>
                  </a:lnTo>
                  <a:lnTo>
                    <a:pt x="107" y="81"/>
                  </a:lnTo>
                  <a:lnTo>
                    <a:pt x="74" y="56"/>
                  </a:lnTo>
                  <a:lnTo>
                    <a:pt x="72" y="44"/>
                  </a:lnTo>
                  <a:lnTo>
                    <a:pt x="68" y="33"/>
                  </a:lnTo>
                  <a:lnTo>
                    <a:pt x="54" y="20"/>
                  </a:lnTo>
                  <a:lnTo>
                    <a:pt x="50" y="22"/>
                  </a:lnTo>
                  <a:lnTo>
                    <a:pt x="32" y="9"/>
                  </a:lnTo>
                  <a:lnTo>
                    <a:pt x="22" y="4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55" name="Freeform 63"/>
            <p:cNvSpPr>
              <a:spLocks/>
            </p:cNvSpPr>
            <p:nvPr/>
          </p:nvSpPr>
          <p:spPr bwMode="auto">
            <a:xfrm>
              <a:off x="2794" y="4010"/>
              <a:ext cx="201" cy="54"/>
            </a:xfrm>
            <a:custGeom>
              <a:avLst/>
              <a:gdLst>
                <a:gd name="T0" fmla="*/ 42 w 201"/>
                <a:gd name="T1" fmla="*/ 11 h 54"/>
                <a:gd name="T2" fmla="*/ 57 w 201"/>
                <a:gd name="T3" fmla="*/ 4 h 54"/>
                <a:gd name="T4" fmla="*/ 64 w 201"/>
                <a:gd name="T5" fmla="*/ 11 h 54"/>
                <a:gd name="T6" fmla="*/ 70 w 201"/>
                <a:gd name="T7" fmla="*/ 13 h 54"/>
                <a:gd name="T8" fmla="*/ 81 w 201"/>
                <a:gd name="T9" fmla="*/ 7 h 54"/>
                <a:gd name="T10" fmla="*/ 88 w 201"/>
                <a:gd name="T11" fmla="*/ 4 h 54"/>
                <a:gd name="T12" fmla="*/ 120 w 201"/>
                <a:gd name="T13" fmla="*/ 7 h 54"/>
                <a:gd name="T14" fmla="*/ 151 w 201"/>
                <a:gd name="T15" fmla="*/ 6 h 54"/>
                <a:gd name="T16" fmla="*/ 160 w 201"/>
                <a:gd name="T17" fmla="*/ 15 h 54"/>
                <a:gd name="T18" fmla="*/ 160 w 201"/>
                <a:gd name="T19" fmla="*/ 20 h 54"/>
                <a:gd name="T20" fmla="*/ 182 w 201"/>
                <a:gd name="T21" fmla="*/ 17 h 54"/>
                <a:gd name="T22" fmla="*/ 194 w 201"/>
                <a:gd name="T23" fmla="*/ 19 h 54"/>
                <a:gd name="T24" fmla="*/ 201 w 201"/>
                <a:gd name="T25" fmla="*/ 26 h 54"/>
                <a:gd name="T26" fmla="*/ 194 w 201"/>
                <a:gd name="T27" fmla="*/ 35 h 54"/>
                <a:gd name="T28" fmla="*/ 175 w 201"/>
                <a:gd name="T29" fmla="*/ 34 h 54"/>
                <a:gd name="T30" fmla="*/ 162 w 201"/>
                <a:gd name="T31" fmla="*/ 41 h 54"/>
                <a:gd name="T32" fmla="*/ 140 w 201"/>
                <a:gd name="T33" fmla="*/ 41 h 54"/>
                <a:gd name="T34" fmla="*/ 118 w 201"/>
                <a:gd name="T35" fmla="*/ 50 h 54"/>
                <a:gd name="T36" fmla="*/ 99 w 201"/>
                <a:gd name="T37" fmla="*/ 54 h 54"/>
                <a:gd name="T38" fmla="*/ 84 w 201"/>
                <a:gd name="T39" fmla="*/ 45 h 54"/>
                <a:gd name="T40" fmla="*/ 64 w 201"/>
                <a:gd name="T41" fmla="*/ 34 h 54"/>
                <a:gd name="T42" fmla="*/ 44 w 201"/>
                <a:gd name="T43" fmla="*/ 34 h 54"/>
                <a:gd name="T44" fmla="*/ 17 w 201"/>
                <a:gd name="T45" fmla="*/ 28 h 54"/>
                <a:gd name="T46" fmla="*/ 7 w 201"/>
                <a:gd name="T47" fmla="*/ 20 h 54"/>
                <a:gd name="T48" fmla="*/ 0 w 201"/>
                <a:gd name="T49" fmla="*/ 6 h 54"/>
                <a:gd name="T50" fmla="*/ 4 w 201"/>
                <a:gd name="T51" fmla="*/ 0 h 54"/>
                <a:gd name="T52" fmla="*/ 27 w 201"/>
                <a:gd name="T53" fmla="*/ 4 h 54"/>
                <a:gd name="T54" fmla="*/ 42 w 201"/>
                <a:gd name="T55" fmla="*/ 11 h 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01"/>
                <a:gd name="T85" fmla="*/ 0 h 54"/>
                <a:gd name="T86" fmla="*/ 201 w 201"/>
                <a:gd name="T87" fmla="*/ 54 h 5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01" h="54">
                  <a:moveTo>
                    <a:pt x="42" y="11"/>
                  </a:moveTo>
                  <a:lnTo>
                    <a:pt x="57" y="4"/>
                  </a:lnTo>
                  <a:lnTo>
                    <a:pt x="64" y="11"/>
                  </a:lnTo>
                  <a:lnTo>
                    <a:pt x="70" y="13"/>
                  </a:lnTo>
                  <a:lnTo>
                    <a:pt x="81" y="7"/>
                  </a:lnTo>
                  <a:lnTo>
                    <a:pt x="88" y="4"/>
                  </a:lnTo>
                  <a:lnTo>
                    <a:pt x="120" y="7"/>
                  </a:lnTo>
                  <a:lnTo>
                    <a:pt x="151" y="6"/>
                  </a:lnTo>
                  <a:lnTo>
                    <a:pt x="160" y="15"/>
                  </a:lnTo>
                  <a:lnTo>
                    <a:pt x="160" y="20"/>
                  </a:lnTo>
                  <a:lnTo>
                    <a:pt x="182" y="17"/>
                  </a:lnTo>
                  <a:lnTo>
                    <a:pt x="194" y="19"/>
                  </a:lnTo>
                  <a:lnTo>
                    <a:pt x="201" y="26"/>
                  </a:lnTo>
                  <a:lnTo>
                    <a:pt x="194" y="35"/>
                  </a:lnTo>
                  <a:lnTo>
                    <a:pt x="175" y="34"/>
                  </a:lnTo>
                  <a:lnTo>
                    <a:pt x="162" y="41"/>
                  </a:lnTo>
                  <a:lnTo>
                    <a:pt x="140" y="41"/>
                  </a:lnTo>
                  <a:lnTo>
                    <a:pt x="118" y="50"/>
                  </a:lnTo>
                  <a:lnTo>
                    <a:pt x="99" y="54"/>
                  </a:lnTo>
                  <a:lnTo>
                    <a:pt x="84" y="45"/>
                  </a:lnTo>
                  <a:lnTo>
                    <a:pt x="64" y="34"/>
                  </a:lnTo>
                  <a:lnTo>
                    <a:pt x="44" y="34"/>
                  </a:lnTo>
                  <a:lnTo>
                    <a:pt x="17" y="28"/>
                  </a:lnTo>
                  <a:lnTo>
                    <a:pt x="7" y="20"/>
                  </a:lnTo>
                  <a:lnTo>
                    <a:pt x="0" y="6"/>
                  </a:lnTo>
                  <a:lnTo>
                    <a:pt x="4" y="0"/>
                  </a:lnTo>
                  <a:lnTo>
                    <a:pt x="27" y="4"/>
                  </a:lnTo>
                  <a:lnTo>
                    <a:pt x="42" y="11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56" name="Freeform 64"/>
            <p:cNvSpPr>
              <a:spLocks/>
            </p:cNvSpPr>
            <p:nvPr/>
          </p:nvSpPr>
          <p:spPr bwMode="auto">
            <a:xfrm>
              <a:off x="2880" y="3615"/>
              <a:ext cx="30" cy="28"/>
            </a:xfrm>
            <a:custGeom>
              <a:avLst/>
              <a:gdLst>
                <a:gd name="T0" fmla="*/ 30 w 30"/>
                <a:gd name="T1" fmla="*/ 0 h 28"/>
                <a:gd name="T2" fmla="*/ 11 w 30"/>
                <a:gd name="T3" fmla="*/ 0 h 28"/>
                <a:gd name="T4" fmla="*/ 2 w 30"/>
                <a:gd name="T5" fmla="*/ 6 h 28"/>
                <a:gd name="T6" fmla="*/ 0 w 30"/>
                <a:gd name="T7" fmla="*/ 15 h 28"/>
                <a:gd name="T8" fmla="*/ 0 w 30"/>
                <a:gd name="T9" fmla="*/ 26 h 28"/>
                <a:gd name="T10" fmla="*/ 9 w 30"/>
                <a:gd name="T11" fmla="*/ 28 h 28"/>
                <a:gd name="T12" fmla="*/ 26 w 30"/>
                <a:gd name="T13" fmla="*/ 17 h 28"/>
                <a:gd name="T14" fmla="*/ 30 w 30"/>
                <a:gd name="T15" fmla="*/ 0 h 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0"/>
                <a:gd name="T25" fmla="*/ 0 h 28"/>
                <a:gd name="T26" fmla="*/ 30 w 30"/>
                <a:gd name="T27" fmla="*/ 28 h 2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0" h="28">
                  <a:moveTo>
                    <a:pt x="30" y="0"/>
                  </a:moveTo>
                  <a:lnTo>
                    <a:pt x="11" y="0"/>
                  </a:lnTo>
                  <a:lnTo>
                    <a:pt x="2" y="6"/>
                  </a:lnTo>
                  <a:lnTo>
                    <a:pt x="0" y="15"/>
                  </a:lnTo>
                  <a:lnTo>
                    <a:pt x="0" y="26"/>
                  </a:lnTo>
                  <a:lnTo>
                    <a:pt x="9" y="28"/>
                  </a:lnTo>
                  <a:lnTo>
                    <a:pt x="26" y="17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57" name="Freeform 65"/>
            <p:cNvSpPr>
              <a:spLocks/>
            </p:cNvSpPr>
            <p:nvPr/>
          </p:nvSpPr>
          <p:spPr bwMode="auto">
            <a:xfrm>
              <a:off x="3084" y="3878"/>
              <a:ext cx="41" cy="22"/>
            </a:xfrm>
            <a:custGeom>
              <a:avLst/>
              <a:gdLst>
                <a:gd name="T0" fmla="*/ 41 w 41"/>
                <a:gd name="T1" fmla="*/ 6 h 22"/>
                <a:gd name="T2" fmla="*/ 22 w 41"/>
                <a:gd name="T3" fmla="*/ 22 h 22"/>
                <a:gd name="T4" fmla="*/ 9 w 41"/>
                <a:gd name="T5" fmla="*/ 22 h 22"/>
                <a:gd name="T6" fmla="*/ 0 w 41"/>
                <a:gd name="T7" fmla="*/ 15 h 22"/>
                <a:gd name="T8" fmla="*/ 6 w 41"/>
                <a:gd name="T9" fmla="*/ 2 h 22"/>
                <a:gd name="T10" fmla="*/ 26 w 41"/>
                <a:gd name="T11" fmla="*/ 0 h 22"/>
                <a:gd name="T12" fmla="*/ 41 w 41"/>
                <a:gd name="T13" fmla="*/ 6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22"/>
                <a:gd name="T23" fmla="*/ 41 w 41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22">
                  <a:moveTo>
                    <a:pt x="41" y="6"/>
                  </a:moveTo>
                  <a:lnTo>
                    <a:pt x="22" y="22"/>
                  </a:lnTo>
                  <a:lnTo>
                    <a:pt x="9" y="22"/>
                  </a:lnTo>
                  <a:lnTo>
                    <a:pt x="0" y="15"/>
                  </a:lnTo>
                  <a:lnTo>
                    <a:pt x="6" y="2"/>
                  </a:lnTo>
                  <a:lnTo>
                    <a:pt x="26" y="0"/>
                  </a:lnTo>
                  <a:lnTo>
                    <a:pt x="41" y="6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58" name="Freeform 66"/>
            <p:cNvSpPr>
              <a:spLocks/>
            </p:cNvSpPr>
            <p:nvPr/>
          </p:nvSpPr>
          <p:spPr bwMode="auto">
            <a:xfrm>
              <a:off x="3090" y="3928"/>
              <a:ext cx="42" cy="34"/>
            </a:xfrm>
            <a:custGeom>
              <a:avLst/>
              <a:gdLst>
                <a:gd name="T0" fmla="*/ 42 w 42"/>
                <a:gd name="T1" fmla="*/ 0 h 34"/>
                <a:gd name="T2" fmla="*/ 42 w 42"/>
                <a:gd name="T3" fmla="*/ 11 h 34"/>
                <a:gd name="T4" fmla="*/ 16 w 42"/>
                <a:gd name="T5" fmla="*/ 29 h 34"/>
                <a:gd name="T6" fmla="*/ 5 w 42"/>
                <a:gd name="T7" fmla="*/ 34 h 34"/>
                <a:gd name="T8" fmla="*/ 0 w 42"/>
                <a:gd name="T9" fmla="*/ 32 h 34"/>
                <a:gd name="T10" fmla="*/ 4 w 42"/>
                <a:gd name="T11" fmla="*/ 20 h 34"/>
                <a:gd name="T12" fmla="*/ 22 w 42"/>
                <a:gd name="T13" fmla="*/ 6 h 34"/>
                <a:gd name="T14" fmla="*/ 42 w 42"/>
                <a:gd name="T15" fmla="*/ 0 h 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34"/>
                <a:gd name="T26" fmla="*/ 42 w 42"/>
                <a:gd name="T27" fmla="*/ 34 h 3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34">
                  <a:moveTo>
                    <a:pt x="42" y="0"/>
                  </a:moveTo>
                  <a:lnTo>
                    <a:pt x="42" y="11"/>
                  </a:lnTo>
                  <a:lnTo>
                    <a:pt x="16" y="29"/>
                  </a:lnTo>
                  <a:lnTo>
                    <a:pt x="5" y="34"/>
                  </a:lnTo>
                  <a:lnTo>
                    <a:pt x="0" y="32"/>
                  </a:lnTo>
                  <a:lnTo>
                    <a:pt x="4" y="20"/>
                  </a:lnTo>
                  <a:lnTo>
                    <a:pt x="22" y="6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59" name="Freeform 67"/>
            <p:cNvSpPr>
              <a:spLocks/>
            </p:cNvSpPr>
            <p:nvPr/>
          </p:nvSpPr>
          <p:spPr bwMode="auto">
            <a:xfrm>
              <a:off x="2936" y="3663"/>
              <a:ext cx="52" cy="37"/>
            </a:xfrm>
            <a:custGeom>
              <a:avLst/>
              <a:gdLst>
                <a:gd name="T0" fmla="*/ 28 w 52"/>
                <a:gd name="T1" fmla="*/ 0 h 37"/>
                <a:gd name="T2" fmla="*/ 52 w 52"/>
                <a:gd name="T3" fmla="*/ 26 h 37"/>
                <a:gd name="T4" fmla="*/ 48 w 52"/>
                <a:gd name="T5" fmla="*/ 33 h 37"/>
                <a:gd name="T6" fmla="*/ 35 w 52"/>
                <a:gd name="T7" fmla="*/ 37 h 37"/>
                <a:gd name="T8" fmla="*/ 33 w 52"/>
                <a:gd name="T9" fmla="*/ 28 h 37"/>
                <a:gd name="T10" fmla="*/ 28 w 52"/>
                <a:gd name="T11" fmla="*/ 24 h 37"/>
                <a:gd name="T12" fmla="*/ 20 w 52"/>
                <a:gd name="T13" fmla="*/ 28 h 37"/>
                <a:gd name="T14" fmla="*/ 11 w 52"/>
                <a:gd name="T15" fmla="*/ 22 h 37"/>
                <a:gd name="T16" fmla="*/ 7 w 52"/>
                <a:gd name="T17" fmla="*/ 17 h 37"/>
                <a:gd name="T18" fmla="*/ 13 w 52"/>
                <a:gd name="T19" fmla="*/ 13 h 37"/>
                <a:gd name="T20" fmla="*/ 2 w 52"/>
                <a:gd name="T21" fmla="*/ 19 h 37"/>
                <a:gd name="T22" fmla="*/ 0 w 52"/>
                <a:gd name="T23" fmla="*/ 13 h 37"/>
                <a:gd name="T24" fmla="*/ 15 w 52"/>
                <a:gd name="T25" fmla="*/ 7 h 37"/>
                <a:gd name="T26" fmla="*/ 28 w 52"/>
                <a:gd name="T27" fmla="*/ 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2"/>
                <a:gd name="T43" fmla="*/ 0 h 37"/>
                <a:gd name="T44" fmla="*/ 52 w 52"/>
                <a:gd name="T45" fmla="*/ 37 h 3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2" h="37">
                  <a:moveTo>
                    <a:pt x="28" y="0"/>
                  </a:moveTo>
                  <a:lnTo>
                    <a:pt x="52" y="26"/>
                  </a:lnTo>
                  <a:lnTo>
                    <a:pt x="48" y="33"/>
                  </a:lnTo>
                  <a:lnTo>
                    <a:pt x="35" y="37"/>
                  </a:lnTo>
                  <a:lnTo>
                    <a:pt x="33" y="28"/>
                  </a:lnTo>
                  <a:lnTo>
                    <a:pt x="28" y="24"/>
                  </a:lnTo>
                  <a:lnTo>
                    <a:pt x="20" y="28"/>
                  </a:lnTo>
                  <a:lnTo>
                    <a:pt x="11" y="22"/>
                  </a:lnTo>
                  <a:lnTo>
                    <a:pt x="7" y="17"/>
                  </a:lnTo>
                  <a:lnTo>
                    <a:pt x="13" y="1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15" y="7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</p:grpSp>
      <p:grpSp>
        <p:nvGrpSpPr>
          <p:cNvPr id="27" name="Group 68"/>
          <p:cNvGrpSpPr>
            <a:grpSpLocks/>
          </p:cNvGrpSpPr>
          <p:nvPr/>
        </p:nvGrpSpPr>
        <p:grpSpPr bwMode="auto">
          <a:xfrm>
            <a:off x="3469556" y="3385504"/>
            <a:ext cx="1153790" cy="1432243"/>
            <a:chOff x="1086" y="2537"/>
            <a:chExt cx="764" cy="906"/>
          </a:xfrm>
          <a:solidFill>
            <a:schemeClr val="accent5"/>
          </a:solidFill>
        </p:grpSpPr>
        <p:sp>
          <p:nvSpPr>
            <p:cNvPr id="49" name="Freeform 69"/>
            <p:cNvSpPr>
              <a:spLocks/>
            </p:cNvSpPr>
            <p:nvPr/>
          </p:nvSpPr>
          <p:spPr bwMode="auto">
            <a:xfrm>
              <a:off x="1782" y="3321"/>
              <a:ext cx="68" cy="122"/>
            </a:xfrm>
            <a:custGeom>
              <a:avLst/>
              <a:gdLst>
                <a:gd name="T0" fmla="*/ 68 w 68"/>
                <a:gd name="T1" fmla="*/ 0 h 122"/>
                <a:gd name="T2" fmla="*/ 46 w 68"/>
                <a:gd name="T3" fmla="*/ 26 h 122"/>
                <a:gd name="T4" fmla="*/ 20 w 68"/>
                <a:gd name="T5" fmla="*/ 26 h 122"/>
                <a:gd name="T6" fmla="*/ 0 w 68"/>
                <a:gd name="T7" fmla="*/ 41 h 122"/>
                <a:gd name="T8" fmla="*/ 4 w 68"/>
                <a:gd name="T9" fmla="*/ 62 h 122"/>
                <a:gd name="T10" fmla="*/ 4 w 68"/>
                <a:gd name="T11" fmla="*/ 96 h 122"/>
                <a:gd name="T12" fmla="*/ 20 w 68"/>
                <a:gd name="T13" fmla="*/ 122 h 122"/>
                <a:gd name="T14" fmla="*/ 38 w 68"/>
                <a:gd name="T15" fmla="*/ 115 h 122"/>
                <a:gd name="T16" fmla="*/ 42 w 68"/>
                <a:gd name="T17" fmla="*/ 100 h 122"/>
                <a:gd name="T18" fmla="*/ 61 w 68"/>
                <a:gd name="T19" fmla="*/ 66 h 122"/>
                <a:gd name="T20" fmla="*/ 61 w 68"/>
                <a:gd name="T21" fmla="*/ 48 h 122"/>
                <a:gd name="T22" fmla="*/ 68 w 68"/>
                <a:gd name="T23" fmla="*/ 0 h 1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8"/>
                <a:gd name="T37" fmla="*/ 0 h 122"/>
                <a:gd name="T38" fmla="*/ 68 w 68"/>
                <a:gd name="T39" fmla="*/ 122 h 1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8" h="122">
                  <a:moveTo>
                    <a:pt x="68" y="0"/>
                  </a:moveTo>
                  <a:lnTo>
                    <a:pt x="46" y="26"/>
                  </a:lnTo>
                  <a:lnTo>
                    <a:pt x="20" y="26"/>
                  </a:lnTo>
                  <a:lnTo>
                    <a:pt x="0" y="41"/>
                  </a:lnTo>
                  <a:lnTo>
                    <a:pt x="4" y="62"/>
                  </a:lnTo>
                  <a:lnTo>
                    <a:pt x="4" y="96"/>
                  </a:lnTo>
                  <a:lnTo>
                    <a:pt x="20" y="122"/>
                  </a:lnTo>
                  <a:lnTo>
                    <a:pt x="38" y="115"/>
                  </a:lnTo>
                  <a:lnTo>
                    <a:pt x="42" y="100"/>
                  </a:lnTo>
                  <a:lnTo>
                    <a:pt x="61" y="66"/>
                  </a:lnTo>
                  <a:lnTo>
                    <a:pt x="61" y="48"/>
                  </a:lnTo>
                  <a:lnTo>
                    <a:pt x="68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50" name="Freeform 70"/>
            <p:cNvSpPr>
              <a:spLocks/>
            </p:cNvSpPr>
            <p:nvPr/>
          </p:nvSpPr>
          <p:spPr bwMode="auto">
            <a:xfrm>
              <a:off x="1086" y="2537"/>
              <a:ext cx="764" cy="746"/>
            </a:xfrm>
            <a:custGeom>
              <a:avLst/>
              <a:gdLst>
                <a:gd name="T0" fmla="*/ 11 w 764"/>
                <a:gd name="T1" fmla="*/ 145 h 746"/>
                <a:gd name="T2" fmla="*/ 13 w 764"/>
                <a:gd name="T3" fmla="*/ 174 h 746"/>
                <a:gd name="T4" fmla="*/ 74 w 764"/>
                <a:gd name="T5" fmla="*/ 221 h 746"/>
                <a:gd name="T6" fmla="*/ 122 w 764"/>
                <a:gd name="T7" fmla="*/ 250 h 746"/>
                <a:gd name="T8" fmla="*/ 117 w 764"/>
                <a:gd name="T9" fmla="*/ 290 h 746"/>
                <a:gd name="T10" fmla="*/ 145 w 764"/>
                <a:gd name="T11" fmla="*/ 349 h 746"/>
                <a:gd name="T12" fmla="*/ 158 w 764"/>
                <a:gd name="T13" fmla="*/ 429 h 746"/>
                <a:gd name="T14" fmla="*/ 132 w 764"/>
                <a:gd name="T15" fmla="*/ 429 h 746"/>
                <a:gd name="T16" fmla="*/ 115 w 764"/>
                <a:gd name="T17" fmla="*/ 470 h 746"/>
                <a:gd name="T18" fmla="*/ 98 w 764"/>
                <a:gd name="T19" fmla="*/ 511 h 746"/>
                <a:gd name="T20" fmla="*/ 57 w 764"/>
                <a:gd name="T21" fmla="*/ 583 h 746"/>
                <a:gd name="T22" fmla="*/ 59 w 764"/>
                <a:gd name="T23" fmla="*/ 618 h 746"/>
                <a:gd name="T24" fmla="*/ 161 w 764"/>
                <a:gd name="T25" fmla="*/ 685 h 746"/>
                <a:gd name="T26" fmla="*/ 249 w 764"/>
                <a:gd name="T27" fmla="*/ 726 h 746"/>
                <a:gd name="T28" fmla="*/ 325 w 764"/>
                <a:gd name="T29" fmla="*/ 746 h 746"/>
                <a:gd name="T30" fmla="*/ 353 w 764"/>
                <a:gd name="T31" fmla="*/ 689 h 746"/>
                <a:gd name="T32" fmla="*/ 422 w 764"/>
                <a:gd name="T33" fmla="*/ 664 h 746"/>
                <a:gd name="T34" fmla="*/ 472 w 764"/>
                <a:gd name="T35" fmla="*/ 690 h 746"/>
                <a:gd name="T36" fmla="*/ 541 w 764"/>
                <a:gd name="T37" fmla="*/ 726 h 746"/>
                <a:gd name="T38" fmla="*/ 604 w 764"/>
                <a:gd name="T39" fmla="*/ 711 h 746"/>
                <a:gd name="T40" fmla="*/ 650 w 764"/>
                <a:gd name="T41" fmla="*/ 663 h 746"/>
                <a:gd name="T42" fmla="*/ 622 w 764"/>
                <a:gd name="T43" fmla="*/ 642 h 746"/>
                <a:gd name="T44" fmla="*/ 617 w 764"/>
                <a:gd name="T45" fmla="*/ 574 h 746"/>
                <a:gd name="T46" fmla="*/ 635 w 764"/>
                <a:gd name="T47" fmla="*/ 511 h 746"/>
                <a:gd name="T48" fmla="*/ 635 w 764"/>
                <a:gd name="T49" fmla="*/ 453 h 746"/>
                <a:gd name="T50" fmla="*/ 602 w 764"/>
                <a:gd name="T51" fmla="*/ 455 h 746"/>
                <a:gd name="T52" fmla="*/ 587 w 764"/>
                <a:gd name="T53" fmla="*/ 446 h 746"/>
                <a:gd name="T54" fmla="*/ 622 w 764"/>
                <a:gd name="T55" fmla="*/ 405 h 746"/>
                <a:gd name="T56" fmla="*/ 676 w 764"/>
                <a:gd name="T57" fmla="*/ 353 h 746"/>
                <a:gd name="T58" fmla="*/ 705 w 764"/>
                <a:gd name="T59" fmla="*/ 327 h 746"/>
                <a:gd name="T60" fmla="*/ 727 w 764"/>
                <a:gd name="T61" fmla="*/ 277 h 746"/>
                <a:gd name="T62" fmla="*/ 764 w 764"/>
                <a:gd name="T63" fmla="*/ 234 h 746"/>
                <a:gd name="T64" fmla="*/ 720 w 764"/>
                <a:gd name="T65" fmla="*/ 213 h 746"/>
                <a:gd name="T66" fmla="*/ 667 w 764"/>
                <a:gd name="T67" fmla="*/ 195 h 746"/>
                <a:gd name="T68" fmla="*/ 631 w 764"/>
                <a:gd name="T69" fmla="*/ 163 h 746"/>
                <a:gd name="T70" fmla="*/ 581 w 764"/>
                <a:gd name="T71" fmla="*/ 119 h 746"/>
                <a:gd name="T72" fmla="*/ 539 w 764"/>
                <a:gd name="T73" fmla="*/ 76 h 746"/>
                <a:gd name="T74" fmla="*/ 509 w 764"/>
                <a:gd name="T75" fmla="*/ 30 h 746"/>
                <a:gd name="T76" fmla="*/ 444 w 764"/>
                <a:gd name="T77" fmla="*/ 2 h 746"/>
                <a:gd name="T78" fmla="*/ 416 w 764"/>
                <a:gd name="T79" fmla="*/ 35 h 746"/>
                <a:gd name="T80" fmla="*/ 318 w 764"/>
                <a:gd name="T81" fmla="*/ 87 h 746"/>
                <a:gd name="T82" fmla="*/ 266 w 764"/>
                <a:gd name="T83" fmla="*/ 104 h 746"/>
                <a:gd name="T84" fmla="*/ 220 w 764"/>
                <a:gd name="T85" fmla="*/ 78 h 746"/>
                <a:gd name="T86" fmla="*/ 199 w 764"/>
                <a:gd name="T87" fmla="*/ 56 h 746"/>
                <a:gd name="T88" fmla="*/ 205 w 764"/>
                <a:gd name="T89" fmla="*/ 83 h 746"/>
                <a:gd name="T90" fmla="*/ 198 w 764"/>
                <a:gd name="T91" fmla="*/ 113 h 746"/>
                <a:gd name="T92" fmla="*/ 182 w 764"/>
                <a:gd name="T93" fmla="*/ 137 h 746"/>
                <a:gd name="T94" fmla="*/ 141 w 764"/>
                <a:gd name="T95" fmla="*/ 126 h 746"/>
                <a:gd name="T96" fmla="*/ 93 w 764"/>
                <a:gd name="T97" fmla="*/ 96 h 746"/>
                <a:gd name="T98" fmla="*/ 59 w 764"/>
                <a:gd name="T99" fmla="*/ 108 h 74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64"/>
                <a:gd name="T151" fmla="*/ 0 h 746"/>
                <a:gd name="T152" fmla="*/ 764 w 764"/>
                <a:gd name="T153" fmla="*/ 746 h 74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64" h="746">
                  <a:moveTo>
                    <a:pt x="13" y="106"/>
                  </a:moveTo>
                  <a:lnTo>
                    <a:pt x="20" y="124"/>
                  </a:lnTo>
                  <a:lnTo>
                    <a:pt x="13" y="139"/>
                  </a:lnTo>
                  <a:lnTo>
                    <a:pt x="11" y="145"/>
                  </a:lnTo>
                  <a:lnTo>
                    <a:pt x="0" y="141"/>
                  </a:lnTo>
                  <a:lnTo>
                    <a:pt x="4" y="150"/>
                  </a:lnTo>
                  <a:lnTo>
                    <a:pt x="4" y="159"/>
                  </a:lnTo>
                  <a:lnTo>
                    <a:pt x="13" y="174"/>
                  </a:lnTo>
                  <a:lnTo>
                    <a:pt x="30" y="169"/>
                  </a:lnTo>
                  <a:lnTo>
                    <a:pt x="52" y="193"/>
                  </a:lnTo>
                  <a:lnTo>
                    <a:pt x="61" y="209"/>
                  </a:lnTo>
                  <a:lnTo>
                    <a:pt x="74" y="221"/>
                  </a:lnTo>
                  <a:lnTo>
                    <a:pt x="91" y="221"/>
                  </a:lnTo>
                  <a:lnTo>
                    <a:pt x="98" y="235"/>
                  </a:lnTo>
                  <a:lnTo>
                    <a:pt x="113" y="248"/>
                  </a:lnTo>
                  <a:lnTo>
                    <a:pt x="122" y="250"/>
                  </a:lnTo>
                  <a:lnTo>
                    <a:pt x="124" y="256"/>
                  </a:lnTo>
                  <a:lnTo>
                    <a:pt x="119" y="268"/>
                  </a:lnTo>
                  <a:lnTo>
                    <a:pt x="119" y="279"/>
                  </a:lnTo>
                  <a:lnTo>
                    <a:pt x="117" y="290"/>
                  </a:lnTo>
                  <a:lnTo>
                    <a:pt x="113" y="309"/>
                  </a:lnTo>
                  <a:lnTo>
                    <a:pt x="128" y="327"/>
                  </a:lnTo>
                  <a:lnTo>
                    <a:pt x="145" y="340"/>
                  </a:lnTo>
                  <a:lnTo>
                    <a:pt x="145" y="349"/>
                  </a:lnTo>
                  <a:lnTo>
                    <a:pt x="143" y="381"/>
                  </a:lnTo>
                  <a:lnTo>
                    <a:pt x="139" y="407"/>
                  </a:lnTo>
                  <a:lnTo>
                    <a:pt x="143" y="418"/>
                  </a:lnTo>
                  <a:lnTo>
                    <a:pt x="158" y="429"/>
                  </a:lnTo>
                  <a:lnTo>
                    <a:pt x="158" y="451"/>
                  </a:lnTo>
                  <a:lnTo>
                    <a:pt x="158" y="466"/>
                  </a:lnTo>
                  <a:lnTo>
                    <a:pt x="141" y="444"/>
                  </a:lnTo>
                  <a:lnTo>
                    <a:pt x="132" y="429"/>
                  </a:lnTo>
                  <a:lnTo>
                    <a:pt x="126" y="433"/>
                  </a:lnTo>
                  <a:lnTo>
                    <a:pt x="130" y="444"/>
                  </a:lnTo>
                  <a:lnTo>
                    <a:pt x="124" y="457"/>
                  </a:lnTo>
                  <a:lnTo>
                    <a:pt x="115" y="470"/>
                  </a:lnTo>
                  <a:lnTo>
                    <a:pt x="109" y="479"/>
                  </a:lnTo>
                  <a:lnTo>
                    <a:pt x="117" y="488"/>
                  </a:lnTo>
                  <a:lnTo>
                    <a:pt x="111" y="498"/>
                  </a:lnTo>
                  <a:lnTo>
                    <a:pt x="98" y="511"/>
                  </a:lnTo>
                  <a:lnTo>
                    <a:pt x="96" y="522"/>
                  </a:lnTo>
                  <a:lnTo>
                    <a:pt x="89" y="535"/>
                  </a:lnTo>
                  <a:lnTo>
                    <a:pt x="69" y="559"/>
                  </a:lnTo>
                  <a:lnTo>
                    <a:pt x="57" y="583"/>
                  </a:lnTo>
                  <a:lnTo>
                    <a:pt x="57" y="587"/>
                  </a:lnTo>
                  <a:lnTo>
                    <a:pt x="63" y="594"/>
                  </a:lnTo>
                  <a:lnTo>
                    <a:pt x="56" y="605"/>
                  </a:lnTo>
                  <a:lnTo>
                    <a:pt x="59" y="618"/>
                  </a:lnTo>
                  <a:lnTo>
                    <a:pt x="70" y="635"/>
                  </a:lnTo>
                  <a:lnTo>
                    <a:pt x="117" y="661"/>
                  </a:lnTo>
                  <a:lnTo>
                    <a:pt x="150" y="689"/>
                  </a:lnTo>
                  <a:lnTo>
                    <a:pt x="161" y="685"/>
                  </a:lnTo>
                  <a:lnTo>
                    <a:pt x="178" y="679"/>
                  </a:lnTo>
                  <a:lnTo>
                    <a:pt x="236" y="703"/>
                  </a:lnTo>
                  <a:lnTo>
                    <a:pt x="244" y="711"/>
                  </a:lnTo>
                  <a:lnTo>
                    <a:pt x="249" y="726"/>
                  </a:lnTo>
                  <a:lnTo>
                    <a:pt x="259" y="731"/>
                  </a:lnTo>
                  <a:lnTo>
                    <a:pt x="272" y="733"/>
                  </a:lnTo>
                  <a:lnTo>
                    <a:pt x="292" y="744"/>
                  </a:lnTo>
                  <a:lnTo>
                    <a:pt x="325" y="746"/>
                  </a:lnTo>
                  <a:lnTo>
                    <a:pt x="335" y="733"/>
                  </a:lnTo>
                  <a:lnTo>
                    <a:pt x="338" y="718"/>
                  </a:lnTo>
                  <a:lnTo>
                    <a:pt x="338" y="702"/>
                  </a:lnTo>
                  <a:lnTo>
                    <a:pt x="353" y="689"/>
                  </a:lnTo>
                  <a:lnTo>
                    <a:pt x="381" y="674"/>
                  </a:lnTo>
                  <a:lnTo>
                    <a:pt x="394" y="672"/>
                  </a:lnTo>
                  <a:lnTo>
                    <a:pt x="409" y="664"/>
                  </a:lnTo>
                  <a:lnTo>
                    <a:pt x="422" y="664"/>
                  </a:lnTo>
                  <a:lnTo>
                    <a:pt x="437" y="674"/>
                  </a:lnTo>
                  <a:lnTo>
                    <a:pt x="448" y="687"/>
                  </a:lnTo>
                  <a:lnTo>
                    <a:pt x="461" y="687"/>
                  </a:lnTo>
                  <a:lnTo>
                    <a:pt x="472" y="690"/>
                  </a:lnTo>
                  <a:lnTo>
                    <a:pt x="494" y="692"/>
                  </a:lnTo>
                  <a:lnTo>
                    <a:pt x="509" y="711"/>
                  </a:lnTo>
                  <a:lnTo>
                    <a:pt x="522" y="720"/>
                  </a:lnTo>
                  <a:lnTo>
                    <a:pt x="541" y="726"/>
                  </a:lnTo>
                  <a:lnTo>
                    <a:pt x="557" y="735"/>
                  </a:lnTo>
                  <a:lnTo>
                    <a:pt x="566" y="737"/>
                  </a:lnTo>
                  <a:lnTo>
                    <a:pt x="589" y="714"/>
                  </a:lnTo>
                  <a:lnTo>
                    <a:pt x="604" y="711"/>
                  </a:lnTo>
                  <a:lnTo>
                    <a:pt x="615" y="702"/>
                  </a:lnTo>
                  <a:lnTo>
                    <a:pt x="631" y="690"/>
                  </a:lnTo>
                  <a:lnTo>
                    <a:pt x="652" y="689"/>
                  </a:lnTo>
                  <a:lnTo>
                    <a:pt x="650" y="663"/>
                  </a:lnTo>
                  <a:lnTo>
                    <a:pt x="646" y="655"/>
                  </a:lnTo>
                  <a:lnTo>
                    <a:pt x="637" y="642"/>
                  </a:lnTo>
                  <a:lnTo>
                    <a:pt x="630" y="644"/>
                  </a:lnTo>
                  <a:lnTo>
                    <a:pt x="622" y="642"/>
                  </a:lnTo>
                  <a:lnTo>
                    <a:pt x="615" y="631"/>
                  </a:lnTo>
                  <a:lnTo>
                    <a:pt x="613" y="605"/>
                  </a:lnTo>
                  <a:lnTo>
                    <a:pt x="628" y="588"/>
                  </a:lnTo>
                  <a:lnTo>
                    <a:pt x="617" y="574"/>
                  </a:lnTo>
                  <a:lnTo>
                    <a:pt x="617" y="568"/>
                  </a:lnTo>
                  <a:lnTo>
                    <a:pt x="639" y="546"/>
                  </a:lnTo>
                  <a:lnTo>
                    <a:pt x="639" y="538"/>
                  </a:lnTo>
                  <a:lnTo>
                    <a:pt x="635" y="511"/>
                  </a:lnTo>
                  <a:lnTo>
                    <a:pt x="648" y="498"/>
                  </a:lnTo>
                  <a:lnTo>
                    <a:pt x="637" y="483"/>
                  </a:lnTo>
                  <a:lnTo>
                    <a:pt x="637" y="472"/>
                  </a:lnTo>
                  <a:lnTo>
                    <a:pt x="635" y="453"/>
                  </a:lnTo>
                  <a:lnTo>
                    <a:pt x="630" y="448"/>
                  </a:lnTo>
                  <a:lnTo>
                    <a:pt x="617" y="448"/>
                  </a:lnTo>
                  <a:lnTo>
                    <a:pt x="605" y="451"/>
                  </a:lnTo>
                  <a:lnTo>
                    <a:pt x="602" y="455"/>
                  </a:lnTo>
                  <a:lnTo>
                    <a:pt x="594" y="462"/>
                  </a:lnTo>
                  <a:lnTo>
                    <a:pt x="583" y="466"/>
                  </a:lnTo>
                  <a:lnTo>
                    <a:pt x="579" y="455"/>
                  </a:lnTo>
                  <a:lnTo>
                    <a:pt x="587" y="446"/>
                  </a:lnTo>
                  <a:lnTo>
                    <a:pt x="591" y="438"/>
                  </a:lnTo>
                  <a:lnTo>
                    <a:pt x="591" y="429"/>
                  </a:lnTo>
                  <a:lnTo>
                    <a:pt x="611" y="409"/>
                  </a:lnTo>
                  <a:lnTo>
                    <a:pt x="622" y="405"/>
                  </a:lnTo>
                  <a:lnTo>
                    <a:pt x="624" y="390"/>
                  </a:lnTo>
                  <a:lnTo>
                    <a:pt x="635" y="377"/>
                  </a:lnTo>
                  <a:lnTo>
                    <a:pt x="667" y="353"/>
                  </a:lnTo>
                  <a:lnTo>
                    <a:pt x="676" y="353"/>
                  </a:lnTo>
                  <a:lnTo>
                    <a:pt x="680" y="344"/>
                  </a:lnTo>
                  <a:lnTo>
                    <a:pt x="691" y="333"/>
                  </a:lnTo>
                  <a:lnTo>
                    <a:pt x="700" y="333"/>
                  </a:lnTo>
                  <a:lnTo>
                    <a:pt x="705" y="327"/>
                  </a:lnTo>
                  <a:lnTo>
                    <a:pt x="710" y="323"/>
                  </a:lnTo>
                  <a:lnTo>
                    <a:pt x="718" y="310"/>
                  </a:lnTo>
                  <a:lnTo>
                    <a:pt x="725" y="290"/>
                  </a:lnTo>
                  <a:lnTo>
                    <a:pt x="727" y="277"/>
                  </a:lnTo>
                  <a:lnTo>
                    <a:pt x="727" y="266"/>
                  </a:lnTo>
                  <a:lnTo>
                    <a:pt x="738" y="252"/>
                  </a:lnTo>
                  <a:lnTo>
                    <a:pt x="755" y="243"/>
                  </a:lnTo>
                  <a:lnTo>
                    <a:pt x="764" y="234"/>
                  </a:lnTo>
                  <a:lnTo>
                    <a:pt x="764" y="230"/>
                  </a:lnTo>
                  <a:lnTo>
                    <a:pt x="749" y="219"/>
                  </a:lnTo>
                  <a:lnTo>
                    <a:pt x="742" y="215"/>
                  </a:lnTo>
                  <a:lnTo>
                    <a:pt x="720" y="213"/>
                  </a:lnTo>
                  <a:lnTo>
                    <a:pt x="694" y="209"/>
                  </a:lnTo>
                  <a:lnTo>
                    <a:pt x="685" y="208"/>
                  </a:lnTo>
                  <a:lnTo>
                    <a:pt x="676" y="204"/>
                  </a:lnTo>
                  <a:lnTo>
                    <a:pt x="667" y="195"/>
                  </a:lnTo>
                  <a:lnTo>
                    <a:pt x="659" y="180"/>
                  </a:lnTo>
                  <a:lnTo>
                    <a:pt x="652" y="171"/>
                  </a:lnTo>
                  <a:lnTo>
                    <a:pt x="642" y="167"/>
                  </a:lnTo>
                  <a:lnTo>
                    <a:pt x="631" y="163"/>
                  </a:lnTo>
                  <a:lnTo>
                    <a:pt x="626" y="161"/>
                  </a:lnTo>
                  <a:lnTo>
                    <a:pt x="611" y="148"/>
                  </a:lnTo>
                  <a:lnTo>
                    <a:pt x="592" y="133"/>
                  </a:lnTo>
                  <a:lnTo>
                    <a:pt x="581" y="119"/>
                  </a:lnTo>
                  <a:lnTo>
                    <a:pt x="568" y="115"/>
                  </a:lnTo>
                  <a:lnTo>
                    <a:pt x="561" y="109"/>
                  </a:lnTo>
                  <a:lnTo>
                    <a:pt x="555" y="95"/>
                  </a:lnTo>
                  <a:lnTo>
                    <a:pt x="539" y="76"/>
                  </a:lnTo>
                  <a:lnTo>
                    <a:pt x="535" y="63"/>
                  </a:lnTo>
                  <a:lnTo>
                    <a:pt x="522" y="50"/>
                  </a:lnTo>
                  <a:lnTo>
                    <a:pt x="516" y="39"/>
                  </a:lnTo>
                  <a:lnTo>
                    <a:pt x="509" y="30"/>
                  </a:lnTo>
                  <a:lnTo>
                    <a:pt x="496" y="20"/>
                  </a:lnTo>
                  <a:lnTo>
                    <a:pt x="483" y="6"/>
                  </a:lnTo>
                  <a:lnTo>
                    <a:pt x="472" y="0"/>
                  </a:lnTo>
                  <a:lnTo>
                    <a:pt x="444" y="2"/>
                  </a:lnTo>
                  <a:lnTo>
                    <a:pt x="433" y="2"/>
                  </a:lnTo>
                  <a:lnTo>
                    <a:pt x="418" y="13"/>
                  </a:lnTo>
                  <a:lnTo>
                    <a:pt x="427" y="22"/>
                  </a:lnTo>
                  <a:lnTo>
                    <a:pt x="416" y="35"/>
                  </a:lnTo>
                  <a:lnTo>
                    <a:pt x="388" y="70"/>
                  </a:lnTo>
                  <a:lnTo>
                    <a:pt x="374" y="78"/>
                  </a:lnTo>
                  <a:lnTo>
                    <a:pt x="335" y="82"/>
                  </a:lnTo>
                  <a:lnTo>
                    <a:pt x="318" y="87"/>
                  </a:lnTo>
                  <a:lnTo>
                    <a:pt x="309" y="96"/>
                  </a:lnTo>
                  <a:lnTo>
                    <a:pt x="305" y="104"/>
                  </a:lnTo>
                  <a:lnTo>
                    <a:pt x="290" y="100"/>
                  </a:lnTo>
                  <a:lnTo>
                    <a:pt x="266" y="104"/>
                  </a:lnTo>
                  <a:lnTo>
                    <a:pt x="251" y="102"/>
                  </a:lnTo>
                  <a:lnTo>
                    <a:pt x="238" y="93"/>
                  </a:lnTo>
                  <a:lnTo>
                    <a:pt x="229" y="82"/>
                  </a:lnTo>
                  <a:lnTo>
                    <a:pt x="220" y="78"/>
                  </a:lnTo>
                  <a:lnTo>
                    <a:pt x="227" y="69"/>
                  </a:lnTo>
                  <a:lnTo>
                    <a:pt x="216" y="59"/>
                  </a:lnTo>
                  <a:lnTo>
                    <a:pt x="207" y="57"/>
                  </a:lnTo>
                  <a:lnTo>
                    <a:pt x="199" y="56"/>
                  </a:lnTo>
                  <a:lnTo>
                    <a:pt x="198" y="59"/>
                  </a:lnTo>
                  <a:lnTo>
                    <a:pt x="205" y="67"/>
                  </a:lnTo>
                  <a:lnTo>
                    <a:pt x="201" y="72"/>
                  </a:lnTo>
                  <a:lnTo>
                    <a:pt x="205" y="83"/>
                  </a:lnTo>
                  <a:lnTo>
                    <a:pt x="207" y="96"/>
                  </a:lnTo>
                  <a:lnTo>
                    <a:pt x="207" y="106"/>
                  </a:lnTo>
                  <a:lnTo>
                    <a:pt x="205" y="108"/>
                  </a:lnTo>
                  <a:lnTo>
                    <a:pt x="198" y="113"/>
                  </a:lnTo>
                  <a:lnTo>
                    <a:pt x="196" y="122"/>
                  </a:lnTo>
                  <a:lnTo>
                    <a:pt x="196" y="132"/>
                  </a:lnTo>
                  <a:lnTo>
                    <a:pt x="194" y="139"/>
                  </a:lnTo>
                  <a:lnTo>
                    <a:pt x="182" y="137"/>
                  </a:lnTo>
                  <a:lnTo>
                    <a:pt x="169" y="130"/>
                  </a:lnTo>
                  <a:lnTo>
                    <a:pt x="161" y="137"/>
                  </a:lnTo>
                  <a:lnTo>
                    <a:pt x="148" y="128"/>
                  </a:lnTo>
                  <a:lnTo>
                    <a:pt x="141" y="126"/>
                  </a:lnTo>
                  <a:lnTo>
                    <a:pt x="132" y="133"/>
                  </a:lnTo>
                  <a:lnTo>
                    <a:pt x="124" y="132"/>
                  </a:lnTo>
                  <a:lnTo>
                    <a:pt x="124" y="126"/>
                  </a:lnTo>
                  <a:lnTo>
                    <a:pt x="93" y="96"/>
                  </a:lnTo>
                  <a:lnTo>
                    <a:pt x="85" y="95"/>
                  </a:lnTo>
                  <a:lnTo>
                    <a:pt x="80" y="100"/>
                  </a:lnTo>
                  <a:lnTo>
                    <a:pt x="67" y="106"/>
                  </a:lnTo>
                  <a:lnTo>
                    <a:pt x="59" y="108"/>
                  </a:lnTo>
                  <a:lnTo>
                    <a:pt x="50" y="98"/>
                  </a:lnTo>
                  <a:lnTo>
                    <a:pt x="28" y="98"/>
                  </a:lnTo>
                  <a:lnTo>
                    <a:pt x="13" y="106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</p:grpSp>
      <p:grpSp>
        <p:nvGrpSpPr>
          <p:cNvPr id="28" name="Group 72"/>
          <p:cNvGrpSpPr>
            <a:grpSpLocks/>
          </p:cNvGrpSpPr>
          <p:nvPr/>
        </p:nvGrpSpPr>
        <p:grpSpPr bwMode="auto">
          <a:xfrm>
            <a:off x="3481637" y="2182483"/>
            <a:ext cx="682609" cy="1191955"/>
            <a:chOff x="1094" y="1776"/>
            <a:chExt cx="452" cy="754"/>
          </a:xfrm>
          <a:solidFill>
            <a:schemeClr val="accent6"/>
          </a:solidFill>
        </p:grpSpPr>
        <p:sp>
          <p:nvSpPr>
            <p:cNvPr id="43" name="Freeform 73"/>
            <p:cNvSpPr>
              <a:spLocks/>
            </p:cNvSpPr>
            <p:nvPr/>
          </p:nvSpPr>
          <p:spPr bwMode="auto">
            <a:xfrm>
              <a:off x="1094" y="1785"/>
              <a:ext cx="452" cy="745"/>
            </a:xfrm>
            <a:custGeom>
              <a:avLst/>
              <a:gdLst>
                <a:gd name="T0" fmla="*/ 147 w 452"/>
                <a:gd name="T1" fmla="*/ 515 h 745"/>
                <a:gd name="T2" fmla="*/ 97 w 452"/>
                <a:gd name="T3" fmla="*/ 549 h 745"/>
                <a:gd name="T4" fmla="*/ 84 w 452"/>
                <a:gd name="T5" fmla="*/ 580 h 745"/>
                <a:gd name="T6" fmla="*/ 113 w 452"/>
                <a:gd name="T7" fmla="*/ 597 h 745"/>
                <a:gd name="T8" fmla="*/ 137 w 452"/>
                <a:gd name="T9" fmla="*/ 608 h 745"/>
                <a:gd name="T10" fmla="*/ 181 w 452"/>
                <a:gd name="T11" fmla="*/ 617 h 745"/>
                <a:gd name="T12" fmla="*/ 152 w 452"/>
                <a:gd name="T13" fmla="*/ 651 h 745"/>
                <a:gd name="T14" fmla="*/ 87 w 452"/>
                <a:gd name="T15" fmla="*/ 632 h 745"/>
                <a:gd name="T16" fmla="*/ 41 w 452"/>
                <a:gd name="T17" fmla="*/ 671 h 745"/>
                <a:gd name="T18" fmla="*/ 2 w 452"/>
                <a:gd name="T19" fmla="*/ 691 h 745"/>
                <a:gd name="T20" fmla="*/ 22 w 452"/>
                <a:gd name="T21" fmla="*/ 708 h 745"/>
                <a:gd name="T22" fmla="*/ 59 w 452"/>
                <a:gd name="T23" fmla="*/ 702 h 745"/>
                <a:gd name="T24" fmla="*/ 110 w 452"/>
                <a:gd name="T25" fmla="*/ 723 h 745"/>
                <a:gd name="T26" fmla="*/ 148 w 452"/>
                <a:gd name="T27" fmla="*/ 689 h 745"/>
                <a:gd name="T28" fmla="*/ 183 w 452"/>
                <a:gd name="T29" fmla="*/ 710 h 745"/>
                <a:gd name="T30" fmla="*/ 231 w 452"/>
                <a:gd name="T31" fmla="*/ 717 h 745"/>
                <a:gd name="T32" fmla="*/ 266 w 452"/>
                <a:gd name="T33" fmla="*/ 714 h 745"/>
                <a:gd name="T34" fmla="*/ 315 w 452"/>
                <a:gd name="T35" fmla="*/ 734 h 745"/>
                <a:gd name="T36" fmla="*/ 357 w 452"/>
                <a:gd name="T37" fmla="*/ 738 h 745"/>
                <a:gd name="T38" fmla="*/ 398 w 452"/>
                <a:gd name="T39" fmla="*/ 723 h 745"/>
                <a:gd name="T40" fmla="*/ 381 w 452"/>
                <a:gd name="T41" fmla="*/ 689 h 745"/>
                <a:gd name="T42" fmla="*/ 383 w 452"/>
                <a:gd name="T43" fmla="*/ 667 h 745"/>
                <a:gd name="T44" fmla="*/ 437 w 452"/>
                <a:gd name="T45" fmla="*/ 632 h 745"/>
                <a:gd name="T46" fmla="*/ 452 w 452"/>
                <a:gd name="T47" fmla="*/ 584 h 745"/>
                <a:gd name="T48" fmla="*/ 413 w 452"/>
                <a:gd name="T49" fmla="*/ 558 h 745"/>
                <a:gd name="T50" fmla="*/ 385 w 452"/>
                <a:gd name="T51" fmla="*/ 556 h 745"/>
                <a:gd name="T52" fmla="*/ 394 w 452"/>
                <a:gd name="T53" fmla="*/ 510 h 745"/>
                <a:gd name="T54" fmla="*/ 394 w 452"/>
                <a:gd name="T55" fmla="*/ 447 h 745"/>
                <a:gd name="T56" fmla="*/ 354 w 452"/>
                <a:gd name="T57" fmla="*/ 374 h 745"/>
                <a:gd name="T58" fmla="*/ 354 w 452"/>
                <a:gd name="T59" fmla="*/ 317 h 745"/>
                <a:gd name="T60" fmla="*/ 341 w 452"/>
                <a:gd name="T61" fmla="*/ 272 h 745"/>
                <a:gd name="T62" fmla="*/ 298 w 452"/>
                <a:gd name="T63" fmla="*/ 248 h 745"/>
                <a:gd name="T64" fmla="*/ 294 w 452"/>
                <a:gd name="T65" fmla="*/ 230 h 745"/>
                <a:gd name="T66" fmla="*/ 331 w 452"/>
                <a:gd name="T67" fmla="*/ 235 h 745"/>
                <a:gd name="T68" fmla="*/ 389 w 452"/>
                <a:gd name="T69" fmla="*/ 165 h 745"/>
                <a:gd name="T70" fmla="*/ 385 w 452"/>
                <a:gd name="T71" fmla="*/ 120 h 745"/>
                <a:gd name="T72" fmla="*/ 331 w 452"/>
                <a:gd name="T73" fmla="*/ 98 h 745"/>
                <a:gd name="T74" fmla="*/ 302 w 452"/>
                <a:gd name="T75" fmla="*/ 100 h 745"/>
                <a:gd name="T76" fmla="*/ 318 w 452"/>
                <a:gd name="T77" fmla="*/ 72 h 745"/>
                <a:gd name="T78" fmla="*/ 376 w 452"/>
                <a:gd name="T79" fmla="*/ 37 h 745"/>
                <a:gd name="T80" fmla="*/ 339 w 452"/>
                <a:gd name="T81" fmla="*/ 13 h 745"/>
                <a:gd name="T82" fmla="*/ 278 w 452"/>
                <a:gd name="T83" fmla="*/ 22 h 745"/>
                <a:gd name="T84" fmla="*/ 250 w 452"/>
                <a:gd name="T85" fmla="*/ 48 h 745"/>
                <a:gd name="T86" fmla="*/ 231 w 452"/>
                <a:gd name="T87" fmla="*/ 83 h 745"/>
                <a:gd name="T88" fmla="*/ 183 w 452"/>
                <a:gd name="T89" fmla="*/ 143 h 745"/>
                <a:gd name="T90" fmla="*/ 214 w 452"/>
                <a:gd name="T91" fmla="*/ 155 h 745"/>
                <a:gd name="T92" fmla="*/ 169 w 452"/>
                <a:gd name="T93" fmla="*/ 230 h 745"/>
                <a:gd name="T94" fmla="*/ 185 w 452"/>
                <a:gd name="T95" fmla="*/ 241 h 745"/>
                <a:gd name="T96" fmla="*/ 213 w 452"/>
                <a:gd name="T97" fmla="*/ 257 h 745"/>
                <a:gd name="T98" fmla="*/ 181 w 452"/>
                <a:gd name="T99" fmla="*/ 302 h 745"/>
                <a:gd name="T100" fmla="*/ 226 w 452"/>
                <a:gd name="T101" fmla="*/ 331 h 745"/>
                <a:gd name="T102" fmla="*/ 253 w 452"/>
                <a:gd name="T103" fmla="*/ 341 h 745"/>
                <a:gd name="T104" fmla="*/ 244 w 452"/>
                <a:gd name="T105" fmla="*/ 405 h 745"/>
                <a:gd name="T106" fmla="*/ 242 w 452"/>
                <a:gd name="T107" fmla="*/ 449 h 745"/>
                <a:gd name="T108" fmla="*/ 222 w 452"/>
                <a:gd name="T109" fmla="*/ 469 h 74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52"/>
                <a:gd name="T166" fmla="*/ 0 h 745"/>
                <a:gd name="T167" fmla="*/ 452 w 452"/>
                <a:gd name="T168" fmla="*/ 745 h 74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52" h="745">
                  <a:moveTo>
                    <a:pt x="135" y="478"/>
                  </a:moveTo>
                  <a:lnTo>
                    <a:pt x="156" y="497"/>
                  </a:lnTo>
                  <a:lnTo>
                    <a:pt x="147" y="515"/>
                  </a:lnTo>
                  <a:lnTo>
                    <a:pt x="134" y="530"/>
                  </a:lnTo>
                  <a:lnTo>
                    <a:pt x="113" y="540"/>
                  </a:lnTo>
                  <a:lnTo>
                    <a:pt x="97" y="549"/>
                  </a:lnTo>
                  <a:lnTo>
                    <a:pt x="80" y="551"/>
                  </a:lnTo>
                  <a:lnTo>
                    <a:pt x="71" y="558"/>
                  </a:lnTo>
                  <a:lnTo>
                    <a:pt x="84" y="580"/>
                  </a:lnTo>
                  <a:lnTo>
                    <a:pt x="104" y="580"/>
                  </a:lnTo>
                  <a:lnTo>
                    <a:pt x="113" y="582"/>
                  </a:lnTo>
                  <a:lnTo>
                    <a:pt x="113" y="597"/>
                  </a:lnTo>
                  <a:lnTo>
                    <a:pt x="124" y="597"/>
                  </a:lnTo>
                  <a:lnTo>
                    <a:pt x="132" y="593"/>
                  </a:lnTo>
                  <a:lnTo>
                    <a:pt x="137" y="608"/>
                  </a:lnTo>
                  <a:lnTo>
                    <a:pt x="148" y="621"/>
                  </a:lnTo>
                  <a:lnTo>
                    <a:pt x="167" y="621"/>
                  </a:lnTo>
                  <a:lnTo>
                    <a:pt x="181" y="617"/>
                  </a:lnTo>
                  <a:lnTo>
                    <a:pt x="192" y="621"/>
                  </a:lnTo>
                  <a:lnTo>
                    <a:pt x="163" y="645"/>
                  </a:lnTo>
                  <a:lnTo>
                    <a:pt x="152" y="651"/>
                  </a:lnTo>
                  <a:lnTo>
                    <a:pt x="137" y="645"/>
                  </a:lnTo>
                  <a:lnTo>
                    <a:pt x="104" y="632"/>
                  </a:lnTo>
                  <a:lnTo>
                    <a:pt x="87" y="632"/>
                  </a:lnTo>
                  <a:lnTo>
                    <a:pt x="72" y="645"/>
                  </a:lnTo>
                  <a:lnTo>
                    <a:pt x="52" y="662"/>
                  </a:lnTo>
                  <a:lnTo>
                    <a:pt x="41" y="671"/>
                  </a:lnTo>
                  <a:lnTo>
                    <a:pt x="28" y="675"/>
                  </a:lnTo>
                  <a:lnTo>
                    <a:pt x="13" y="682"/>
                  </a:lnTo>
                  <a:lnTo>
                    <a:pt x="2" y="691"/>
                  </a:lnTo>
                  <a:lnTo>
                    <a:pt x="0" y="697"/>
                  </a:lnTo>
                  <a:lnTo>
                    <a:pt x="13" y="699"/>
                  </a:lnTo>
                  <a:lnTo>
                    <a:pt x="22" y="708"/>
                  </a:lnTo>
                  <a:lnTo>
                    <a:pt x="35" y="714"/>
                  </a:lnTo>
                  <a:lnTo>
                    <a:pt x="48" y="708"/>
                  </a:lnTo>
                  <a:lnTo>
                    <a:pt x="59" y="702"/>
                  </a:lnTo>
                  <a:lnTo>
                    <a:pt x="72" y="704"/>
                  </a:lnTo>
                  <a:lnTo>
                    <a:pt x="91" y="715"/>
                  </a:lnTo>
                  <a:lnTo>
                    <a:pt x="110" y="723"/>
                  </a:lnTo>
                  <a:lnTo>
                    <a:pt x="122" y="715"/>
                  </a:lnTo>
                  <a:lnTo>
                    <a:pt x="128" y="701"/>
                  </a:lnTo>
                  <a:lnTo>
                    <a:pt x="148" y="689"/>
                  </a:lnTo>
                  <a:lnTo>
                    <a:pt x="161" y="689"/>
                  </a:lnTo>
                  <a:lnTo>
                    <a:pt x="173" y="702"/>
                  </a:lnTo>
                  <a:lnTo>
                    <a:pt x="183" y="710"/>
                  </a:lnTo>
                  <a:lnTo>
                    <a:pt x="198" y="710"/>
                  </a:lnTo>
                  <a:lnTo>
                    <a:pt x="218" y="712"/>
                  </a:lnTo>
                  <a:lnTo>
                    <a:pt x="231" y="717"/>
                  </a:lnTo>
                  <a:lnTo>
                    <a:pt x="244" y="708"/>
                  </a:lnTo>
                  <a:lnTo>
                    <a:pt x="255" y="708"/>
                  </a:lnTo>
                  <a:lnTo>
                    <a:pt x="266" y="714"/>
                  </a:lnTo>
                  <a:lnTo>
                    <a:pt x="279" y="728"/>
                  </a:lnTo>
                  <a:lnTo>
                    <a:pt x="296" y="730"/>
                  </a:lnTo>
                  <a:lnTo>
                    <a:pt x="315" y="734"/>
                  </a:lnTo>
                  <a:lnTo>
                    <a:pt x="328" y="741"/>
                  </a:lnTo>
                  <a:lnTo>
                    <a:pt x="344" y="745"/>
                  </a:lnTo>
                  <a:lnTo>
                    <a:pt x="357" y="738"/>
                  </a:lnTo>
                  <a:lnTo>
                    <a:pt x="374" y="728"/>
                  </a:lnTo>
                  <a:lnTo>
                    <a:pt x="385" y="726"/>
                  </a:lnTo>
                  <a:lnTo>
                    <a:pt x="398" y="723"/>
                  </a:lnTo>
                  <a:lnTo>
                    <a:pt x="411" y="712"/>
                  </a:lnTo>
                  <a:lnTo>
                    <a:pt x="402" y="701"/>
                  </a:lnTo>
                  <a:lnTo>
                    <a:pt x="381" y="689"/>
                  </a:lnTo>
                  <a:lnTo>
                    <a:pt x="374" y="682"/>
                  </a:lnTo>
                  <a:lnTo>
                    <a:pt x="374" y="675"/>
                  </a:lnTo>
                  <a:lnTo>
                    <a:pt x="383" y="667"/>
                  </a:lnTo>
                  <a:lnTo>
                    <a:pt x="398" y="665"/>
                  </a:lnTo>
                  <a:lnTo>
                    <a:pt x="413" y="658"/>
                  </a:lnTo>
                  <a:lnTo>
                    <a:pt x="437" y="632"/>
                  </a:lnTo>
                  <a:lnTo>
                    <a:pt x="448" y="619"/>
                  </a:lnTo>
                  <a:lnTo>
                    <a:pt x="452" y="597"/>
                  </a:lnTo>
                  <a:lnTo>
                    <a:pt x="452" y="584"/>
                  </a:lnTo>
                  <a:lnTo>
                    <a:pt x="441" y="575"/>
                  </a:lnTo>
                  <a:lnTo>
                    <a:pt x="426" y="564"/>
                  </a:lnTo>
                  <a:lnTo>
                    <a:pt x="413" y="558"/>
                  </a:lnTo>
                  <a:lnTo>
                    <a:pt x="398" y="560"/>
                  </a:lnTo>
                  <a:lnTo>
                    <a:pt x="389" y="565"/>
                  </a:lnTo>
                  <a:lnTo>
                    <a:pt x="385" y="556"/>
                  </a:lnTo>
                  <a:lnTo>
                    <a:pt x="393" y="541"/>
                  </a:lnTo>
                  <a:lnTo>
                    <a:pt x="396" y="530"/>
                  </a:lnTo>
                  <a:lnTo>
                    <a:pt x="394" y="510"/>
                  </a:lnTo>
                  <a:lnTo>
                    <a:pt x="393" y="482"/>
                  </a:lnTo>
                  <a:lnTo>
                    <a:pt x="398" y="460"/>
                  </a:lnTo>
                  <a:lnTo>
                    <a:pt x="394" y="447"/>
                  </a:lnTo>
                  <a:lnTo>
                    <a:pt x="385" y="431"/>
                  </a:lnTo>
                  <a:lnTo>
                    <a:pt x="363" y="392"/>
                  </a:lnTo>
                  <a:lnTo>
                    <a:pt x="354" y="374"/>
                  </a:lnTo>
                  <a:lnTo>
                    <a:pt x="350" y="352"/>
                  </a:lnTo>
                  <a:lnTo>
                    <a:pt x="348" y="339"/>
                  </a:lnTo>
                  <a:lnTo>
                    <a:pt x="354" y="317"/>
                  </a:lnTo>
                  <a:lnTo>
                    <a:pt x="354" y="300"/>
                  </a:lnTo>
                  <a:lnTo>
                    <a:pt x="350" y="281"/>
                  </a:lnTo>
                  <a:lnTo>
                    <a:pt x="341" y="272"/>
                  </a:lnTo>
                  <a:lnTo>
                    <a:pt x="324" y="255"/>
                  </a:lnTo>
                  <a:lnTo>
                    <a:pt x="311" y="250"/>
                  </a:lnTo>
                  <a:lnTo>
                    <a:pt x="298" y="248"/>
                  </a:lnTo>
                  <a:lnTo>
                    <a:pt x="289" y="246"/>
                  </a:lnTo>
                  <a:lnTo>
                    <a:pt x="289" y="237"/>
                  </a:lnTo>
                  <a:lnTo>
                    <a:pt x="294" y="230"/>
                  </a:lnTo>
                  <a:lnTo>
                    <a:pt x="309" y="228"/>
                  </a:lnTo>
                  <a:lnTo>
                    <a:pt x="322" y="233"/>
                  </a:lnTo>
                  <a:lnTo>
                    <a:pt x="331" y="235"/>
                  </a:lnTo>
                  <a:lnTo>
                    <a:pt x="337" y="226"/>
                  </a:lnTo>
                  <a:lnTo>
                    <a:pt x="335" y="215"/>
                  </a:lnTo>
                  <a:lnTo>
                    <a:pt x="389" y="165"/>
                  </a:lnTo>
                  <a:lnTo>
                    <a:pt x="398" y="154"/>
                  </a:lnTo>
                  <a:lnTo>
                    <a:pt x="398" y="131"/>
                  </a:lnTo>
                  <a:lnTo>
                    <a:pt x="385" y="120"/>
                  </a:lnTo>
                  <a:lnTo>
                    <a:pt x="370" y="118"/>
                  </a:lnTo>
                  <a:lnTo>
                    <a:pt x="357" y="98"/>
                  </a:lnTo>
                  <a:lnTo>
                    <a:pt x="331" y="98"/>
                  </a:lnTo>
                  <a:lnTo>
                    <a:pt x="307" y="102"/>
                  </a:lnTo>
                  <a:lnTo>
                    <a:pt x="302" y="100"/>
                  </a:lnTo>
                  <a:lnTo>
                    <a:pt x="296" y="91"/>
                  </a:lnTo>
                  <a:lnTo>
                    <a:pt x="307" y="83"/>
                  </a:lnTo>
                  <a:lnTo>
                    <a:pt x="318" y="72"/>
                  </a:lnTo>
                  <a:lnTo>
                    <a:pt x="341" y="52"/>
                  </a:lnTo>
                  <a:lnTo>
                    <a:pt x="359" y="50"/>
                  </a:lnTo>
                  <a:lnTo>
                    <a:pt x="376" y="37"/>
                  </a:lnTo>
                  <a:lnTo>
                    <a:pt x="393" y="24"/>
                  </a:lnTo>
                  <a:lnTo>
                    <a:pt x="355" y="15"/>
                  </a:lnTo>
                  <a:lnTo>
                    <a:pt x="339" y="13"/>
                  </a:lnTo>
                  <a:lnTo>
                    <a:pt x="320" y="11"/>
                  </a:lnTo>
                  <a:lnTo>
                    <a:pt x="298" y="0"/>
                  </a:lnTo>
                  <a:lnTo>
                    <a:pt x="278" y="22"/>
                  </a:lnTo>
                  <a:lnTo>
                    <a:pt x="279" y="33"/>
                  </a:lnTo>
                  <a:lnTo>
                    <a:pt x="268" y="37"/>
                  </a:lnTo>
                  <a:lnTo>
                    <a:pt x="250" y="48"/>
                  </a:lnTo>
                  <a:lnTo>
                    <a:pt x="233" y="54"/>
                  </a:lnTo>
                  <a:lnTo>
                    <a:pt x="233" y="70"/>
                  </a:lnTo>
                  <a:lnTo>
                    <a:pt x="231" y="83"/>
                  </a:lnTo>
                  <a:lnTo>
                    <a:pt x="216" y="104"/>
                  </a:lnTo>
                  <a:lnTo>
                    <a:pt x="192" y="130"/>
                  </a:lnTo>
                  <a:lnTo>
                    <a:pt x="183" y="143"/>
                  </a:lnTo>
                  <a:lnTo>
                    <a:pt x="188" y="152"/>
                  </a:lnTo>
                  <a:lnTo>
                    <a:pt x="213" y="150"/>
                  </a:lnTo>
                  <a:lnTo>
                    <a:pt x="214" y="155"/>
                  </a:lnTo>
                  <a:lnTo>
                    <a:pt x="214" y="165"/>
                  </a:lnTo>
                  <a:lnTo>
                    <a:pt x="181" y="207"/>
                  </a:lnTo>
                  <a:lnTo>
                    <a:pt x="169" y="230"/>
                  </a:lnTo>
                  <a:lnTo>
                    <a:pt x="161" y="250"/>
                  </a:lnTo>
                  <a:lnTo>
                    <a:pt x="169" y="259"/>
                  </a:lnTo>
                  <a:lnTo>
                    <a:pt x="185" y="241"/>
                  </a:lnTo>
                  <a:lnTo>
                    <a:pt x="200" y="220"/>
                  </a:lnTo>
                  <a:lnTo>
                    <a:pt x="211" y="226"/>
                  </a:lnTo>
                  <a:lnTo>
                    <a:pt x="213" y="257"/>
                  </a:lnTo>
                  <a:lnTo>
                    <a:pt x="214" y="278"/>
                  </a:lnTo>
                  <a:lnTo>
                    <a:pt x="194" y="289"/>
                  </a:lnTo>
                  <a:lnTo>
                    <a:pt x="181" y="302"/>
                  </a:lnTo>
                  <a:lnTo>
                    <a:pt x="176" y="313"/>
                  </a:lnTo>
                  <a:lnTo>
                    <a:pt x="203" y="335"/>
                  </a:lnTo>
                  <a:lnTo>
                    <a:pt x="226" y="331"/>
                  </a:lnTo>
                  <a:lnTo>
                    <a:pt x="231" y="344"/>
                  </a:lnTo>
                  <a:lnTo>
                    <a:pt x="255" y="329"/>
                  </a:lnTo>
                  <a:lnTo>
                    <a:pt x="253" y="341"/>
                  </a:lnTo>
                  <a:lnTo>
                    <a:pt x="233" y="365"/>
                  </a:lnTo>
                  <a:lnTo>
                    <a:pt x="242" y="391"/>
                  </a:lnTo>
                  <a:lnTo>
                    <a:pt x="244" y="405"/>
                  </a:lnTo>
                  <a:lnTo>
                    <a:pt x="265" y="407"/>
                  </a:lnTo>
                  <a:lnTo>
                    <a:pt x="266" y="420"/>
                  </a:lnTo>
                  <a:lnTo>
                    <a:pt x="242" y="449"/>
                  </a:lnTo>
                  <a:lnTo>
                    <a:pt x="233" y="445"/>
                  </a:lnTo>
                  <a:lnTo>
                    <a:pt x="224" y="454"/>
                  </a:lnTo>
                  <a:lnTo>
                    <a:pt x="222" y="469"/>
                  </a:lnTo>
                  <a:lnTo>
                    <a:pt x="198" y="456"/>
                  </a:lnTo>
                  <a:lnTo>
                    <a:pt x="135" y="478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44" name="Freeform 74"/>
            <p:cNvSpPr>
              <a:spLocks/>
            </p:cNvSpPr>
            <p:nvPr/>
          </p:nvSpPr>
          <p:spPr bwMode="auto">
            <a:xfrm>
              <a:off x="1257" y="2146"/>
              <a:ext cx="38" cy="27"/>
            </a:xfrm>
            <a:custGeom>
              <a:avLst/>
              <a:gdLst>
                <a:gd name="T0" fmla="*/ 20 w 38"/>
                <a:gd name="T1" fmla="*/ 0 h 27"/>
                <a:gd name="T2" fmla="*/ 36 w 38"/>
                <a:gd name="T3" fmla="*/ 2 h 27"/>
                <a:gd name="T4" fmla="*/ 38 w 38"/>
                <a:gd name="T5" fmla="*/ 12 h 27"/>
                <a:gd name="T6" fmla="*/ 21 w 38"/>
                <a:gd name="T7" fmla="*/ 23 h 27"/>
                <a:gd name="T8" fmla="*/ 2 w 38"/>
                <a:gd name="T9" fmla="*/ 27 h 27"/>
                <a:gd name="T10" fmla="*/ 0 w 38"/>
                <a:gd name="T11" fmla="*/ 15 h 27"/>
                <a:gd name="T12" fmla="*/ 20 w 38"/>
                <a:gd name="T13" fmla="*/ 0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"/>
                <a:gd name="T22" fmla="*/ 0 h 27"/>
                <a:gd name="T23" fmla="*/ 38 w 38"/>
                <a:gd name="T24" fmla="*/ 27 h 2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" h="27">
                  <a:moveTo>
                    <a:pt x="20" y="0"/>
                  </a:moveTo>
                  <a:lnTo>
                    <a:pt x="36" y="2"/>
                  </a:lnTo>
                  <a:lnTo>
                    <a:pt x="38" y="12"/>
                  </a:lnTo>
                  <a:lnTo>
                    <a:pt x="21" y="23"/>
                  </a:lnTo>
                  <a:lnTo>
                    <a:pt x="2" y="27"/>
                  </a:lnTo>
                  <a:lnTo>
                    <a:pt x="0" y="15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45" name="Freeform 75"/>
            <p:cNvSpPr>
              <a:spLocks/>
            </p:cNvSpPr>
            <p:nvPr/>
          </p:nvSpPr>
          <p:spPr bwMode="auto">
            <a:xfrm>
              <a:off x="1231" y="1971"/>
              <a:ext cx="37" cy="27"/>
            </a:xfrm>
            <a:custGeom>
              <a:avLst/>
              <a:gdLst>
                <a:gd name="T0" fmla="*/ 31 w 37"/>
                <a:gd name="T1" fmla="*/ 0 h 27"/>
                <a:gd name="T2" fmla="*/ 37 w 37"/>
                <a:gd name="T3" fmla="*/ 13 h 27"/>
                <a:gd name="T4" fmla="*/ 19 w 37"/>
                <a:gd name="T5" fmla="*/ 23 h 27"/>
                <a:gd name="T6" fmla="*/ 4 w 37"/>
                <a:gd name="T7" fmla="*/ 27 h 27"/>
                <a:gd name="T8" fmla="*/ 0 w 37"/>
                <a:gd name="T9" fmla="*/ 14 h 27"/>
                <a:gd name="T10" fmla="*/ 7 w 37"/>
                <a:gd name="T11" fmla="*/ 5 h 27"/>
                <a:gd name="T12" fmla="*/ 31 w 37"/>
                <a:gd name="T13" fmla="*/ 0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27"/>
                <a:gd name="T23" fmla="*/ 37 w 37"/>
                <a:gd name="T24" fmla="*/ 27 h 2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27">
                  <a:moveTo>
                    <a:pt x="31" y="0"/>
                  </a:moveTo>
                  <a:lnTo>
                    <a:pt x="37" y="13"/>
                  </a:lnTo>
                  <a:lnTo>
                    <a:pt x="19" y="23"/>
                  </a:lnTo>
                  <a:lnTo>
                    <a:pt x="4" y="27"/>
                  </a:lnTo>
                  <a:lnTo>
                    <a:pt x="0" y="14"/>
                  </a:lnTo>
                  <a:lnTo>
                    <a:pt x="7" y="5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46" name="Freeform 76"/>
            <p:cNvSpPr>
              <a:spLocks/>
            </p:cNvSpPr>
            <p:nvPr/>
          </p:nvSpPr>
          <p:spPr bwMode="auto">
            <a:xfrm>
              <a:off x="1286" y="1835"/>
              <a:ext cx="20" cy="52"/>
            </a:xfrm>
            <a:custGeom>
              <a:avLst/>
              <a:gdLst>
                <a:gd name="T0" fmla="*/ 9 w 20"/>
                <a:gd name="T1" fmla="*/ 52 h 52"/>
                <a:gd name="T2" fmla="*/ 20 w 20"/>
                <a:gd name="T3" fmla="*/ 39 h 52"/>
                <a:gd name="T4" fmla="*/ 16 w 20"/>
                <a:gd name="T5" fmla="*/ 22 h 52"/>
                <a:gd name="T6" fmla="*/ 13 w 20"/>
                <a:gd name="T7" fmla="*/ 13 h 52"/>
                <a:gd name="T8" fmla="*/ 9 w 20"/>
                <a:gd name="T9" fmla="*/ 0 h 52"/>
                <a:gd name="T10" fmla="*/ 0 w 20"/>
                <a:gd name="T11" fmla="*/ 6 h 52"/>
                <a:gd name="T12" fmla="*/ 5 w 20"/>
                <a:gd name="T13" fmla="*/ 24 h 52"/>
                <a:gd name="T14" fmla="*/ 9 w 20"/>
                <a:gd name="T15" fmla="*/ 52 h 5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52"/>
                <a:gd name="T26" fmla="*/ 20 w 20"/>
                <a:gd name="T27" fmla="*/ 52 h 5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52">
                  <a:moveTo>
                    <a:pt x="9" y="52"/>
                  </a:moveTo>
                  <a:lnTo>
                    <a:pt x="20" y="39"/>
                  </a:lnTo>
                  <a:lnTo>
                    <a:pt x="16" y="22"/>
                  </a:lnTo>
                  <a:lnTo>
                    <a:pt x="13" y="13"/>
                  </a:lnTo>
                  <a:lnTo>
                    <a:pt x="9" y="0"/>
                  </a:lnTo>
                  <a:lnTo>
                    <a:pt x="0" y="6"/>
                  </a:lnTo>
                  <a:lnTo>
                    <a:pt x="5" y="24"/>
                  </a:lnTo>
                  <a:lnTo>
                    <a:pt x="9" y="52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47" name="Freeform 77"/>
            <p:cNvSpPr>
              <a:spLocks/>
            </p:cNvSpPr>
            <p:nvPr/>
          </p:nvSpPr>
          <p:spPr bwMode="auto">
            <a:xfrm>
              <a:off x="1138" y="2038"/>
              <a:ext cx="97" cy="99"/>
            </a:xfrm>
            <a:custGeom>
              <a:avLst/>
              <a:gdLst>
                <a:gd name="T0" fmla="*/ 34 w 97"/>
                <a:gd name="T1" fmla="*/ 0 h 99"/>
                <a:gd name="T2" fmla="*/ 56 w 97"/>
                <a:gd name="T3" fmla="*/ 0 h 99"/>
                <a:gd name="T4" fmla="*/ 73 w 97"/>
                <a:gd name="T5" fmla="*/ 4 h 99"/>
                <a:gd name="T6" fmla="*/ 84 w 97"/>
                <a:gd name="T7" fmla="*/ 20 h 99"/>
                <a:gd name="T8" fmla="*/ 95 w 97"/>
                <a:gd name="T9" fmla="*/ 46 h 99"/>
                <a:gd name="T10" fmla="*/ 97 w 97"/>
                <a:gd name="T11" fmla="*/ 68 h 99"/>
                <a:gd name="T12" fmla="*/ 86 w 97"/>
                <a:gd name="T13" fmla="*/ 79 h 99"/>
                <a:gd name="T14" fmla="*/ 82 w 97"/>
                <a:gd name="T15" fmla="*/ 94 h 99"/>
                <a:gd name="T16" fmla="*/ 71 w 97"/>
                <a:gd name="T17" fmla="*/ 99 h 99"/>
                <a:gd name="T18" fmla="*/ 60 w 97"/>
                <a:gd name="T19" fmla="*/ 86 h 99"/>
                <a:gd name="T20" fmla="*/ 50 w 97"/>
                <a:gd name="T21" fmla="*/ 62 h 99"/>
                <a:gd name="T22" fmla="*/ 43 w 97"/>
                <a:gd name="T23" fmla="*/ 53 h 99"/>
                <a:gd name="T24" fmla="*/ 24 w 97"/>
                <a:gd name="T25" fmla="*/ 51 h 99"/>
                <a:gd name="T26" fmla="*/ 0 w 97"/>
                <a:gd name="T27" fmla="*/ 26 h 99"/>
                <a:gd name="T28" fmla="*/ 34 w 97"/>
                <a:gd name="T29" fmla="*/ 0 h 9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7"/>
                <a:gd name="T46" fmla="*/ 0 h 99"/>
                <a:gd name="T47" fmla="*/ 97 w 97"/>
                <a:gd name="T48" fmla="*/ 99 h 9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7" h="99">
                  <a:moveTo>
                    <a:pt x="34" y="0"/>
                  </a:moveTo>
                  <a:lnTo>
                    <a:pt x="56" y="0"/>
                  </a:lnTo>
                  <a:lnTo>
                    <a:pt x="73" y="4"/>
                  </a:lnTo>
                  <a:lnTo>
                    <a:pt x="84" y="20"/>
                  </a:lnTo>
                  <a:lnTo>
                    <a:pt x="95" y="46"/>
                  </a:lnTo>
                  <a:lnTo>
                    <a:pt x="97" y="68"/>
                  </a:lnTo>
                  <a:lnTo>
                    <a:pt x="86" y="79"/>
                  </a:lnTo>
                  <a:lnTo>
                    <a:pt x="82" y="94"/>
                  </a:lnTo>
                  <a:lnTo>
                    <a:pt x="71" y="99"/>
                  </a:lnTo>
                  <a:lnTo>
                    <a:pt x="60" y="86"/>
                  </a:lnTo>
                  <a:lnTo>
                    <a:pt x="50" y="62"/>
                  </a:lnTo>
                  <a:lnTo>
                    <a:pt x="43" y="53"/>
                  </a:lnTo>
                  <a:lnTo>
                    <a:pt x="24" y="51"/>
                  </a:lnTo>
                  <a:lnTo>
                    <a:pt x="0" y="26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  <p:sp>
          <p:nvSpPr>
            <p:cNvPr id="48" name="Freeform 78"/>
            <p:cNvSpPr>
              <a:spLocks/>
            </p:cNvSpPr>
            <p:nvPr/>
          </p:nvSpPr>
          <p:spPr bwMode="auto">
            <a:xfrm>
              <a:off x="1282" y="1776"/>
              <a:ext cx="50" cy="37"/>
            </a:xfrm>
            <a:custGeom>
              <a:avLst/>
              <a:gdLst>
                <a:gd name="T0" fmla="*/ 44 w 50"/>
                <a:gd name="T1" fmla="*/ 0 h 37"/>
                <a:gd name="T2" fmla="*/ 50 w 50"/>
                <a:gd name="T3" fmla="*/ 9 h 37"/>
                <a:gd name="T4" fmla="*/ 31 w 50"/>
                <a:gd name="T5" fmla="*/ 20 h 37"/>
                <a:gd name="T6" fmla="*/ 13 w 50"/>
                <a:gd name="T7" fmla="*/ 37 h 37"/>
                <a:gd name="T8" fmla="*/ 2 w 50"/>
                <a:gd name="T9" fmla="*/ 33 h 37"/>
                <a:gd name="T10" fmla="*/ 0 w 50"/>
                <a:gd name="T11" fmla="*/ 13 h 37"/>
                <a:gd name="T12" fmla="*/ 0 w 50"/>
                <a:gd name="T13" fmla="*/ 6 h 37"/>
                <a:gd name="T14" fmla="*/ 30 w 50"/>
                <a:gd name="T15" fmla="*/ 0 h 37"/>
                <a:gd name="T16" fmla="*/ 44 w 50"/>
                <a:gd name="T17" fmla="*/ 0 h 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0"/>
                <a:gd name="T28" fmla="*/ 0 h 37"/>
                <a:gd name="T29" fmla="*/ 50 w 50"/>
                <a:gd name="T30" fmla="*/ 37 h 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0" h="37">
                  <a:moveTo>
                    <a:pt x="44" y="0"/>
                  </a:moveTo>
                  <a:lnTo>
                    <a:pt x="50" y="9"/>
                  </a:lnTo>
                  <a:lnTo>
                    <a:pt x="31" y="20"/>
                  </a:lnTo>
                  <a:lnTo>
                    <a:pt x="13" y="37"/>
                  </a:lnTo>
                  <a:lnTo>
                    <a:pt x="2" y="33"/>
                  </a:lnTo>
                  <a:lnTo>
                    <a:pt x="0" y="13"/>
                  </a:lnTo>
                  <a:lnTo>
                    <a:pt x="0" y="6"/>
                  </a:lnTo>
                  <a:lnTo>
                    <a:pt x="30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ea typeface="+mn-ea"/>
                <a:cs typeface="ＭＳ Ｐゴシック" charset="0"/>
              </a:endParaRPr>
            </a:p>
          </p:txBody>
        </p:sp>
      </p:grpSp>
      <p:sp>
        <p:nvSpPr>
          <p:cNvPr id="29" name="Freeform 106"/>
          <p:cNvSpPr>
            <a:spLocks/>
          </p:cNvSpPr>
          <p:nvPr/>
        </p:nvSpPr>
        <p:spPr bwMode="auto">
          <a:xfrm>
            <a:off x="5370894" y="3760163"/>
            <a:ext cx="531589" cy="248193"/>
          </a:xfrm>
          <a:custGeom>
            <a:avLst/>
            <a:gdLst>
              <a:gd name="T0" fmla="*/ 2147483647 w 352"/>
              <a:gd name="T1" fmla="*/ 2147483647 h 157"/>
              <a:gd name="T2" fmla="*/ 2147483647 w 352"/>
              <a:gd name="T3" fmla="*/ 0 h 157"/>
              <a:gd name="T4" fmla="*/ 2147483647 w 352"/>
              <a:gd name="T5" fmla="*/ 0 h 157"/>
              <a:gd name="T6" fmla="*/ 2147483647 w 352"/>
              <a:gd name="T7" fmla="*/ 2147483647 h 157"/>
              <a:gd name="T8" fmla="*/ 2147483647 w 352"/>
              <a:gd name="T9" fmla="*/ 2147483647 h 157"/>
              <a:gd name="T10" fmla="*/ 2147483647 w 352"/>
              <a:gd name="T11" fmla="*/ 2147483647 h 157"/>
              <a:gd name="T12" fmla="*/ 2147483647 w 352"/>
              <a:gd name="T13" fmla="*/ 2147483647 h 157"/>
              <a:gd name="T14" fmla="*/ 2147483647 w 352"/>
              <a:gd name="T15" fmla="*/ 2147483647 h 157"/>
              <a:gd name="T16" fmla="*/ 2147483647 w 352"/>
              <a:gd name="T17" fmla="*/ 2147483647 h 157"/>
              <a:gd name="T18" fmla="*/ 2147483647 w 352"/>
              <a:gd name="T19" fmla="*/ 2147483647 h 157"/>
              <a:gd name="T20" fmla="*/ 2147483647 w 352"/>
              <a:gd name="T21" fmla="*/ 2147483647 h 157"/>
              <a:gd name="T22" fmla="*/ 2147483647 w 352"/>
              <a:gd name="T23" fmla="*/ 2147483647 h 157"/>
              <a:gd name="T24" fmla="*/ 2147483647 w 352"/>
              <a:gd name="T25" fmla="*/ 2147483647 h 157"/>
              <a:gd name="T26" fmla="*/ 2147483647 w 352"/>
              <a:gd name="T27" fmla="*/ 2147483647 h 157"/>
              <a:gd name="T28" fmla="*/ 2147483647 w 352"/>
              <a:gd name="T29" fmla="*/ 2147483647 h 157"/>
              <a:gd name="T30" fmla="*/ 2147483647 w 352"/>
              <a:gd name="T31" fmla="*/ 2147483647 h 157"/>
              <a:gd name="T32" fmla="*/ 2147483647 w 352"/>
              <a:gd name="T33" fmla="*/ 2147483647 h 157"/>
              <a:gd name="T34" fmla="*/ 2147483647 w 352"/>
              <a:gd name="T35" fmla="*/ 2147483647 h 157"/>
              <a:gd name="T36" fmla="*/ 2147483647 w 352"/>
              <a:gd name="T37" fmla="*/ 2147483647 h 157"/>
              <a:gd name="T38" fmla="*/ 2147483647 w 352"/>
              <a:gd name="T39" fmla="*/ 2147483647 h 157"/>
              <a:gd name="T40" fmla="*/ 2147483647 w 352"/>
              <a:gd name="T41" fmla="*/ 2147483647 h 157"/>
              <a:gd name="T42" fmla="*/ 2147483647 w 352"/>
              <a:gd name="T43" fmla="*/ 2147483647 h 157"/>
              <a:gd name="T44" fmla="*/ 2147483647 w 352"/>
              <a:gd name="T45" fmla="*/ 2147483647 h 157"/>
              <a:gd name="T46" fmla="*/ 2147483647 w 352"/>
              <a:gd name="T47" fmla="*/ 2147483647 h 157"/>
              <a:gd name="T48" fmla="*/ 2147483647 w 352"/>
              <a:gd name="T49" fmla="*/ 2147483647 h 157"/>
              <a:gd name="T50" fmla="*/ 2147483647 w 352"/>
              <a:gd name="T51" fmla="*/ 2147483647 h 157"/>
              <a:gd name="T52" fmla="*/ 2147483647 w 352"/>
              <a:gd name="T53" fmla="*/ 2147483647 h 157"/>
              <a:gd name="T54" fmla="*/ 2147483647 w 352"/>
              <a:gd name="T55" fmla="*/ 2147483647 h 157"/>
              <a:gd name="T56" fmla="*/ 2147483647 w 352"/>
              <a:gd name="T57" fmla="*/ 2147483647 h 157"/>
              <a:gd name="T58" fmla="*/ 2147483647 w 352"/>
              <a:gd name="T59" fmla="*/ 2147483647 h 157"/>
              <a:gd name="T60" fmla="*/ 2147483647 w 352"/>
              <a:gd name="T61" fmla="*/ 2147483647 h 157"/>
              <a:gd name="T62" fmla="*/ 2147483647 w 352"/>
              <a:gd name="T63" fmla="*/ 2147483647 h 157"/>
              <a:gd name="T64" fmla="*/ 2147483647 w 352"/>
              <a:gd name="T65" fmla="*/ 2147483647 h 157"/>
              <a:gd name="T66" fmla="*/ 2147483647 w 352"/>
              <a:gd name="T67" fmla="*/ 2147483647 h 157"/>
              <a:gd name="T68" fmla="*/ 2147483647 w 352"/>
              <a:gd name="T69" fmla="*/ 2147483647 h 157"/>
              <a:gd name="T70" fmla="*/ 2147483647 w 352"/>
              <a:gd name="T71" fmla="*/ 2147483647 h 157"/>
              <a:gd name="T72" fmla="*/ 2147483647 w 352"/>
              <a:gd name="T73" fmla="*/ 2147483647 h 157"/>
              <a:gd name="T74" fmla="*/ 0 w 352"/>
              <a:gd name="T75" fmla="*/ 2147483647 h 157"/>
              <a:gd name="T76" fmla="*/ 0 w 352"/>
              <a:gd name="T77" fmla="*/ 2147483647 h 157"/>
              <a:gd name="T78" fmla="*/ 2147483647 w 352"/>
              <a:gd name="T79" fmla="*/ 2147483647 h 157"/>
              <a:gd name="T80" fmla="*/ 2147483647 w 352"/>
              <a:gd name="T81" fmla="*/ 2147483647 h 157"/>
              <a:gd name="T82" fmla="*/ 2147483647 w 352"/>
              <a:gd name="T83" fmla="*/ 2147483647 h 157"/>
              <a:gd name="T84" fmla="*/ 2147483647 w 352"/>
              <a:gd name="T85" fmla="*/ 2147483647 h 157"/>
              <a:gd name="T86" fmla="*/ 2147483647 w 352"/>
              <a:gd name="T87" fmla="*/ 2147483647 h 15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2"/>
              <a:gd name="T133" fmla="*/ 0 h 157"/>
              <a:gd name="T134" fmla="*/ 352 w 352"/>
              <a:gd name="T135" fmla="*/ 157 h 157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2" h="157">
                <a:moveTo>
                  <a:pt x="120" y="8"/>
                </a:moveTo>
                <a:lnTo>
                  <a:pt x="132" y="0"/>
                </a:lnTo>
                <a:lnTo>
                  <a:pt x="146" y="0"/>
                </a:lnTo>
                <a:lnTo>
                  <a:pt x="152" y="11"/>
                </a:lnTo>
                <a:lnTo>
                  <a:pt x="165" y="2"/>
                </a:lnTo>
                <a:lnTo>
                  <a:pt x="178" y="6"/>
                </a:lnTo>
                <a:lnTo>
                  <a:pt x="198" y="27"/>
                </a:lnTo>
                <a:lnTo>
                  <a:pt x="220" y="36"/>
                </a:lnTo>
                <a:lnTo>
                  <a:pt x="228" y="38"/>
                </a:lnTo>
                <a:lnTo>
                  <a:pt x="239" y="29"/>
                </a:lnTo>
                <a:lnTo>
                  <a:pt x="250" y="25"/>
                </a:lnTo>
                <a:lnTo>
                  <a:pt x="280" y="33"/>
                </a:lnTo>
                <a:lnTo>
                  <a:pt x="320" y="42"/>
                </a:lnTo>
                <a:lnTo>
                  <a:pt x="352" y="51"/>
                </a:lnTo>
                <a:lnTo>
                  <a:pt x="341" y="64"/>
                </a:lnTo>
                <a:lnTo>
                  <a:pt x="320" y="85"/>
                </a:lnTo>
                <a:lnTo>
                  <a:pt x="315" y="92"/>
                </a:lnTo>
                <a:lnTo>
                  <a:pt x="317" y="107"/>
                </a:lnTo>
                <a:lnTo>
                  <a:pt x="302" y="107"/>
                </a:lnTo>
                <a:lnTo>
                  <a:pt x="287" y="96"/>
                </a:lnTo>
                <a:lnTo>
                  <a:pt x="272" y="92"/>
                </a:lnTo>
                <a:lnTo>
                  <a:pt x="233" y="101"/>
                </a:lnTo>
                <a:lnTo>
                  <a:pt x="223" y="110"/>
                </a:lnTo>
                <a:lnTo>
                  <a:pt x="212" y="124"/>
                </a:lnTo>
                <a:lnTo>
                  <a:pt x="191" y="137"/>
                </a:lnTo>
                <a:lnTo>
                  <a:pt x="179" y="137"/>
                </a:lnTo>
                <a:lnTo>
                  <a:pt x="166" y="126"/>
                </a:lnTo>
                <a:lnTo>
                  <a:pt x="155" y="126"/>
                </a:lnTo>
                <a:lnTo>
                  <a:pt x="115" y="145"/>
                </a:lnTo>
                <a:lnTo>
                  <a:pt x="96" y="155"/>
                </a:lnTo>
                <a:lnTo>
                  <a:pt x="82" y="157"/>
                </a:lnTo>
                <a:lnTo>
                  <a:pt x="50" y="155"/>
                </a:lnTo>
                <a:lnTo>
                  <a:pt x="37" y="155"/>
                </a:lnTo>
                <a:lnTo>
                  <a:pt x="27" y="140"/>
                </a:lnTo>
                <a:lnTo>
                  <a:pt x="22" y="135"/>
                </a:lnTo>
                <a:lnTo>
                  <a:pt x="11" y="129"/>
                </a:lnTo>
                <a:lnTo>
                  <a:pt x="5" y="122"/>
                </a:lnTo>
                <a:lnTo>
                  <a:pt x="0" y="107"/>
                </a:lnTo>
                <a:lnTo>
                  <a:pt x="0" y="90"/>
                </a:lnTo>
                <a:lnTo>
                  <a:pt x="34" y="76"/>
                </a:lnTo>
                <a:lnTo>
                  <a:pt x="72" y="76"/>
                </a:lnTo>
                <a:lnTo>
                  <a:pt x="95" y="55"/>
                </a:lnTo>
                <a:lnTo>
                  <a:pt x="98" y="19"/>
                </a:lnTo>
                <a:lnTo>
                  <a:pt x="120" y="8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0" name="Freeform 107"/>
          <p:cNvSpPr>
            <a:spLocks/>
          </p:cNvSpPr>
          <p:nvPr/>
        </p:nvSpPr>
        <p:spPr bwMode="auto">
          <a:xfrm>
            <a:off x="5239506" y="4364045"/>
            <a:ext cx="359427" cy="349366"/>
          </a:xfrm>
          <a:custGeom>
            <a:avLst/>
            <a:gdLst>
              <a:gd name="T0" fmla="*/ 2147483647 w 238"/>
              <a:gd name="T1" fmla="*/ 2147483647 h 221"/>
              <a:gd name="T2" fmla="*/ 2147483647 w 238"/>
              <a:gd name="T3" fmla="*/ 2147483647 h 221"/>
              <a:gd name="T4" fmla="*/ 2147483647 w 238"/>
              <a:gd name="T5" fmla="*/ 2147483647 h 221"/>
              <a:gd name="T6" fmla="*/ 2147483647 w 238"/>
              <a:gd name="T7" fmla="*/ 2147483647 h 221"/>
              <a:gd name="T8" fmla="*/ 2147483647 w 238"/>
              <a:gd name="T9" fmla="*/ 2147483647 h 221"/>
              <a:gd name="T10" fmla="*/ 2147483647 w 238"/>
              <a:gd name="T11" fmla="*/ 2147483647 h 221"/>
              <a:gd name="T12" fmla="*/ 2147483647 w 238"/>
              <a:gd name="T13" fmla="*/ 2147483647 h 221"/>
              <a:gd name="T14" fmla="*/ 2147483647 w 238"/>
              <a:gd name="T15" fmla="*/ 2147483647 h 221"/>
              <a:gd name="T16" fmla="*/ 2147483647 w 238"/>
              <a:gd name="T17" fmla="*/ 2147483647 h 221"/>
              <a:gd name="T18" fmla="*/ 2147483647 w 238"/>
              <a:gd name="T19" fmla="*/ 0 h 221"/>
              <a:gd name="T20" fmla="*/ 2147483647 w 238"/>
              <a:gd name="T21" fmla="*/ 2147483647 h 221"/>
              <a:gd name="T22" fmla="*/ 2147483647 w 238"/>
              <a:gd name="T23" fmla="*/ 2147483647 h 221"/>
              <a:gd name="T24" fmla="*/ 0 w 238"/>
              <a:gd name="T25" fmla="*/ 2147483647 h 221"/>
              <a:gd name="T26" fmla="*/ 0 w 238"/>
              <a:gd name="T27" fmla="*/ 2147483647 h 221"/>
              <a:gd name="T28" fmla="*/ 2147483647 w 238"/>
              <a:gd name="T29" fmla="*/ 2147483647 h 221"/>
              <a:gd name="T30" fmla="*/ 2147483647 w 238"/>
              <a:gd name="T31" fmla="*/ 2147483647 h 221"/>
              <a:gd name="T32" fmla="*/ 2147483647 w 238"/>
              <a:gd name="T33" fmla="*/ 2147483647 h 221"/>
              <a:gd name="T34" fmla="*/ 2147483647 w 238"/>
              <a:gd name="T35" fmla="*/ 2147483647 h 221"/>
              <a:gd name="T36" fmla="*/ 2147483647 w 238"/>
              <a:gd name="T37" fmla="*/ 2147483647 h 221"/>
              <a:gd name="T38" fmla="*/ 2147483647 w 238"/>
              <a:gd name="T39" fmla="*/ 2147483647 h 221"/>
              <a:gd name="T40" fmla="*/ 2147483647 w 238"/>
              <a:gd name="T41" fmla="*/ 2147483647 h 221"/>
              <a:gd name="T42" fmla="*/ 2147483647 w 238"/>
              <a:gd name="T43" fmla="*/ 2147483647 h 221"/>
              <a:gd name="T44" fmla="*/ 2147483647 w 238"/>
              <a:gd name="T45" fmla="*/ 2147483647 h 221"/>
              <a:gd name="T46" fmla="*/ 2147483647 w 238"/>
              <a:gd name="T47" fmla="*/ 2147483647 h 221"/>
              <a:gd name="T48" fmla="*/ 2147483647 w 238"/>
              <a:gd name="T49" fmla="*/ 2147483647 h 221"/>
              <a:gd name="T50" fmla="*/ 2147483647 w 238"/>
              <a:gd name="T51" fmla="*/ 2147483647 h 221"/>
              <a:gd name="T52" fmla="*/ 2147483647 w 238"/>
              <a:gd name="T53" fmla="*/ 2147483647 h 221"/>
              <a:gd name="T54" fmla="*/ 2147483647 w 238"/>
              <a:gd name="T55" fmla="*/ 2147483647 h 221"/>
              <a:gd name="T56" fmla="*/ 2147483647 w 238"/>
              <a:gd name="T57" fmla="*/ 2147483647 h 221"/>
              <a:gd name="T58" fmla="*/ 2147483647 w 238"/>
              <a:gd name="T59" fmla="*/ 2147483647 h 221"/>
              <a:gd name="T60" fmla="*/ 2147483647 w 238"/>
              <a:gd name="T61" fmla="*/ 2147483647 h 221"/>
              <a:gd name="T62" fmla="*/ 2147483647 w 238"/>
              <a:gd name="T63" fmla="*/ 2147483647 h 221"/>
              <a:gd name="T64" fmla="*/ 2147483647 w 238"/>
              <a:gd name="T65" fmla="*/ 2147483647 h 221"/>
              <a:gd name="T66" fmla="*/ 2147483647 w 238"/>
              <a:gd name="T67" fmla="*/ 2147483647 h 22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38"/>
              <a:gd name="T103" fmla="*/ 0 h 221"/>
              <a:gd name="T104" fmla="*/ 238 w 238"/>
              <a:gd name="T105" fmla="*/ 221 h 22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38" h="221">
                <a:moveTo>
                  <a:pt x="220" y="31"/>
                </a:moveTo>
                <a:lnTo>
                  <a:pt x="208" y="31"/>
                </a:lnTo>
                <a:lnTo>
                  <a:pt x="195" y="22"/>
                </a:lnTo>
                <a:lnTo>
                  <a:pt x="178" y="13"/>
                </a:lnTo>
                <a:lnTo>
                  <a:pt x="157" y="24"/>
                </a:lnTo>
                <a:lnTo>
                  <a:pt x="138" y="19"/>
                </a:lnTo>
                <a:lnTo>
                  <a:pt x="121" y="27"/>
                </a:lnTo>
                <a:lnTo>
                  <a:pt x="120" y="19"/>
                </a:lnTo>
                <a:lnTo>
                  <a:pt x="105" y="18"/>
                </a:lnTo>
                <a:lnTo>
                  <a:pt x="87" y="0"/>
                </a:lnTo>
                <a:lnTo>
                  <a:pt x="60" y="30"/>
                </a:lnTo>
                <a:lnTo>
                  <a:pt x="17" y="16"/>
                </a:lnTo>
                <a:lnTo>
                  <a:pt x="0" y="21"/>
                </a:lnTo>
                <a:lnTo>
                  <a:pt x="0" y="31"/>
                </a:lnTo>
                <a:lnTo>
                  <a:pt x="46" y="78"/>
                </a:lnTo>
                <a:lnTo>
                  <a:pt x="57" y="109"/>
                </a:lnTo>
                <a:lnTo>
                  <a:pt x="81" y="127"/>
                </a:lnTo>
                <a:lnTo>
                  <a:pt x="91" y="124"/>
                </a:lnTo>
                <a:lnTo>
                  <a:pt x="150" y="187"/>
                </a:lnTo>
                <a:lnTo>
                  <a:pt x="154" y="201"/>
                </a:lnTo>
                <a:lnTo>
                  <a:pt x="150" y="211"/>
                </a:lnTo>
                <a:lnTo>
                  <a:pt x="154" y="221"/>
                </a:lnTo>
                <a:lnTo>
                  <a:pt x="171" y="212"/>
                </a:lnTo>
                <a:lnTo>
                  <a:pt x="184" y="207"/>
                </a:lnTo>
                <a:lnTo>
                  <a:pt x="184" y="186"/>
                </a:lnTo>
                <a:lnTo>
                  <a:pt x="201" y="172"/>
                </a:lnTo>
                <a:lnTo>
                  <a:pt x="208" y="157"/>
                </a:lnTo>
                <a:lnTo>
                  <a:pt x="226" y="150"/>
                </a:lnTo>
                <a:lnTo>
                  <a:pt x="229" y="132"/>
                </a:lnTo>
                <a:lnTo>
                  <a:pt x="226" y="115"/>
                </a:lnTo>
                <a:lnTo>
                  <a:pt x="235" y="108"/>
                </a:lnTo>
                <a:lnTo>
                  <a:pt x="219" y="85"/>
                </a:lnTo>
                <a:lnTo>
                  <a:pt x="238" y="52"/>
                </a:lnTo>
                <a:lnTo>
                  <a:pt x="220" y="31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1" name="Freeform 108"/>
          <p:cNvSpPr>
            <a:spLocks/>
          </p:cNvSpPr>
          <p:nvPr/>
        </p:nvSpPr>
        <p:spPr bwMode="auto">
          <a:xfrm>
            <a:off x="5730320" y="4817746"/>
            <a:ext cx="244651" cy="173892"/>
          </a:xfrm>
          <a:custGeom>
            <a:avLst/>
            <a:gdLst>
              <a:gd name="T0" fmla="*/ 2147483647 w 162"/>
              <a:gd name="T1" fmla="*/ 2147483647 h 110"/>
              <a:gd name="T2" fmla="*/ 2147483647 w 162"/>
              <a:gd name="T3" fmla="*/ 2147483647 h 110"/>
              <a:gd name="T4" fmla="*/ 2147483647 w 162"/>
              <a:gd name="T5" fmla="*/ 2147483647 h 110"/>
              <a:gd name="T6" fmla="*/ 2147483647 w 162"/>
              <a:gd name="T7" fmla="*/ 2147483647 h 110"/>
              <a:gd name="T8" fmla="*/ 2147483647 w 162"/>
              <a:gd name="T9" fmla="*/ 2147483647 h 110"/>
              <a:gd name="T10" fmla="*/ 2147483647 w 162"/>
              <a:gd name="T11" fmla="*/ 0 h 110"/>
              <a:gd name="T12" fmla="*/ 2147483647 w 162"/>
              <a:gd name="T13" fmla="*/ 2147483647 h 110"/>
              <a:gd name="T14" fmla="*/ 2147483647 w 162"/>
              <a:gd name="T15" fmla="*/ 2147483647 h 110"/>
              <a:gd name="T16" fmla="*/ 2147483647 w 162"/>
              <a:gd name="T17" fmla="*/ 2147483647 h 110"/>
              <a:gd name="T18" fmla="*/ 2147483647 w 162"/>
              <a:gd name="T19" fmla="*/ 2147483647 h 110"/>
              <a:gd name="T20" fmla="*/ 2147483647 w 162"/>
              <a:gd name="T21" fmla="*/ 2147483647 h 110"/>
              <a:gd name="T22" fmla="*/ 2147483647 w 162"/>
              <a:gd name="T23" fmla="*/ 2147483647 h 110"/>
              <a:gd name="T24" fmla="*/ 2147483647 w 162"/>
              <a:gd name="T25" fmla="*/ 2147483647 h 110"/>
              <a:gd name="T26" fmla="*/ 2147483647 w 162"/>
              <a:gd name="T27" fmla="*/ 2147483647 h 110"/>
              <a:gd name="T28" fmla="*/ 2147483647 w 162"/>
              <a:gd name="T29" fmla="*/ 2147483647 h 110"/>
              <a:gd name="T30" fmla="*/ 2147483647 w 162"/>
              <a:gd name="T31" fmla="*/ 2147483647 h 110"/>
              <a:gd name="T32" fmla="*/ 2147483647 w 162"/>
              <a:gd name="T33" fmla="*/ 2147483647 h 110"/>
              <a:gd name="T34" fmla="*/ 2147483647 w 162"/>
              <a:gd name="T35" fmla="*/ 2147483647 h 110"/>
              <a:gd name="T36" fmla="*/ 2147483647 w 162"/>
              <a:gd name="T37" fmla="*/ 2147483647 h 110"/>
              <a:gd name="T38" fmla="*/ 2147483647 w 162"/>
              <a:gd name="T39" fmla="*/ 2147483647 h 110"/>
              <a:gd name="T40" fmla="*/ 2147483647 w 162"/>
              <a:gd name="T41" fmla="*/ 2147483647 h 110"/>
              <a:gd name="T42" fmla="*/ 0 w 162"/>
              <a:gd name="T43" fmla="*/ 2147483647 h 110"/>
              <a:gd name="T44" fmla="*/ 2147483647 w 162"/>
              <a:gd name="T45" fmla="*/ 2147483647 h 110"/>
              <a:gd name="T46" fmla="*/ 2147483647 w 162"/>
              <a:gd name="T47" fmla="*/ 2147483647 h 11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62"/>
              <a:gd name="T73" fmla="*/ 0 h 110"/>
              <a:gd name="T74" fmla="*/ 162 w 162"/>
              <a:gd name="T75" fmla="*/ 110 h 110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62" h="110">
                <a:moveTo>
                  <a:pt x="6" y="33"/>
                </a:moveTo>
                <a:lnTo>
                  <a:pt x="34" y="14"/>
                </a:lnTo>
                <a:lnTo>
                  <a:pt x="52" y="11"/>
                </a:lnTo>
                <a:lnTo>
                  <a:pt x="70" y="6"/>
                </a:lnTo>
                <a:lnTo>
                  <a:pt x="85" y="6"/>
                </a:lnTo>
                <a:lnTo>
                  <a:pt x="100" y="0"/>
                </a:lnTo>
                <a:lnTo>
                  <a:pt x="126" y="6"/>
                </a:lnTo>
                <a:lnTo>
                  <a:pt x="141" y="5"/>
                </a:lnTo>
                <a:lnTo>
                  <a:pt x="156" y="20"/>
                </a:lnTo>
                <a:lnTo>
                  <a:pt x="154" y="63"/>
                </a:lnTo>
                <a:lnTo>
                  <a:pt x="162" y="68"/>
                </a:lnTo>
                <a:lnTo>
                  <a:pt x="151" y="86"/>
                </a:lnTo>
                <a:lnTo>
                  <a:pt x="115" y="93"/>
                </a:lnTo>
                <a:lnTo>
                  <a:pt x="100" y="89"/>
                </a:lnTo>
                <a:lnTo>
                  <a:pt x="90" y="110"/>
                </a:lnTo>
                <a:lnTo>
                  <a:pt x="63" y="108"/>
                </a:lnTo>
                <a:lnTo>
                  <a:pt x="52" y="105"/>
                </a:lnTo>
                <a:lnTo>
                  <a:pt x="36" y="104"/>
                </a:lnTo>
                <a:lnTo>
                  <a:pt x="27" y="95"/>
                </a:lnTo>
                <a:lnTo>
                  <a:pt x="21" y="98"/>
                </a:lnTo>
                <a:lnTo>
                  <a:pt x="9" y="89"/>
                </a:lnTo>
                <a:lnTo>
                  <a:pt x="0" y="63"/>
                </a:lnTo>
                <a:lnTo>
                  <a:pt x="7" y="50"/>
                </a:lnTo>
                <a:lnTo>
                  <a:pt x="6" y="33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2" name="Freeform 109"/>
          <p:cNvSpPr>
            <a:spLocks/>
          </p:cNvSpPr>
          <p:nvPr/>
        </p:nvSpPr>
        <p:spPr bwMode="auto">
          <a:xfrm>
            <a:off x="5469056" y="4254967"/>
            <a:ext cx="493834" cy="613366"/>
          </a:xfrm>
          <a:custGeom>
            <a:avLst/>
            <a:gdLst>
              <a:gd name="T0" fmla="*/ 2147483647 w 327"/>
              <a:gd name="T1" fmla="*/ 2147483647 h 388"/>
              <a:gd name="T2" fmla="*/ 2147483647 w 327"/>
              <a:gd name="T3" fmla="*/ 2147483647 h 388"/>
              <a:gd name="T4" fmla="*/ 2147483647 w 327"/>
              <a:gd name="T5" fmla="*/ 2147483647 h 388"/>
              <a:gd name="T6" fmla="*/ 2147483647 w 327"/>
              <a:gd name="T7" fmla="*/ 2147483647 h 388"/>
              <a:gd name="T8" fmla="*/ 2147483647 w 327"/>
              <a:gd name="T9" fmla="*/ 2147483647 h 388"/>
              <a:gd name="T10" fmla="*/ 2147483647 w 327"/>
              <a:gd name="T11" fmla="*/ 2147483647 h 388"/>
              <a:gd name="T12" fmla="*/ 2147483647 w 327"/>
              <a:gd name="T13" fmla="*/ 2147483647 h 388"/>
              <a:gd name="T14" fmla="*/ 2147483647 w 327"/>
              <a:gd name="T15" fmla="*/ 2147483647 h 388"/>
              <a:gd name="T16" fmla="*/ 2147483647 w 327"/>
              <a:gd name="T17" fmla="*/ 2147483647 h 388"/>
              <a:gd name="T18" fmla="*/ 2147483647 w 327"/>
              <a:gd name="T19" fmla="*/ 2147483647 h 388"/>
              <a:gd name="T20" fmla="*/ 2147483647 w 327"/>
              <a:gd name="T21" fmla="*/ 2147483647 h 388"/>
              <a:gd name="T22" fmla="*/ 2147483647 w 327"/>
              <a:gd name="T23" fmla="*/ 2147483647 h 388"/>
              <a:gd name="T24" fmla="*/ 2147483647 w 327"/>
              <a:gd name="T25" fmla="*/ 2147483647 h 388"/>
              <a:gd name="T26" fmla="*/ 2147483647 w 327"/>
              <a:gd name="T27" fmla="*/ 2147483647 h 388"/>
              <a:gd name="T28" fmla="*/ 2147483647 w 327"/>
              <a:gd name="T29" fmla="*/ 2147483647 h 388"/>
              <a:gd name="T30" fmla="*/ 2147483647 w 327"/>
              <a:gd name="T31" fmla="*/ 2147483647 h 388"/>
              <a:gd name="T32" fmla="*/ 2147483647 w 327"/>
              <a:gd name="T33" fmla="*/ 2147483647 h 388"/>
              <a:gd name="T34" fmla="*/ 2147483647 w 327"/>
              <a:gd name="T35" fmla="*/ 2147483647 h 388"/>
              <a:gd name="T36" fmla="*/ 2147483647 w 327"/>
              <a:gd name="T37" fmla="*/ 2147483647 h 388"/>
              <a:gd name="T38" fmla="*/ 2147483647 w 327"/>
              <a:gd name="T39" fmla="*/ 2147483647 h 388"/>
              <a:gd name="T40" fmla="*/ 2147483647 w 327"/>
              <a:gd name="T41" fmla="*/ 2147483647 h 388"/>
              <a:gd name="T42" fmla="*/ 2147483647 w 327"/>
              <a:gd name="T43" fmla="*/ 2147483647 h 388"/>
              <a:gd name="T44" fmla="*/ 2147483647 w 327"/>
              <a:gd name="T45" fmla="*/ 2147483647 h 388"/>
              <a:gd name="T46" fmla="*/ 2147483647 w 327"/>
              <a:gd name="T47" fmla="*/ 2147483647 h 388"/>
              <a:gd name="T48" fmla="*/ 2147483647 w 327"/>
              <a:gd name="T49" fmla="*/ 2147483647 h 388"/>
              <a:gd name="T50" fmla="*/ 2147483647 w 327"/>
              <a:gd name="T51" fmla="*/ 2147483647 h 388"/>
              <a:gd name="T52" fmla="*/ 2147483647 w 327"/>
              <a:gd name="T53" fmla="*/ 2147483647 h 388"/>
              <a:gd name="T54" fmla="*/ 2147483647 w 327"/>
              <a:gd name="T55" fmla="*/ 2147483647 h 388"/>
              <a:gd name="T56" fmla="*/ 2147483647 w 327"/>
              <a:gd name="T57" fmla="*/ 2147483647 h 388"/>
              <a:gd name="T58" fmla="*/ 2147483647 w 327"/>
              <a:gd name="T59" fmla="*/ 2147483647 h 388"/>
              <a:gd name="T60" fmla="*/ 2147483647 w 327"/>
              <a:gd name="T61" fmla="*/ 2147483647 h 388"/>
              <a:gd name="T62" fmla="*/ 2147483647 w 327"/>
              <a:gd name="T63" fmla="*/ 2147483647 h 388"/>
              <a:gd name="T64" fmla="*/ 2147483647 w 327"/>
              <a:gd name="T65" fmla="*/ 2147483647 h 38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327"/>
              <a:gd name="T100" fmla="*/ 0 h 388"/>
              <a:gd name="T101" fmla="*/ 327 w 327"/>
              <a:gd name="T102" fmla="*/ 388 h 388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327" h="388">
                <a:moveTo>
                  <a:pt x="55" y="27"/>
                </a:moveTo>
                <a:lnTo>
                  <a:pt x="120" y="3"/>
                </a:lnTo>
                <a:lnTo>
                  <a:pt x="150" y="0"/>
                </a:lnTo>
                <a:lnTo>
                  <a:pt x="168" y="1"/>
                </a:lnTo>
                <a:lnTo>
                  <a:pt x="175" y="6"/>
                </a:lnTo>
                <a:lnTo>
                  <a:pt x="180" y="12"/>
                </a:lnTo>
                <a:lnTo>
                  <a:pt x="181" y="19"/>
                </a:lnTo>
                <a:lnTo>
                  <a:pt x="187" y="21"/>
                </a:lnTo>
                <a:lnTo>
                  <a:pt x="195" y="36"/>
                </a:lnTo>
                <a:lnTo>
                  <a:pt x="196" y="58"/>
                </a:lnTo>
                <a:lnTo>
                  <a:pt x="204" y="66"/>
                </a:lnTo>
                <a:lnTo>
                  <a:pt x="223" y="66"/>
                </a:lnTo>
                <a:lnTo>
                  <a:pt x="235" y="97"/>
                </a:lnTo>
                <a:lnTo>
                  <a:pt x="235" y="118"/>
                </a:lnTo>
                <a:lnTo>
                  <a:pt x="243" y="132"/>
                </a:lnTo>
                <a:lnTo>
                  <a:pt x="252" y="132"/>
                </a:lnTo>
                <a:lnTo>
                  <a:pt x="271" y="118"/>
                </a:lnTo>
                <a:lnTo>
                  <a:pt x="282" y="127"/>
                </a:lnTo>
                <a:lnTo>
                  <a:pt x="283" y="145"/>
                </a:lnTo>
                <a:lnTo>
                  <a:pt x="303" y="156"/>
                </a:lnTo>
                <a:lnTo>
                  <a:pt x="300" y="175"/>
                </a:lnTo>
                <a:lnTo>
                  <a:pt x="301" y="180"/>
                </a:lnTo>
                <a:lnTo>
                  <a:pt x="304" y="183"/>
                </a:lnTo>
                <a:lnTo>
                  <a:pt x="297" y="193"/>
                </a:lnTo>
                <a:lnTo>
                  <a:pt x="295" y="205"/>
                </a:lnTo>
                <a:lnTo>
                  <a:pt x="306" y="229"/>
                </a:lnTo>
                <a:lnTo>
                  <a:pt x="322" y="232"/>
                </a:lnTo>
                <a:lnTo>
                  <a:pt x="327" y="244"/>
                </a:lnTo>
                <a:lnTo>
                  <a:pt x="322" y="268"/>
                </a:lnTo>
                <a:lnTo>
                  <a:pt x="298" y="290"/>
                </a:lnTo>
                <a:lnTo>
                  <a:pt x="304" y="328"/>
                </a:lnTo>
                <a:lnTo>
                  <a:pt x="295" y="344"/>
                </a:lnTo>
                <a:lnTo>
                  <a:pt x="301" y="362"/>
                </a:lnTo>
                <a:lnTo>
                  <a:pt x="271" y="356"/>
                </a:lnTo>
                <a:lnTo>
                  <a:pt x="256" y="362"/>
                </a:lnTo>
                <a:lnTo>
                  <a:pt x="241" y="362"/>
                </a:lnTo>
                <a:lnTo>
                  <a:pt x="223" y="367"/>
                </a:lnTo>
                <a:lnTo>
                  <a:pt x="205" y="370"/>
                </a:lnTo>
                <a:lnTo>
                  <a:pt x="177" y="388"/>
                </a:lnTo>
                <a:lnTo>
                  <a:pt x="178" y="353"/>
                </a:lnTo>
                <a:lnTo>
                  <a:pt x="172" y="344"/>
                </a:lnTo>
                <a:lnTo>
                  <a:pt x="153" y="341"/>
                </a:lnTo>
                <a:lnTo>
                  <a:pt x="147" y="326"/>
                </a:lnTo>
                <a:lnTo>
                  <a:pt x="135" y="325"/>
                </a:lnTo>
                <a:lnTo>
                  <a:pt x="130" y="329"/>
                </a:lnTo>
                <a:lnTo>
                  <a:pt x="105" y="325"/>
                </a:lnTo>
                <a:lnTo>
                  <a:pt x="96" y="332"/>
                </a:lnTo>
                <a:lnTo>
                  <a:pt x="91" y="359"/>
                </a:lnTo>
                <a:lnTo>
                  <a:pt x="81" y="380"/>
                </a:lnTo>
                <a:lnTo>
                  <a:pt x="13" y="320"/>
                </a:lnTo>
                <a:lnTo>
                  <a:pt x="0" y="292"/>
                </a:lnTo>
                <a:lnTo>
                  <a:pt x="18" y="284"/>
                </a:lnTo>
                <a:lnTo>
                  <a:pt x="33" y="276"/>
                </a:lnTo>
                <a:lnTo>
                  <a:pt x="33" y="253"/>
                </a:lnTo>
                <a:lnTo>
                  <a:pt x="48" y="244"/>
                </a:lnTo>
                <a:lnTo>
                  <a:pt x="55" y="228"/>
                </a:lnTo>
                <a:lnTo>
                  <a:pt x="72" y="217"/>
                </a:lnTo>
                <a:lnTo>
                  <a:pt x="75" y="202"/>
                </a:lnTo>
                <a:lnTo>
                  <a:pt x="73" y="186"/>
                </a:lnTo>
                <a:lnTo>
                  <a:pt x="84" y="177"/>
                </a:lnTo>
                <a:lnTo>
                  <a:pt x="69" y="154"/>
                </a:lnTo>
                <a:lnTo>
                  <a:pt x="85" y="123"/>
                </a:lnTo>
                <a:lnTo>
                  <a:pt x="67" y="102"/>
                </a:lnTo>
                <a:lnTo>
                  <a:pt x="72" y="79"/>
                </a:lnTo>
                <a:lnTo>
                  <a:pt x="55" y="58"/>
                </a:lnTo>
                <a:lnTo>
                  <a:pt x="55" y="27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3" name="Text Box 115"/>
          <p:cNvSpPr txBox="1">
            <a:spLocks noChangeArrowheads="1"/>
          </p:cNvSpPr>
          <p:nvPr/>
        </p:nvSpPr>
        <p:spPr bwMode="auto">
          <a:xfrm>
            <a:off x="4676174" y="3334917"/>
            <a:ext cx="302968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latin typeface="+mn-lt"/>
                <a:cs typeface="Arial" pitchFamily="34" charset="0"/>
              </a:rPr>
              <a:t>+39</a:t>
            </a:r>
            <a:endParaRPr lang="de-DE" sz="1400" b="1" dirty="0">
              <a:latin typeface="+mn-lt"/>
              <a:cs typeface="Arial" pitchFamily="34" charset="0"/>
            </a:endParaRPr>
          </a:p>
        </p:txBody>
      </p:sp>
      <p:sp>
        <p:nvSpPr>
          <p:cNvPr id="34" name="Text Box 116"/>
          <p:cNvSpPr txBox="1">
            <a:spLocks noChangeArrowheads="1"/>
          </p:cNvSpPr>
          <p:nvPr/>
        </p:nvSpPr>
        <p:spPr bwMode="auto">
          <a:xfrm>
            <a:off x="3855541" y="3872403"/>
            <a:ext cx="258084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solidFill>
                  <a:schemeClr val="bg1"/>
                </a:solidFill>
                <a:latin typeface="+mn-lt"/>
              </a:rPr>
              <a:t>-43</a:t>
            </a:r>
            <a:endParaRPr lang="de-DE" sz="14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5" name="Text Box 117"/>
          <p:cNvSpPr txBox="1">
            <a:spLocks noChangeArrowheads="1"/>
          </p:cNvSpPr>
          <p:nvPr/>
        </p:nvSpPr>
        <p:spPr bwMode="auto">
          <a:xfrm>
            <a:off x="4559466" y="4217767"/>
            <a:ext cx="258084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solidFill>
                  <a:schemeClr val="bg1"/>
                </a:solidFill>
                <a:latin typeface="+mn-lt"/>
              </a:rPr>
              <a:t>-20</a:t>
            </a:r>
            <a:endParaRPr lang="de-DE" sz="14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6" name="Text Box 118"/>
          <p:cNvSpPr txBox="1">
            <a:spLocks noChangeArrowheads="1"/>
          </p:cNvSpPr>
          <p:nvPr/>
        </p:nvSpPr>
        <p:spPr bwMode="auto">
          <a:xfrm>
            <a:off x="3736861" y="2961839"/>
            <a:ext cx="158698" cy="215444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solidFill>
                  <a:schemeClr val="bg1"/>
                </a:solidFill>
                <a:latin typeface="+mn-lt"/>
              </a:rPr>
              <a:t>-4</a:t>
            </a:r>
            <a:endParaRPr lang="de-DE" sz="14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8" name="Text Box 116"/>
          <p:cNvSpPr txBox="1">
            <a:spLocks noChangeArrowheads="1"/>
          </p:cNvSpPr>
          <p:nvPr/>
        </p:nvSpPr>
        <p:spPr bwMode="auto">
          <a:xfrm>
            <a:off x="5499513" y="5415080"/>
            <a:ext cx="258084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latin typeface="+mn-lt"/>
                <a:cs typeface="Arial" pitchFamily="34" charset="0"/>
              </a:rPr>
              <a:t>-43</a:t>
            </a:r>
            <a:endParaRPr lang="de-DE" sz="1400" b="1" baseline="30000" dirty="0">
              <a:latin typeface="+mn-lt"/>
              <a:cs typeface="Arial" pitchFamily="34" charset="0"/>
            </a:endParaRPr>
          </a:p>
        </p:txBody>
      </p:sp>
      <p:sp>
        <p:nvSpPr>
          <p:cNvPr id="39" name="Text Box 115"/>
          <p:cNvSpPr txBox="1">
            <a:spLocks noChangeArrowheads="1"/>
          </p:cNvSpPr>
          <p:nvPr/>
        </p:nvSpPr>
        <p:spPr bwMode="auto">
          <a:xfrm>
            <a:off x="4244437" y="2920079"/>
            <a:ext cx="258084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latin typeface="+mn-lt"/>
              </a:rPr>
              <a:t>-31</a:t>
            </a:r>
            <a:endParaRPr lang="de-DE" sz="1400" b="1" dirty="0">
              <a:latin typeface="+mn-lt"/>
            </a:endParaRPr>
          </a:p>
        </p:txBody>
      </p:sp>
      <p:sp>
        <p:nvSpPr>
          <p:cNvPr id="40" name="Freeform 13"/>
          <p:cNvSpPr>
            <a:spLocks/>
          </p:cNvSpPr>
          <p:nvPr/>
        </p:nvSpPr>
        <p:spPr bwMode="auto">
          <a:xfrm>
            <a:off x="4702491" y="3865238"/>
            <a:ext cx="684119" cy="325653"/>
          </a:xfrm>
          <a:custGeom>
            <a:avLst/>
            <a:gdLst>
              <a:gd name="T0" fmla="*/ 2147483647 w 453"/>
              <a:gd name="T1" fmla="*/ 2147483647 h 206"/>
              <a:gd name="T2" fmla="*/ 2147483647 w 453"/>
              <a:gd name="T3" fmla="*/ 2147483647 h 206"/>
              <a:gd name="T4" fmla="*/ 2147483647 w 453"/>
              <a:gd name="T5" fmla="*/ 2147483647 h 206"/>
              <a:gd name="T6" fmla="*/ 2147483647 w 453"/>
              <a:gd name="T7" fmla="*/ 2147483647 h 206"/>
              <a:gd name="T8" fmla="*/ 2147483647 w 453"/>
              <a:gd name="T9" fmla="*/ 2147483647 h 206"/>
              <a:gd name="T10" fmla="*/ 2147483647 w 453"/>
              <a:gd name="T11" fmla="*/ 2147483647 h 206"/>
              <a:gd name="T12" fmla="*/ 2147483647 w 453"/>
              <a:gd name="T13" fmla="*/ 2147483647 h 206"/>
              <a:gd name="T14" fmla="*/ 2147483647 w 453"/>
              <a:gd name="T15" fmla="*/ 2147483647 h 206"/>
              <a:gd name="T16" fmla="*/ 2147483647 w 453"/>
              <a:gd name="T17" fmla="*/ 2147483647 h 206"/>
              <a:gd name="T18" fmla="*/ 2147483647 w 453"/>
              <a:gd name="T19" fmla="*/ 2147483647 h 206"/>
              <a:gd name="T20" fmla="*/ 2147483647 w 453"/>
              <a:gd name="T21" fmla="*/ 2147483647 h 206"/>
              <a:gd name="T22" fmla="*/ 2147483647 w 453"/>
              <a:gd name="T23" fmla="*/ 2147483647 h 206"/>
              <a:gd name="T24" fmla="*/ 2147483647 w 453"/>
              <a:gd name="T25" fmla="*/ 2147483647 h 206"/>
              <a:gd name="T26" fmla="*/ 2147483647 w 453"/>
              <a:gd name="T27" fmla="*/ 2147483647 h 206"/>
              <a:gd name="T28" fmla="*/ 2147483647 w 453"/>
              <a:gd name="T29" fmla="*/ 2147483647 h 206"/>
              <a:gd name="T30" fmla="*/ 2147483647 w 453"/>
              <a:gd name="T31" fmla="*/ 2147483647 h 206"/>
              <a:gd name="T32" fmla="*/ 2147483647 w 453"/>
              <a:gd name="T33" fmla="*/ 2147483647 h 206"/>
              <a:gd name="T34" fmla="*/ 2147483647 w 453"/>
              <a:gd name="T35" fmla="*/ 2147483647 h 206"/>
              <a:gd name="T36" fmla="*/ 2147483647 w 453"/>
              <a:gd name="T37" fmla="*/ 2147483647 h 206"/>
              <a:gd name="T38" fmla="*/ 2147483647 w 453"/>
              <a:gd name="T39" fmla="*/ 2147483647 h 206"/>
              <a:gd name="T40" fmla="*/ 2147483647 w 453"/>
              <a:gd name="T41" fmla="*/ 2147483647 h 206"/>
              <a:gd name="T42" fmla="*/ 2147483647 w 453"/>
              <a:gd name="T43" fmla="*/ 2147483647 h 206"/>
              <a:gd name="T44" fmla="*/ 2147483647 w 453"/>
              <a:gd name="T45" fmla="*/ 2147483647 h 206"/>
              <a:gd name="T46" fmla="*/ 2147483647 w 453"/>
              <a:gd name="T47" fmla="*/ 2147483647 h 206"/>
              <a:gd name="T48" fmla="*/ 2147483647 w 453"/>
              <a:gd name="T49" fmla="*/ 2147483647 h 206"/>
              <a:gd name="T50" fmla="*/ 2147483647 w 453"/>
              <a:gd name="T51" fmla="*/ 2147483647 h 206"/>
              <a:gd name="T52" fmla="*/ 2147483647 w 453"/>
              <a:gd name="T53" fmla="*/ 2147483647 h 206"/>
              <a:gd name="T54" fmla="*/ 2147483647 w 453"/>
              <a:gd name="T55" fmla="*/ 2147483647 h 206"/>
              <a:gd name="T56" fmla="*/ 2147483647 w 453"/>
              <a:gd name="T57" fmla="*/ 2147483647 h 206"/>
              <a:gd name="T58" fmla="*/ 2147483647 w 453"/>
              <a:gd name="T59" fmla="*/ 2147483647 h 206"/>
              <a:gd name="T60" fmla="*/ 2147483647 w 453"/>
              <a:gd name="T61" fmla="*/ 2147483647 h 206"/>
              <a:gd name="T62" fmla="*/ 0 w 453"/>
              <a:gd name="T63" fmla="*/ 2147483647 h 2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53"/>
              <a:gd name="T97" fmla="*/ 0 h 206"/>
              <a:gd name="T98" fmla="*/ 453 w 453"/>
              <a:gd name="T99" fmla="*/ 206 h 2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53" h="206">
                <a:moveTo>
                  <a:pt x="0" y="74"/>
                </a:moveTo>
                <a:lnTo>
                  <a:pt x="19" y="72"/>
                </a:lnTo>
                <a:lnTo>
                  <a:pt x="26" y="70"/>
                </a:lnTo>
                <a:lnTo>
                  <a:pt x="36" y="82"/>
                </a:lnTo>
                <a:lnTo>
                  <a:pt x="48" y="78"/>
                </a:lnTo>
                <a:lnTo>
                  <a:pt x="63" y="80"/>
                </a:lnTo>
                <a:lnTo>
                  <a:pt x="72" y="87"/>
                </a:lnTo>
                <a:lnTo>
                  <a:pt x="88" y="78"/>
                </a:lnTo>
                <a:lnTo>
                  <a:pt x="109" y="79"/>
                </a:lnTo>
                <a:lnTo>
                  <a:pt x="118" y="88"/>
                </a:lnTo>
                <a:lnTo>
                  <a:pt x="131" y="91"/>
                </a:lnTo>
                <a:lnTo>
                  <a:pt x="138" y="85"/>
                </a:lnTo>
                <a:lnTo>
                  <a:pt x="161" y="81"/>
                </a:lnTo>
                <a:lnTo>
                  <a:pt x="172" y="81"/>
                </a:lnTo>
                <a:lnTo>
                  <a:pt x="189" y="87"/>
                </a:lnTo>
                <a:lnTo>
                  <a:pt x="209" y="100"/>
                </a:lnTo>
                <a:lnTo>
                  <a:pt x="224" y="94"/>
                </a:lnTo>
                <a:lnTo>
                  <a:pt x="227" y="81"/>
                </a:lnTo>
                <a:lnTo>
                  <a:pt x="217" y="64"/>
                </a:lnTo>
                <a:lnTo>
                  <a:pt x="212" y="40"/>
                </a:lnTo>
                <a:lnTo>
                  <a:pt x="263" y="5"/>
                </a:lnTo>
                <a:lnTo>
                  <a:pt x="274" y="5"/>
                </a:lnTo>
                <a:lnTo>
                  <a:pt x="276" y="17"/>
                </a:lnTo>
                <a:lnTo>
                  <a:pt x="291" y="20"/>
                </a:lnTo>
                <a:lnTo>
                  <a:pt x="323" y="16"/>
                </a:lnTo>
                <a:lnTo>
                  <a:pt x="336" y="2"/>
                </a:lnTo>
                <a:lnTo>
                  <a:pt x="376" y="0"/>
                </a:lnTo>
                <a:lnTo>
                  <a:pt x="385" y="17"/>
                </a:lnTo>
                <a:lnTo>
                  <a:pt x="402" y="17"/>
                </a:lnTo>
                <a:lnTo>
                  <a:pt x="417" y="8"/>
                </a:lnTo>
                <a:lnTo>
                  <a:pt x="442" y="24"/>
                </a:lnTo>
                <a:lnTo>
                  <a:pt x="442" y="52"/>
                </a:lnTo>
                <a:lnTo>
                  <a:pt x="453" y="64"/>
                </a:lnTo>
                <a:lnTo>
                  <a:pt x="450" y="82"/>
                </a:lnTo>
                <a:lnTo>
                  <a:pt x="442" y="100"/>
                </a:lnTo>
                <a:lnTo>
                  <a:pt x="429" y="100"/>
                </a:lnTo>
                <a:lnTo>
                  <a:pt x="424" y="105"/>
                </a:lnTo>
                <a:lnTo>
                  <a:pt x="432" y="120"/>
                </a:lnTo>
                <a:lnTo>
                  <a:pt x="432" y="135"/>
                </a:lnTo>
                <a:lnTo>
                  <a:pt x="424" y="148"/>
                </a:lnTo>
                <a:lnTo>
                  <a:pt x="402" y="159"/>
                </a:lnTo>
                <a:lnTo>
                  <a:pt x="401" y="172"/>
                </a:lnTo>
                <a:lnTo>
                  <a:pt x="401" y="185"/>
                </a:lnTo>
                <a:lnTo>
                  <a:pt x="380" y="189"/>
                </a:lnTo>
                <a:lnTo>
                  <a:pt x="346" y="187"/>
                </a:lnTo>
                <a:lnTo>
                  <a:pt x="330" y="192"/>
                </a:lnTo>
                <a:lnTo>
                  <a:pt x="301" y="192"/>
                </a:lnTo>
                <a:lnTo>
                  <a:pt x="289" y="206"/>
                </a:lnTo>
                <a:lnTo>
                  <a:pt x="243" y="191"/>
                </a:lnTo>
                <a:lnTo>
                  <a:pt x="220" y="192"/>
                </a:lnTo>
                <a:lnTo>
                  <a:pt x="162" y="179"/>
                </a:lnTo>
                <a:lnTo>
                  <a:pt x="154" y="165"/>
                </a:lnTo>
                <a:lnTo>
                  <a:pt x="154" y="150"/>
                </a:lnTo>
                <a:lnTo>
                  <a:pt x="150" y="141"/>
                </a:lnTo>
                <a:lnTo>
                  <a:pt x="143" y="137"/>
                </a:lnTo>
                <a:lnTo>
                  <a:pt x="107" y="139"/>
                </a:lnTo>
                <a:lnTo>
                  <a:pt x="57" y="144"/>
                </a:lnTo>
                <a:lnTo>
                  <a:pt x="52" y="132"/>
                </a:lnTo>
                <a:lnTo>
                  <a:pt x="43" y="128"/>
                </a:lnTo>
                <a:lnTo>
                  <a:pt x="28" y="123"/>
                </a:lnTo>
                <a:lnTo>
                  <a:pt x="13" y="119"/>
                </a:lnTo>
                <a:lnTo>
                  <a:pt x="13" y="105"/>
                </a:lnTo>
                <a:lnTo>
                  <a:pt x="13" y="85"/>
                </a:lnTo>
                <a:lnTo>
                  <a:pt x="0" y="74"/>
                </a:lnTo>
                <a:close/>
              </a:path>
            </a:pathLst>
          </a:custGeom>
          <a:solidFill>
            <a:srgbClr val="92D050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41" name="Textfeld 40"/>
          <p:cNvSpPr txBox="1"/>
          <p:nvPr>
            <p:custDataLst>
              <p:tags r:id="rId3"/>
            </p:custDataLst>
          </p:nvPr>
        </p:nvSpPr>
        <p:spPr>
          <a:xfrm>
            <a:off x="5123221" y="3920342"/>
            <a:ext cx="203582" cy="215444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rtlCol="0">
            <a:spAutoFit/>
          </a:bodyPr>
          <a:lstStyle/>
          <a:p>
            <a:r>
              <a:rPr lang="de-DE" sz="1400" b="1" dirty="0" smtClean="0">
                <a:cs typeface="Arial" pitchFamily="34" charset="0"/>
              </a:rPr>
              <a:t>+8</a:t>
            </a:r>
            <a:endParaRPr lang="de-DE" sz="1400" b="1" baseline="30000" dirty="0">
              <a:cs typeface="Arial" pitchFamily="34" charset="0"/>
            </a:endParaRPr>
          </a:p>
        </p:txBody>
      </p:sp>
      <p:sp>
        <p:nvSpPr>
          <p:cNvPr id="42" name="Text Box 116"/>
          <p:cNvSpPr txBox="1">
            <a:spLocks noChangeArrowheads="1"/>
          </p:cNvSpPr>
          <p:nvPr/>
        </p:nvSpPr>
        <p:spPr bwMode="auto">
          <a:xfrm>
            <a:off x="2651358" y="4478345"/>
            <a:ext cx="25808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4351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34</a:t>
            </a:r>
            <a:endParaRPr lang="de-DE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Text Box 119"/>
          <p:cNvSpPr txBox="1">
            <a:spLocks noChangeArrowheads="1"/>
          </p:cNvSpPr>
          <p:nvPr/>
        </p:nvSpPr>
        <p:spPr bwMode="auto">
          <a:xfrm>
            <a:off x="3132137" y="4526423"/>
            <a:ext cx="258084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solidFill>
                  <a:schemeClr val="bg1"/>
                </a:solidFill>
                <a:latin typeface="+mn-lt"/>
              </a:rPr>
              <a:t>-15</a:t>
            </a:r>
            <a:endParaRPr lang="de-DE" sz="14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8" name="RbLeanShape Arrow Option 1 76"/>
          <p:cNvSpPr/>
          <p:nvPr/>
        </p:nvSpPr>
        <p:spPr>
          <a:xfrm flipH="1">
            <a:off x="6693174" y="3731801"/>
            <a:ext cx="2298426" cy="1309908"/>
          </a:xfrm>
          <a:custGeom>
            <a:avLst/>
            <a:gdLst>
              <a:gd name="connsiteX0" fmla="*/ 0 w 457200"/>
              <a:gd name="connsiteY0" fmla="*/ 0 h 508000"/>
              <a:gd name="connsiteX1" fmla="*/ 330200 w 457200"/>
              <a:gd name="connsiteY1" fmla="*/ 0 h 508000"/>
              <a:gd name="connsiteX2" fmla="*/ 457200 w 457200"/>
              <a:gd name="connsiteY2" fmla="*/ 254000 h 508000"/>
              <a:gd name="connsiteX3" fmla="*/ 330200 w 457200"/>
              <a:gd name="connsiteY3" fmla="*/ 508000 h 508000"/>
              <a:gd name="connsiteX4" fmla="*/ 0 w 457200"/>
              <a:gd name="connsiteY4" fmla="*/ 508000 h 508000"/>
              <a:gd name="connsiteX0" fmla="*/ 0 w 435484"/>
              <a:gd name="connsiteY0" fmla="*/ 0 h 508000"/>
              <a:gd name="connsiteX1" fmla="*/ 330200 w 435484"/>
              <a:gd name="connsiteY1" fmla="*/ 0 h 508000"/>
              <a:gd name="connsiteX2" fmla="*/ 435484 w 435484"/>
              <a:gd name="connsiteY2" fmla="*/ 254000 h 508000"/>
              <a:gd name="connsiteX3" fmla="*/ 330200 w 435484"/>
              <a:gd name="connsiteY3" fmla="*/ 508000 h 508000"/>
              <a:gd name="connsiteX4" fmla="*/ 0 w 435484"/>
              <a:gd name="connsiteY4" fmla="*/ 508000 h 508000"/>
              <a:gd name="connsiteX0" fmla="*/ 0 w 414799"/>
              <a:gd name="connsiteY0" fmla="*/ 0 h 508000"/>
              <a:gd name="connsiteX1" fmla="*/ 330200 w 414799"/>
              <a:gd name="connsiteY1" fmla="*/ 0 h 508000"/>
              <a:gd name="connsiteX2" fmla="*/ 414799 w 414799"/>
              <a:gd name="connsiteY2" fmla="*/ 254000 h 508000"/>
              <a:gd name="connsiteX3" fmla="*/ 330200 w 414799"/>
              <a:gd name="connsiteY3" fmla="*/ 508000 h 508000"/>
              <a:gd name="connsiteX4" fmla="*/ 0 w 414799"/>
              <a:gd name="connsiteY4" fmla="*/ 508000 h 508000"/>
              <a:gd name="connsiteX0" fmla="*/ 0 w 395097"/>
              <a:gd name="connsiteY0" fmla="*/ 0 h 508000"/>
              <a:gd name="connsiteX1" fmla="*/ 330200 w 395097"/>
              <a:gd name="connsiteY1" fmla="*/ 0 h 508000"/>
              <a:gd name="connsiteX2" fmla="*/ 395097 w 395097"/>
              <a:gd name="connsiteY2" fmla="*/ 254000 h 508000"/>
              <a:gd name="connsiteX3" fmla="*/ 330200 w 395097"/>
              <a:gd name="connsiteY3" fmla="*/ 508000 h 508000"/>
              <a:gd name="connsiteX4" fmla="*/ 0 w 395097"/>
              <a:gd name="connsiteY4" fmla="*/ 508000 h 508000"/>
              <a:gd name="connsiteX0" fmla="*/ 0 w 376331"/>
              <a:gd name="connsiteY0" fmla="*/ 0 h 508000"/>
              <a:gd name="connsiteX1" fmla="*/ 330200 w 376331"/>
              <a:gd name="connsiteY1" fmla="*/ 0 h 508000"/>
              <a:gd name="connsiteX2" fmla="*/ 376331 w 376331"/>
              <a:gd name="connsiteY2" fmla="*/ 254000 h 508000"/>
              <a:gd name="connsiteX3" fmla="*/ 330200 w 376331"/>
              <a:gd name="connsiteY3" fmla="*/ 508000 h 508000"/>
              <a:gd name="connsiteX4" fmla="*/ 0 w 376331"/>
              <a:gd name="connsiteY4" fmla="*/ 508000 h 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331" h="508000">
                <a:moveTo>
                  <a:pt x="0" y="0"/>
                </a:moveTo>
                <a:lnTo>
                  <a:pt x="330200" y="0"/>
                </a:lnTo>
                <a:lnTo>
                  <a:pt x="376331" y="254000"/>
                </a:lnTo>
                <a:lnTo>
                  <a:pt x="330200" y="508000"/>
                </a:lnTo>
                <a:lnTo>
                  <a:pt x="0" y="508000"/>
                </a:lnTo>
              </a:path>
            </a:pathLst>
          </a:custGeom>
          <a:gradFill flip="none" rotWithShape="1">
            <a:gsLst>
              <a:gs pos="24000">
                <a:schemeClr val="accent5"/>
              </a:gs>
              <a:gs pos="100000">
                <a:schemeClr val="bg1"/>
              </a:gs>
            </a:gsLst>
            <a:lin ang="8100000" scaled="1"/>
            <a:tileRect/>
          </a:gra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fontAlgn="ctr"/>
            <a:endParaRPr lang="de-DE" sz="1300" b="1"/>
          </a:p>
        </p:txBody>
      </p:sp>
      <p:grpSp>
        <p:nvGrpSpPr>
          <p:cNvPr id="79" name="Gruppieren 87"/>
          <p:cNvGrpSpPr/>
          <p:nvPr/>
        </p:nvGrpSpPr>
        <p:grpSpPr>
          <a:xfrm>
            <a:off x="7254816" y="3885808"/>
            <a:ext cx="1266372" cy="955302"/>
            <a:chOff x="7254816" y="4567250"/>
            <a:chExt cx="1266372" cy="955302"/>
          </a:xfrm>
        </p:grpSpPr>
        <p:sp>
          <p:nvSpPr>
            <p:cNvPr id="80" name="Textfeld 85"/>
            <p:cNvSpPr txBox="1"/>
            <p:nvPr/>
          </p:nvSpPr>
          <p:spPr>
            <a:xfrm>
              <a:off x="7254816" y="4567250"/>
              <a:ext cx="1240724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de-DE" sz="20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Euro zone</a:t>
              </a:r>
            </a:p>
          </p:txBody>
        </p:sp>
        <p:sp>
          <p:nvSpPr>
            <p:cNvPr id="81" name="Textfeld 86"/>
            <p:cNvSpPr txBox="1"/>
            <p:nvPr/>
          </p:nvSpPr>
          <p:spPr>
            <a:xfrm>
              <a:off x="7254816" y="4868527"/>
              <a:ext cx="1266372" cy="654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de-DE" sz="20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-18</a:t>
              </a:r>
            </a:p>
            <a:p>
              <a:pPr>
                <a:spcBef>
                  <a:spcPts val="300"/>
                </a:spcBef>
              </a:pPr>
              <a:r>
                <a:rPr lang="de-DE" sz="20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(2012: -52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34226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" name="Objekt 7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12947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9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23850" y="6453188"/>
            <a:ext cx="8496300" cy="144462"/>
          </a:xfrm>
        </p:spPr>
        <p:txBody>
          <a:bodyPr/>
          <a:lstStyle/>
          <a:p>
            <a:r>
              <a:rPr lang="de-DE" dirty="0" smtClean="0"/>
              <a:t>Source: </a:t>
            </a:r>
            <a:r>
              <a:rPr lang="de-DE" dirty="0"/>
              <a:t>GfK, </a:t>
            </a:r>
            <a:r>
              <a:rPr lang="de-DE" dirty="0" smtClean="0"/>
              <a:t>EU-Commissio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ermans are still the consumer optimistic of Europe, followed by Austrians</a:t>
            </a:r>
            <a:endParaRPr lang="en-GB" dirty="0"/>
          </a:p>
        </p:txBody>
      </p:sp>
      <p:sp>
        <p:nvSpPr>
          <p:cNvPr id="4" name="Inhaltsplatzhalter 588914"/>
          <p:cNvSpPr txBox="1">
            <a:spLocks/>
          </p:cNvSpPr>
          <p:nvPr/>
        </p:nvSpPr>
        <p:spPr bwMode="gray">
          <a:xfrm>
            <a:off x="323850" y="1052736"/>
            <a:ext cx="1651093" cy="246221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de-DE" sz="1600" dirty="0">
                <a:solidFill>
                  <a:srgbClr val="E95E0F"/>
                </a:solidFill>
              </a:rPr>
              <a:t>Willingness to buy</a:t>
            </a:r>
          </a:p>
        </p:txBody>
      </p:sp>
      <p:cxnSp>
        <p:nvCxnSpPr>
          <p:cNvPr id="7" name="LeanLine Vertical 634947453867075289"/>
          <p:cNvCxnSpPr>
            <a:cxnSpLocks/>
          </p:cNvCxnSpPr>
          <p:nvPr/>
        </p:nvCxnSpPr>
        <p:spPr>
          <a:xfrm>
            <a:off x="323850" y="1802816"/>
            <a:ext cx="8496300" cy="0"/>
          </a:xfrm>
          <a:prstGeom prst="line">
            <a:avLst/>
          </a:prstGeom>
          <a:ln w="22225" cmpd="sng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Box 116"/>
          <p:cNvSpPr txBox="1">
            <a:spLocks noChangeArrowheads="1"/>
          </p:cNvSpPr>
          <p:nvPr/>
        </p:nvSpPr>
        <p:spPr bwMode="auto">
          <a:xfrm>
            <a:off x="323850" y="1650472"/>
            <a:ext cx="2104679" cy="215444"/>
          </a:xfrm>
          <a:prstGeom prst="rect">
            <a:avLst/>
          </a:prstGeom>
          <a:solidFill>
            <a:schemeClr val="bg1"/>
          </a:solidFill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dirty="0">
                <a:solidFill>
                  <a:srgbClr val="000000"/>
                </a:solidFill>
                <a:latin typeface="Arial"/>
              </a:rPr>
              <a:t>Average 2. half-year </a:t>
            </a:r>
            <a:r>
              <a:rPr lang="de-DE" sz="1400" dirty="0" smtClean="0">
                <a:latin typeface="Arial"/>
              </a:rPr>
              <a:t>2013</a:t>
            </a:r>
            <a:r>
              <a:rPr lang="de-DE" sz="1400" dirty="0" smtClean="0">
                <a:solidFill>
                  <a:schemeClr val="accent6"/>
                </a:solidFill>
                <a:latin typeface="Arial"/>
              </a:rPr>
              <a:t> </a:t>
            </a:r>
            <a:endParaRPr lang="de-DE" sz="1400" dirty="0">
              <a:solidFill>
                <a:schemeClr val="accent6"/>
              </a:solidFill>
              <a:latin typeface="Arial"/>
            </a:endParaRPr>
          </a:p>
        </p:txBody>
      </p:sp>
      <p:sp>
        <p:nvSpPr>
          <p:cNvPr id="9" name="RbLeanShape Left U-Shape 138"/>
          <p:cNvSpPr>
            <a:spLocks/>
          </p:cNvSpPr>
          <p:nvPr/>
        </p:nvSpPr>
        <p:spPr>
          <a:xfrm>
            <a:off x="323850" y="1947386"/>
            <a:ext cx="8496300" cy="4039346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gradFill flip="none" rotWithShape="1">
            <a:gsLst>
              <a:gs pos="0">
                <a:schemeClr val="bg2"/>
              </a:gs>
              <a:gs pos="53000">
                <a:schemeClr val="bg1"/>
              </a:gs>
            </a:gsLst>
            <a:lin ang="2700000" scaled="1"/>
            <a:tileRect/>
          </a:gradFill>
          <a:ln w="22225"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90000" rIns="0" bIns="0" rtlCol="0" anchor="t"/>
          <a:lstStyle/>
          <a:p>
            <a:pPr fontAlgn="ctr"/>
            <a:endParaRPr lang="de-DE" sz="1300" b="1"/>
          </a:p>
        </p:txBody>
      </p:sp>
      <p:sp>
        <p:nvSpPr>
          <p:cNvPr id="10" name="Freeform 2"/>
          <p:cNvSpPr>
            <a:spLocks/>
          </p:cNvSpPr>
          <p:nvPr/>
        </p:nvSpPr>
        <p:spPr bwMode="auto">
          <a:xfrm>
            <a:off x="2584581" y="4267613"/>
            <a:ext cx="463630" cy="689247"/>
          </a:xfrm>
          <a:custGeom>
            <a:avLst/>
            <a:gdLst>
              <a:gd name="T0" fmla="*/ 2147483647 w 307"/>
              <a:gd name="T1" fmla="*/ 0 h 436"/>
              <a:gd name="T2" fmla="*/ 2147483647 w 307"/>
              <a:gd name="T3" fmla="*/ 2147483647 h 436"/>
              <a:gd name="T4" fmla="*/ 2147483647 w 307"/>
              <a:gd name="T5" fmla="*/ 2147483647 h 436"/>
              <a:gd name="T6" fmla="*/ 2147483647 w 307"/>
              <a:gd name="T7" fmla="*/ 2147483647 h 436"/>
              <a:gd name="T8" fmla="*/ 2147483647 w 307"/>
              <a:gd name="T9" fmla="*/ 2147483647 h 436"/>
              <a:gd name="T10" fmla="*/ 2147483647 w 307"/>
              <a:gd name="T11" fmla="*/ 2147483647 h 436"/>
              <a:gd name="T12" fmla="*/ 2147483647 w 307"/>
              <a:gd name="T13" fmla="*/ 2147483647 h 436"/>
              <a:gd name="T14" fmla="*/ 2147483647 w 307"/>
              <a:gd name="T15" fmla="*/ 2147483647 h 436"/>
              <a:gd name="T16" fmla="*/ 2147483647 w 307"/>
              <a:gd name="T17" fmla="*/ 2147483647 h 436"/>
              <a:gd name="T18" fmla="*/ 2147483647 w 307"/>
              <a:gd name="T19" fmla="*/ 2147483647 h 436"/>
              <a:gd name="T20" fmla="*/ 2147483647 w 307"/>
              <a:gd name="T21" fmla="*/ 2147483647 h 436"/>
              <a:gd name="T22" fmla="*/ 2147483647 w 307"/>
              <a:gd name="T23" fmla="*/ 2147483647 h 436"/>
              <a:gd name="T24" fmla="*/ 2147483647 w 307"/>
              <a:gd name="T25" fmla="*/ 2147483647 h 436"/>
              <a:gd name="T26" fmla="*/ 2147483647 w 307"/>
              <a:gd name="T27" fmla="*/ 2147483647 h 436"/>
              <a:gd name="T28" fmla="*/ 2147483647 w 307"/>
              <a:gd name="T29" fmla="*/ 2147483647 h 436"/>
              <a:gd name="T30" fmla="*/ 2147483647 w 307"/>
              <a:gd name="T31" fmla="*/ 2147483647 h 436"/>
              <a:gd name="T32" fmla="*/ 2147483647 w 307"/>
              <a:gd name="T33" fmla="*/ 2147483647 h 436"/>
              <a:gd name="T34" fmla="*/ 2147483647 w 307"/>
              <a:gd name="T35" fmla="*/ 2147483647 h 436"/>
              <a:gd name="T36" fmla="*/ 2147483647 w 307"/>
              <a:gd name="T37" fmla="*/ 2147483647 h 436"/>
              <a:gd name="T38" fmla="*/ 2147483647 w 307"/>
              <a:gd name="T39" fmla="*/ 2147483647 h 436"/>
              <a:gd name="T40" fmla="*/ 2147483647 w 307"/>
              <a:gd name="T41" fmla="*/ 2147483647 h 436"/>
              <a:gd name="T42" fmla="*/ 0 w 307"/>
              <a:gd name="T43" fmla="*/ 2147483647 h 436"/>
              <a:gd name="T44" fmla="*/ 2147483647 w 307"/>
              <a:gd name="T45" fmla="*/ 2147483647 h 436"/>
              <a:gd name="T46" fmla="*/ 2147483647 w 307"/>
              <a:gd name="T47" fmla="*/ 2147483647 h 436"/>
              <a:gd name="T48" fmla="*/ 2147483647 w 307"/>
              <a:gd name="T49" fmla="*/ 2147483647 h 436"/>
              <a:gd name="T50" fmla="*/ 2147483647 w 307"/>
              <a:gd name="T51" fmla="*/ 2147483647 h 436"/>
              <a:gd name="T52" fmla="*/ 2147483647 w 307"/>
              <a:gd name="T53" fmla="*/ 2147483647 h 436"/>
              <a:gd name="T54" fmla="*/ 2147483647 w 307"/>
              <a:gd name="T55" fmla="*/ 2147483647 h 436"/>
              <a:gd name="T56" fmla="*/ 2147483647 w 307"/>
              <a:gd name="T57" fmla="*/ 2147483647 h 436"/>
              <a:gd name="T58" fmla="*/ 2147483647 w 307"/>
              <a:gd name="T59" fmla="*/ 2147483647 h 436"/>
              <a:gd name="T60" fmla="*/ 2147483647 w 307"/>
              <a:gd name="T61" fmla="*/ 2147483647 h 436"/>
              <a:gd name="T62" fmla="*/ 2147483647 w 307"/>
              <a:gd name="T63" fmla="*/ 2147483647 h 436"/>
              <a:gd name="T64" fmla="*/ 2147483647 w 307"/>
              <a:gd name="T65" fmla="*/ 2147483647 h 436"/>
              <a:gd name="T66" fmla="*/ 2147483647 w 307"/>
              <a:gd name="T67" fmla="*/ 2147483647 h 436"/>
              <a:gd name="T68" fmla="*/ 2147483647 w 307"/>
              <a:gd name="T69" fmla="*/ 2147483647 h 4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07"/>
              <a:gd name="T106" fmla="*/ 0 h 436"/>
              <a:gd name="T107" fmla="*/ 307 w 307"/>
              <a:gd name="T108" fmla="*/ 436 h 4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07" h="436">
                <a:moveTo>
                  <a:pt x="155" y="4"/>
                </a:moveTo>
                <a:lnTo>
                  <a:pt x="177" y="0"/>
                </a:lnTo>
                <a:lnTo>
                  <a:pt x="192" y="17"/>
                </a:lnTo>
                <a:lnTo>
                  <a:pt x="194" y="37"/>
                </a:lnTo>
                <a:lnTo>
                  <a:pt x="200" y="41"/>
                </a:lnTo>
                <a:lnTo>
                  <a:pt x="211" y="38"/>
                </a:lnTo>
                <a:lnTo>
                  <a:pt x="246" y="52"/>
                </a:lnTo>
                <a:lnTo>
                  <a:pt x="256" y="45"/>
                </a:lnTo>
                <a:lnTo>
                  <a:pt x="271" y="44"/>
                </a:lnTo>
                <a:lnTo>
                  <a:pt x="280" y="56"/>
                </a:lnTo>
                <a:lnTo>
                  <a:pt x="288" y="76"/>
                </a:lnTo>
                <a:lnTo>
                  <a:pt x="299" y="89"/>
                </a:lnTo>
                <a:lnTo>
                  <a:pt x="307" y="96"/>
                </a:lnTo>
                <a:lnTo>
                  <a:pt x="304" y="103"/>
                </a:lnTo>
                <a:lnTo>
                  <a:pt x="278" y="110"/>
                </a:lnTo>
                <a:lnTo>
                  <a:pt x="248" y="126"/>
                </a:lnTo>
                <a:lnTo>
                  <a:pt x="249" y="153"/>
                </a:lnTo>
                <a:lnTo>
                  <a:pt x="232" y="167"/>
                </a:lnTo>
                <a:lnTo>
                  <a:pt x="218" y="179"/>
                </a:lnTo>
                <a:lnTo>
                  <a:pt x="216" y="205"/>
                </a:lnTo>
                <a:lnTo>
                  <a:pt x="216" y="222"/>
                </a:lnTo>
                <a:lnTo>
                  <a:pt x="205" y="234"/>
                </a:lnTo>
                <a:lnTo>
                  <a:pt x="196" y="222"/>
                </a:lnTo>
                <a:lnTo>
                  <a:pt x="180" y="227"/>
                </a:lnTo>
                <a:lnTo>
                  <a:pt x="178" y="235"/>
                </a:lnTo>
                <a:lnTo>
                  <a:pt x="175" y="257"/>
                </a:lnTo>
                <a:lnTo>
                  <a:pt x="181" y="265"/>
                </a:lnTo>
                <a:lnTo>
                  <a:pt x="178" y="287"/>
                </a:lnTo>
                <a:lnTo>
                  <a:pt x="168" y="297"/>
                </a:lnTo>
                <a:lnTo>
                  <a:pt x="155" y="314"/>
                </a:lnTo>
                <a:lnTo>
                  <a:pt x="149" y="328"/>
                </a:lnTo>
                <a:lnTo>
                  <a:pt x="152" y="354"/>
                </a:lnTo>
                <a:lnTo>
                  <a:pt x="163" y="369"/>
                </a:lnTo>
                <a:lnTo>
                  <a:pt x="156" y="378"/>
                </a:lnTo>
                <a:lnTo>
                  <a:pt x="127" y="387"/>
                </a:lnTo>
                <a:lnTo>
                  <a:pt x="116" y="398"/>
                </a:lnTo>
                <a:lnTo>
                  <a:pt x="115" y="410"/>
                </a:lnTo>
                <a:lnTo>
                  <a:pt x="115" y="432"/>
                </a:lnTo>
                <a:lnTo>
                  <a:pt x="82" y="432"/>
                </a:lnTo>
                <a:lnTo>
                  <a:pt x="59" y="436"/>
                </a:lnTo>
                <a:lnTo>
                  <a:pt x="33" y="406"/>
                </a:lnTo>
                <a:lnTo>
                  <a:pt x="19" y="406"/>
                </a:lnTo>
                <a:lnTo>
                  <a:pt x="7" y="406"/>
                </a:lnTo>
                <a:lnTo>
                  <a:pt x="0" y="395"/>
                </a:lnTo>
                <a:lnTo>
                  <a:pt x="7" y="384"/>
                </a:lnTo>
                <a:lnTo>
                  <a:pt x="22" y="362"/>
                </a:lnTo>
                <a:lnTo>
                  <a:pt x="30" y="340"/>
                </a:lnTo>
                <a:lnTo>
                  <a:pt x="48" y="314"/>
                </a:lnTo>
                <a:lnTo>
                  <a:pt x="52" y="299"/>
                </a:lnTo>
                <a:lnTo>
                  <a:pt x="44" y="288"/>
                </a:lnTo>
                <a:lnTo>
                  <a:pt x="33" y="278"/>
                </a:lnTo>
                <a:lnTo>
                  <a:pt x="30" y="272"/>
                </a:lnTo>
                <a:lnTo>
                  <a:pt x="44" y="267"/>
                </a:lnTo>
                <a:lnTo>
                  <a:pt x="52" y="252"/>
                </a:lnTo>
                <a:lnTo>
                  <a:pt x="37" y="248"/>
                </a:lnTo>
                <a:lnTo>
                  <a:pt x="22" y="256"/>
                </a:lnTo>
                <a:lnTo>
                  <a:pt x="22" y="237"/>
                </a:lnTo>
                <a:lnTo>
                  <a:pt x="30" y="226"/>
                </a:lnTo>
                <a:lnTo>
                  <a:pt x="37" y="215"/>
                </a:lnTo>
                <a:lnTo>
                  <a:pt x="41" y="200"/>
                </a:lnTo>
                <a:lnTo>
                  <a:pt x="44" y="189"/>
                </a:lnTo>
                <a:lnTo>
                  <a:pt x="52" y="186"/>
                </a:lnTo>
                <a:lnTo>
                  <a:pt x="63" y="193"/>
                </a:lnTo>
                <a:lnTo>
                  <a:pt x="82" y="167"/>
                </a:lnTo>
                <a:lnTo>
                  <a:pt x="93" y="149"/>
                </a:lnTo>
                <a:lnTo>
                  <a:pt x="122" y="115"/>
                </a:lnTo>
                <a:lnTo>
                  <a:pt x="122" y="101"/>
                </a:lnTo>
                <a:lnTo>
                  <a:pt x="137" y="78"/>
                </a:lnTo>
                <a:lnTo>
                  <a:pt x="141" y="52"/>
                </a:lnTo>
                <a:lnTo>
                  <a:pt x="148" y="38"/>
                </a:lnTo>
                <a:lnTo>
                  <a:pt x="155" y="4"/>
                </a:lnTo>
                <a:close/>
              </a:path>
            </a:pathLst>
          </a:custGeom>
          <a:solidFill>
            <a:schemeClr val="accent5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grpSp>
        <p:nvGrpSpPr>
          <p:cNvPr id="11" name="Group 3"/>
          <p:cNvGrpSpPr>
            <a:grpSpLocks/>
          </p:cNvGrpSpPr>
          <p:nvPr/>
        </p:nvGrpSpPr>
        <p:grpSpPr bwMode="auto">
          <a:xfrm>
            <a:off x="2758253" y="4051037"/>
            <a:ext cx="1271586" cy="1135045"/>
            <a:chOff x="615" y="2958"/>
            <a:chExt cx="842" cy="718"/>
          </a:xfrm>
          <a:solidFill>
            <a:schemeClr val="accent5"/>
          </a:solidFill>
        </p:grpSpPr>
        <p:sp>
          <p:nvSpPr>
            <p:cNvPr id="71" name="Freeform 4"/>
            <p:cNvSpPr>
              <a:spLocks/>
            </p:cNvSpPr>
            <p:nvPr/>
          </p:nvSpPr>
          <p:spPr bwMode="auto">
            <a:xfrm>
              <a:off x="615" y="2958"/>
              <a:ext cx="811" cy="718"/>
            </a:xfrm>
            <a:custGeom>
              <a:avLst/>
              <a:gdLst>
                <a:gd name="T0" fmla="*/ 37 w 811"/>
                <a:gd name="T1" fmla="*/ 130 h 718"/>
                <a:gd name="T2" fmla="*/ 63 w 811"/>
                <a:gd name="T3" fmla="*/ 78 h 718"/>
                <a:gd name="T4" fmla="*/ 56 w 811"/>
                <a:gd name="T5" fmla="*/ 59 h 718"/>
                <a:gd name="T6" fmla="*/ 44 w 811"/>
                <a:gd name="T7" fmla="*/ 41 h 718"/>
                <a:gd name="T8" fmla="*/ 89 w 811"/>
                <a:gd name="T9" fmla="*/ 19 h 718"/>
                <a:gd name="T10" fmla="*/ 122 w 811"/>
                <a:gd name="T11" fmla="*/ 11 h 718"/>
                <a:gd name="T12" fmla="*/ 157 w 811"/>
                <a:gd name="T13" fmla="*/ 4 h 718"/>
                <a:gd name="T14" fmla="*/ 223 w 811"/>
                <a:gd name="T15" fmla="*/ 56 h 718"/>
                <a:gd name="T16" fmla="*/ 270 w 811"/>
                <a:gd name="T17" fmla="*/ 59 h 718"/>
                <a:gd name="T18" fmla="*/ 399 w 811"/>
                <a:gd name="T19" fmla="*/ 119 h 718"/>
                <a:gd name="T20" fmla="*/ 454 w 811"/>
                <a:gd name="T21" fmla="*/ 133 h 718"/>
                <a:gd name="T22" fmla="*/ 492 w 811"/>
                <a:gd name="T23" fmla="*/ 163 h 718"/>
                <a:gd name="T24" fmla="*/ 529 w 811"/>
                <a:gd name="T25" fmla="*/ 167 h 718"/>
                <a:gd name="T26" fmla="*/ 529 w 811"/>
                <a:gd name="T27" fmla="*/ 185 h 718"/>
                <a:gd name="T28" fmla="*/ 588 w 811"/>
                <a:gd name="T29" fmla="*/ 241 h 718"/>
                <a:gd name="T30" fmla="*/ 636 w 811"/>
                <a:gd name="T31" fmla="*/ 263 h 718"/>
                <a:gd name="T32" fmla="*/ 711 w 811"/>
                <a:gd name="T33" fmla="*/ 285 h 718"/>
                <a:gd name="T34" fmla="*/ 726 w 811"/>
                <a:gd name="T35" fmla="*/ 311 h 718"/>
                <a:gd name="T36" fmla="*/ 755 w 811"/>
                <a:gd name="T37" fmla="*/ 322 h 718"/>
                <a:gd name="T38" fmla="*/ 785 w 811"/>
                <a:gd name="T39" fmla="*/ 322 h 718"/>
                <a:gd name="T40" fmla="*/ 804 w 811"/>
                <a:gd name="T41" fmla="*/ 322 h 718"/>
                <a:gd name="T42" fmla="*/ 811 w 811"/>
                <a:gd name="T43" fmla="*/ 356 h 718"/>
                <a:gd name="T44" fmla="*/ 741 w 811"/>
                <a:gd name="T45" fmla="*/ 411 h 718"/>
                <a:gd name="T46" fmla="*/ 640 w 811"/>
                <a:gd name="T47" fmla="*/ 429 h 718"/>
                <a:gd name="T48" fmla="*/ 614 w 811"/>
                <a:gd name="T49" fmla="*/ 455 h 718"/>
                <a:gd name="T50" fmla="*/ 584 w 811"/>
                <a:gd name="T51" fmla="*/ 466 h 718"/>
                <a:gd name="T52" fmla="*/ 554 w 811"/>
                <a:gd name="T53" fmla="*/ 499 h 718"/>
                <a:gd name="T54" fmla="*/ 521 w 811"/>
                <a:gd name="T55" fmla="*/ 522 h 718"/>
                <a:gd name="T56" fmla="*/ 532 w 811"/>
                <a:gd name="T57" fmla="*/ 562 h 718"/>
                <a:gd name="T58" fmla="*/ 536 w 811"/>
                <a:gd name="T59" fmla="*/ 592 h 718"/>
                <a:gd name="T60" fmla="*/ 517 w 811"/>
                <a:gd name="T61" fmla="*/ 603 h 718"/>
                <a:gd name="T62" fmla="*/ 466 w 811"/>
                <a:gd name="T63" fmla="*/ 648 h 718"/>
                <a:gd name="T64" fmla="*/ 447 w 811"/>
                <a:gd name="T65" fmla="*/ 666 h 718"/>
                <a:gd name="T66" fmla="*/ 414 w 811"/>
                <a:gd name="T67" fmla="*/ 677 h 718"/>
                <a:gd name="T68" fmla="*/ 380 w 811"/>
                <a:gd name="T69" fmla="*/ 685 h 718"/>
                <a:gd name="T70" fmla="*/ 362 w 811"/>
                <a:gd name="T71" fmla="*/ 707 h 718"/>
                <a:gd name="T72" fmla="*/ 332 w 811"/>
                <a:gd name="T73" fmla="*/ 714 h 718"/>
                <a:gd name="T74" fmla="*/ 273 w 811"/>
                <a:gd name="T75" fmla="*/ 707 h 718"/>
                <a:gd name="T76" fmla="*/ 182 w 811"/>
                <a:gd name="T77" fmla="*/ 677 h 718"/>
                <a:gd name="T78" fmla="*/ 137 w 811"/>
                <a:gd name="T79" fmla="*/ 696 h 718"/>
                <a:gd name="T80" fmla="*/ 96 w 811"/>
                <a:gd name="T81" fmla="*/ 711 h 718"/>
                <a:gd name="T82" fmla="*/ 44 w 811"/>
                <a:gd name="T83" fmla="*/ 674 h 718"/>
                <a:gd name="T84" fmla="*/ 26 w 811"/>
                <a:gd name="T85" fmla="*/ 588 h 718"/>
                <a:gd name="T86" fmla="*/ 0 w 811"/>
                <a:gd name="T87" fmla="*/ 559 h 718"/>
                <a:gd name="T88" fmla="*/ 11 w 811"/>
                <a:gd name="T89" fmla="*/ 525 h 718"/>
                <a:gd name="T90" fmla="*/ 48 w 811"/>
                <a:gd name="T91" fmla="*/ 507 h 718"/>
                <a:gd name="T92" fmla="*/ 33 w 811"/>
                <a:gd name="T93" fmla="*/ 466 h 718"/>
                <a:gd name="T94" fmla="*/ 67 w 811"/>
                <a:gd name="T95" fmla="*/ 422 h 718"/>
                <a:gd name="T96" fmla="*/ 59 w 811"/>
                <a:gd name="T97" fmla="*/ 389 h 718"/>
                <a:gd name="T98" fmla="*/ 70 w 811"/>
                <a:gd name="T99" fmla="*/ 360 h 718"/>
                <a:gd name="T100" fmla="*/ 89 w 811"/>
                <a:gd name="T101" fmla="*/ 371 h 718"/>
                <a:gd name="T102" fmla="*/ 104 w 811"/>
                <a:gd name="T103" fmla="*/ 315 h 718"/>
                <a:gd name="T104" fmla="*/ 133 w 811"/>
                <a:gd name="T105" fmla="*/ 274 h 718"/>
                <a:gd name="T106" fmla="*/ 164 w 811"/>
                <a:gd name="T107" fmla="*/ 245 h 718"/>
                <a:gd name="T108" fmla="*/ 194 w 811"/>
                <a:gd name="T109" fmla="*/ 233 h 718"/>
                <a:gd name="T110" fmla="*/ 160 w 811"/>
                <a:gd name="T111" fmla="*/ 185 h 718"/>
                <a:gd name="T112" fmla="*/ 130 w 811"/>
                <a:gd name="T113" fmla="*/ 189 h 718"/>
                <a:gd name="T114" fmla="*/ 93 w 811"/>
                <a:gd name="T115" fmla="*/ 174 h 718"/>
                <a:gd name="T116" fmla="*/ 78 w 811"/>
                <a:gd name="T117" fmla="*/ 170 h 718"/>
                <a:gd name="T118" fmla="*/ 67 w 811"/>
                <a:gd name="T119" fmla="*/ 141 h 718"/>
                <a:gd name="T120" fmla="*/ 41 w 811"/>
                <a:gd name="T121" fmla="*/ 141 h 71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11"/>
                <a:gd name="T184" fmla="*/ 0 h 718"/>
                <a:gd name="T185" fmla="*/ 811 w 811"/>
                <a:gd name="T186" fmla="*/ 718 h 71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11" h="718">
                  <a:moveTo>
                    <a:pt x="41" y="141"/>
                  </a:moveTo>
                  <a:lnTo>
                    <a:pt x="37" y="130"/>
                  </a:lnTo>
                  <a:lnTo>
                    <a:pt x="41" y="115"/>
                  </a:lnTo>
                  <a:lnTo>
                    <a:pt x="63" y="78"/>
                  </a:lnTo>
                  <a:lnTo>
                    <a:pt x="52" y="70"/>
                  </a:lnTo>
                  <a:lnTo>
                    <a:pt x="56" y="59"/>
                  </a:lnTo>
                  <a:lnTo>
                    <a:pt x="44" y="56"/>
                  </a:lnTo>
                  <a:lnTo>
                    <a:pt x="44" y="41"/>
                  </a:lnTo>
                  <a:lnTo>
                    <a:pt x="52" y="30"/>
                  </a:lnTo>
                  <a:lnTo>
                    <a:pt x="89" y="19"/>
                  </a:lnTo>
                  <a:lnTo>
                    <a:pt x="119" y="22"/>
                  </a:lnTo>
                  <a:lnTo>
                    <a:pt x="122" y="11"/>
                  </a:lnTo>
                  <a:lnTo>
                    <a:pt x="145" y="0"/>
                  </a:lnTo>
                  <a:lnTo>
                    <a:pt x="157" y="4"/>
                  </a:lnTo>
                  <a:lnTo>
                    <a:pt x="182" y="37"/>
                  </a:lnTo>
                  <a:lnTo>
                    <a:pt x="223" y="56"/>
                  </a:lnTo>
                  <a:lnTo>
                    <a:pt x="260" y="56"/>
                  </a:lnTo>
                  <a:lnTo>
                    <a:pt x="270" y="59"/>
                  </a:lnTo>
                  <a:lnTo>
                    <a:pt x="369" y="115"/>
                  </a:lnTo>
                  <a:lnTo>
                    <a:pt x="399" y="119"/>
                  </a:lnTo>
                  <a:lnTo>
                    <a:pt x="421" y="141"/>
                  </a:lnTo>
                  <a:lnTo>
                    <a:pt x="454" y="133"/>
                  </a:lnTo>
                  <a:lnTo>
                    <a:pt x="473" y="145"/>
                  </a:lnTo>
                  <a:lnTo>
                    <a:pt x="492" y="163"/>
                  </a:lnTo>
                  <a:lnTo>
                    <a:pt x="514" y="163"/>
                  </a:lnTo>
                  <a:lnTo>
                    <a:pt x="529" y="167"/>
                  </a:lnTo>
                  <a:lnTo>
                    <a:pt x="536" y="174"/>
                  </a:lnTo>
                  <a:lnTo>
                    <a:pt x="529" y="185"/>
                  </a:lnTo>
                  <a:lnTo>
                    <a:pt x="529" y="200"/>
                  </a:lnTo>
                  <a:lnTo>
                    <a:pt x="588" y="241"/>
                  </a:lnTo>
                  <a:lnTo>
                    <a:pt x="621" y="267"/>
                  </a:lnTo>
                  <a:lnTo>
                    <a:pt x="636" y="263"/>
                  </a:lnTo>
                  <a:lnTo>
                    <a:pt x="654" y="259"/>
                  </a:lnTo>
                  <a:lnTo>
                    <a:pt x="711" y="285"/>
                  </a:lnTo>
                  <a:lnTo>
                    <a:pt x="718" y="304"/>
                  </a:lnTo>
                  <a:lnTo>
                    <a:pt x="726" y="311"/>
                  </a:lnTo>
                  <a:lnTo>
                    <a:pt x="744" y="315"/>
                  </a:lnTo>
                  <a:lnTo>
                    <a:pt x="755" y="322"/>
                  </a:lnTo>
                  <a:lnTo>
                    <a:pt x="770" y="322"/>
                  </a:lnTo>
                  <a:lnTo>
                    <a:pt x="785" y="322"/>
                  </a:lnTo>
                  <a:lnTo>
                    <a:pt x="800" y="326"/>
                  </a:lnTo>
                  <a:lnTo>
                    <a:pt x="804" y="322"/>
                  </a:lnTo>
                  <a:lnTo>
                    <a:pt x="811" y="337"/>
                  </a:lnTo>
                  <a:lnTo>
                    <a:pt x="811" y="356"/>
                  </a:lnTo>
                  <a:lnTo>
                    <a:pt x="800" y="367"/>
                  </a:lnTo>
                  <a:lnTo>
                    <a:pt x="741" y="411"/>
                  </a:lnTo>
                  <a:lnTo>
                    <a:pt x="715" y="411"/>
                  </a:lnTo>
                  <a:lnTo>
                    <a:pt x="640" y="429"/>
                  </a:lnTo>
                  <a:lnTo>
                    <a:pt x="614" y="433"/>
                  </a:lnTo>
                  <a:lnTo>
                    <a:pt x="614" y="455"/>
                  </a:lnTo>
                  <a:lnTo>
                    <a:pt x="599" y="455"/>
                  </a:lnTo>
                  <a:lnTo>
                    <a:pt x="584" y="466"/>
                  </a:lnTo>
                  <a:lnTo>
                    <a:pt x="569" y="485"/>
                  </a:lnTo>
                  <a:lnTo>
                    <a:pt x="554" y="499"/>
                  </a:lnTo>
                  <a:lnTo>
                    <a:pt x="536" y="503"/>
                  </a:lnTo>
                  <a:lnTo>
                    <a:pt x="521" y="522"/>
                  </a:lnTo>
                  <a:lnTo>
                    <a:pt x="521" y="548"/>
                  </a:lnTo>
                  <a:lnTo>
                    <a:pt x="532" y="562"/>
                  </a:lnTo>
                  <a:lnTo>
                    <a:pt x="536" y="573"/>
                  </a:lnTo>
                  <a:lnTo>
                    <a:pt x="536" y="592"/>
                  </a:lnTo>
                  <a:lnTo>
                    <a:pt x="532" y="599"/>
                  </a:lnTo>
                  <a:lnTo>
                    <a:pt x="517" y="603"/>
                  </a:lnTo>
                  <a:lnTo>
                    <a:pt x="495" y="622"/>
                  </a:lnTo>
                  <a:lnTo>
                    <a:pt x="466" y="648"/>
                  </a:lnTo>
                  <a:lnTo>
                    <a:pt x="454" y="659"/>
                  </a:lnTo>
                  <a:lnTo>
                    <a:pt x="447" y="666"/>
                  </a:lnTo>
                  <a:lnTo>
                    <a:pt x="447" y="677"/>
                  </a:lnTo>
                  <a:lnTo>
                    <a:pt x="414" y="677"/>
                  </a:lnTo>
                  <a:lnTo>
                    <a:pt x="395" y="681"/>
                  </a:lnTo>
                  <a:lnTo>
                    <a:pt x="380" y="685"/>
                  </a:lnTo>
                  <a:lnTo>
                    <a:pt x="373" y="692"/>
                  </a:lnTo>
                  <a:lnTo>
                    <a:pt x="362" y="707"/>
                  </a:lnTo>
                  <a:lnTo>
                    <a:pt x="343" y="714"/>
                  </a:lnTo>
                  <a:lnTo>
                    <a:pt x="332" y="714"/>
                  </a:lnTo>
                  <a:lnTo>
                    <a:pt x="310" y="711"/>
                  </a:lnTo>
                  <a:lnTo>
                    <a:pt x="273" y="707"/>
                  </a:lnTo>
                  <a:lnTo>
                    <a:pt x="208" y="681"/>
                  </a:lnTo>
                  <a:lnTo>
                    <a:pt x="182" y="677"/>
                  </a:lnTo>
                  <a:lnTo>
                    <a:pt x="157" y="685"/>
                  </a:lnTo>
                  <a:lnTo>
                    <a:pt x="137" y="696"/>
                  </a:lnTo>
                  <a:lnTo>
                    <a:pt x="115" y="699"/>
                  </a:lnTo>
                  <a:lnTo>
                    <a:pt x="96" y="711"/>
                  </a:lnTo>
                  <a:lnTo>
                    <a:pt x="85" y="718"/>
                  </a:lnTo>
                  <a:lnTo>
                    <a:pt x="44" y="674"/>
                  </a:lnTo>
                  <a:lnTo>
                    <a:pt x="44" y="611"/>
                  </a:lnTo>
                  <a:lnTo>
                    <a:pt x="26" y="588"/>
                  </a:lnTo>
                  <a:lnTo>
                    <a:pt x="4" y="570"/>
                  </a:lnTo>
                  <a:lnTo>
                    <a:pt x="0" y="559"/>
                  </a:lnTo>
                  <a:lnTo>
                    <a:pt x="0" y="536"/>
                  </a:lnTo>
                  <a:lnTo>
                    <a:pt x="11" y="525"/>
                  </a:lnTo>
                  <a:lnTo>
                    <a:pt x="41" y="514"/>
                  </a:lnTo>
                  <a:lnTo>
                    <a:pt x="48" y="507"/>
                  </a:lnTo>
                  <a:lnTo>
                    <a:pt x="37" y="492"/>
                  </a:lnTo>
                  <a:lnTo>
                    <a:pt x="33" y="466"/>
                  </a:lnTo>
                  <a:lnTo>
                    <a:pt x="44" y="444"/>
                  </a:lnTo>
                  <a:lnTo>
                    <a:pt x="67" y="422"/>
                  </a:lnTo>
                  <a:lnTo>
                    <a:pt x="67" y="404"/>
                  </a:lnTo>
                  <a:lnTo>
                    <a:pt x="59" y="389"/>
                  </a:lnTo>
                  <a:lnTo>
                    <a:pt x="67" y="363"/>
                  </a:lnTo>
                  <a:lnTo>
                    <a:pt x="70" y="360"/>
                  </a:lnTo>
                  <a:lnTo>
                    <a:pt x="81" y="360"/>
                  </a:lnTo>
                  <a:lnTo>
                    <a:pt x="89" y="371"/>
                  </a:lnTo>
                  <a:lnTo>
                    <a:pt x="100" y="356"/>
                  </a:lnTo>
                  <a:lnTo>
                    <a:pt x="104" y="315"/>
                  </a:lnTo>
                  <a:lnTo>
                    <a:pt x="133" y="289"/>
                  </a:lnTo>
                  <a:lnTo>
                    <a:pt x="133" y="274"/>
                  </a:lnTo>
                  <a:lnTo>
                    <a:pt x="133" y="263"/>
                  </a:lnTo>
                  <a:lnTo>
                    <a:pt x="164" y="245"/>
                  </a:lnTo>
                  <a:lnTo>
                    <a:pt x="186" y="241"/>
                  </a:lnTo>
                  <a:lnTo>
                    <a:pt x="194" y="233"/>
                  </a:lnTo>
                  <a:lnTo>
                    <a:pt x="175" y="215"/>
                  </a:lnTo>
                  <a:lnTo>
                    <a:pt x="160" y="185"/>
                  </a:lnTo>
                  <a:lnTo>
                    <a:pt x="153" y="178"/>
                  </a:lnTo>
                  <a:lnTo>
                    <a:pt x="130" y="189"/>
                  </a:lnTo>
                  <a:lnTo>
                    <a:pt x="115" y="182"/>
                  </a:lnTo>
                  <a:lnTo>
                    <a:pt x="93" y="174"/>
                  </a:lnTo>
                  <a:lnTo>
                    <a:pt x="85" y="178"/>
                  </a:lnTo>
                  <a:lnTo>
                    <a:pt x="78" y="170"/>
                  </a:lnTo>
                  <a:lnTo>
                    <a:pt x="78" y="156"/>
                  </a:lnTo>
                  <a:lnTo>
                    <a:pt x="67" y="141"/>
                  </a:lnTo>
                  <a:lnTo>
                    <a:pt x="59" y="137"/>
                  </a:lnTo>
                  <a:lnTo>
                    <a:pt x="41" y="141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  <p:sp>
          <p:nvSpPr>
            <p:cNvPr id="72" name="Freeform 5"/>
            <p:cNvSpPr>
              <a:spLocks/>
            </p:cNvSpPr>
            <p:nvPr/>
          </p:nvSpPr>
          <p:spPr bwMode="auto">
            <a:xfrm>
              <a:off x="1232" y="3554"/>
              <a:ext cx="31" cy="22"/>
            </a:xfrm>
            <a:custGeom>
              <a:avLst/>
              <a:gdLst>
                <a:gd name="T0" fmla="*/ 31 w 31"/>
                <a:gd name="T1" fmla="*/ 0 h 22"/>
                <a:gd name="T2" fmla="*/ 16 w 31"/>
                <a:gd name="T3" fmla="*/ 0 h 22"/>
                <a:gd name="T4" fmla="*/ 0 w 31"/>
                <a:gd name="T5" fmla="*/ 15 h 22"/>
                <a:gd name="T6" fmla="*/ 8 w 31"/>
                <a:gd name="T7" fmla="*/ 22 h 22"/>
                <a:gd name="T8" fmla="*/ 23 w 31"/>
                <a:gd name="T9" fmla="*/ 22 h 22"/>
                <a:gd name="T10" fmla="*/ 31 w 31"/>
                <a:gd name="T11" fmla="*/ 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"/>
                <a:gd name="T19" fmla="*/ 0 h 22"/>
                <a:gd name="T20" fmla="*/ 31 w 31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" h="22">
                  <a:moveTo>
                    <a:pt x="31" y="0"/>
                  </a:moveTo>
                  <a:lnTo>
                    <a:pt x="16" y="0"/>
                  </a:lnTo>
                  <a:lnTo>
                    <a:pt x="0" y="15"/>
                  </a:lnTo>
                  <a:lnTo>
                    <a:pt x="8" y="22"/>
                  </a:lnTo>
                  <a:lnTo>
                    <a:pt x="23" y="22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  <p:sp>
          <p:nvSpPr>
            <p:cNvPr id="73" name="Freeform 6"/>
            <p:cNvSpPr>
              <a:spLocks/>
            </p:cNvSpPr>
            <p:nvPr/>
          </p:nvSpPr>
          <p:spPr bwMode="auto">
            <a:xfrm>
              <a:off x="1323" y="3498"/>
              <a:ext cx="71" cy="56"/>
            </a:xfrm>
            <a:custGeom>
              <a:avLst/>
              <a:gdLst>
                <a:gd name="T0" fmla="*/ 52 w 71"/>
                <a:gd name="T1" fmla="*/ 0 h 56"/>
                <a:gd name="T2" fmla="*/ 45 w 71"/>
                <a:gd name="T3" fmla="*/ 7 h 56"/>
                <a:gd name="T4" fmla="*/ 15 w 71"/>
                <a:gd name="T5" fmla="*/ 11 h 56"/>
                <a:gd name="T6" fmla="*/ 0 w 71"/>
                <a:gd name="T7" fmla="*/ 30 h 56"/>
                <a:gd name="T8" fmla="*/ 22 w 71"/>
                <a:gd name="T9" fmla="*/ 45 h 56"/>
                <a:gd name="T10" fmla="*/ 34 w 71"/>
                <a:gd name="T11" fmla="*/ 56 h 56"/>
                <a:gd name="T12" fmla="*/ 56 w 71"/>
                <a:gd name="T13" fmla="*/ 52 h 56"/>
                <a:gd name="T14" fmla="*/ 71 w 71"/>
                <a:gd name="T15" fmla="*/ 45 h 56"/>
                <a:gd name="T16" fmla="*/ 67 w 71"/>
                <a:gd name="T17" fmla="*/ 30 h 56"/>
                <a:gd name="T18" fmla="*/ 56 w 71"/>
                <a:gd name="T19" fmla="*/ 19 h 56"/>
                <a:gd name="T20" fmla="*/ 52 w 71"/>
                <a:gd name="T21" fmla="*/ 0 h 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1"/>
                <a:gd name="T34" fmla="*/ 0 h 56"/>
                <a:gd name="T35" fmla="*/ 71 w 71"/>
                <a:gd name="T36" fmla="*/ 56 h 5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1" h="56">
                  <a:moveTo>
                    <a:pt x="52" y="0"/>
                  </a:moveTo>
                  <a:lnTo>
                    <a:pt x="45" y="7"/>
                  </a:lnTo>
                  <a:lnTo>
                    <a:pt x="15" y="11"/>
                  </a:lnTo>
                  <a:lnTo>
                    <a:pt x="0" y="30"/>
                  </a:lnTo>
                  <a:lnTo>
                    <a:pt x="22" y="45"/>
                  </a:lnTo>
                  <a:lnTo>
                    <a:pt x="34" y="56"/>
                  </a:lnTo>
                  <a:lnTo>
                    <a:pt x="56" y="52"/>
                  </a:lnTo>
                  <a:lnTo>
                    <a:pt x="71" y="45"/>
                  </a:lnTo>
                  <a:lnTo>
                    <a:pt x="67" y="30"/>
                  </a:lnTo>
                  <a:lnTo>
                    <a:pt x="56" y="19"/>
                  </a:lnTo>
                  <a:lnTo>
                    <a:pt x="52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  <p:sp>
          <p:nvSpPr>
            <p:cNvPr id="74" name="Freeform 7"/>
            <p:cNvSpPr>
              <a:spLocks/>
            </p:cNvSpPr>
            <p:nvPr/>
          </p:nvSpPr>
          <p:spPr bwMode="auto">
            <a:xfrm>
              <a:off x="1434" y="3502"/>
              <a:ext cx="23" cy="29"/>
            </a:xfrm>
            <a:custGeom>
              <a:avLst/>
              <a:gdLst>
                <a:gd name="T0" fmla="*/ 15 w 23"/>
                <a:gd name="T1" fmla="*/ 0 h 29"/>
                <a:gd name="T2" fmla="*/ 0 w 23"/>
                <a:gd name="T3" fmla="*/ 7 h 29"/>
                <a:gd name="T4" fmla="*/ 12 w 23"/>
                <a:gd name="T5" fmla="*/ 18 h 29"/>
                <a:gd name="T6" fmla="*/ 23 w 23"/>
                <a:gd name="T7" fmla="*/ 29 h 29"/>
                <a:gd name="T8" fmla="*/ 15 w 23"/>
                <a:gd name="T9" fmla="*/ 0 h 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"/>
                <a:gd name="T16" fmla="*/ 0 h 29"/>
                <a:gd name="T17" fmla="*/ 23 w 23"/>
                <a:gd name="T18" fmla="*/ 29 h 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" h="29">
                  <a:moveTo>
                    <a:pt x="15" y="0"/>
                  </a:moveTo>
                  <a:lnTo>
                    <a:pt x="0" y="7"/>
                  </a:lnTo>
                  <a:lnTo>
                    <a:pt x="12" y="18"/>
                  </a:lnTo>
                  <a:lnTo>
                    <a:pt x="23" y="29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</p:grpSp>
      <p:grpSp>
        <p:nvGrpSpPr>
          <p:cNvPr id="12" name="Group 8"/>
          <p:cNvGrpSpPr>
            <a:grpSpLocks/>
          </p:cNvGrpSpPr>
          <p:nvPr/>
        </p:nvGrpSpPr>
        <p:grpSpPr bwMode="auto">
          <a:xfrm>
            <a:off x="4398326" y="4085817"/>
            <a:ext cx="1113016" cy="1468603"/>
            <a:chOff x="1701" y="2980"/>
            <a:chExt cx="737" cy="929"/>
          </a:xfrm>
          <a:solidFill>
            <a:schemeClr val="accent5"/>
          </a:solidFill>
        </p:grpSpPr>
        <p:sp>
          <p:nvSpPr>
            <p:cNvPr id="68" name="Freeform 9"/>
            <p:cNvSpPr>
              <a:spLocks/>
            </p:cNvSpPr>
            <p:nvPr/>
          </p:nvSpPr>
          <p:spPr bwMode="auto">
            <a:xfrm>
              <a:off x="1727" y="3472"/>
              <a:ext cx="119" cy="193"/>
            </a:xfrm>
            <a:custGeom>
              <a:avLst/>
              <a:gdLst>
                <a:gd name="T0" fmla="*/ 71 w 119"/>
                <a:gd name="T1" fmla="*/ 0 h 193"/>
                <a:gd name="T2" fmla="*/ 52 w 119"/>
                <a:gd name="T3" fmla="*/ 11 h 193"/>
                <a:gd name="T4" fmla="*/ 37 w 119"/>
                <a:gd name="T5" fmla="*/ 22 h 193"/>
                <a:gd name="T6" fmla="*/ 22 w 119"/>
                <a:gd name="T7" fmla="*/ 26 h 193"/>
                <a:gd name="T8" fmla="*/ 0 w 119"/>
                <a:gd name="T9" fmla="*/ 22 h 193"/>
                <a:gd name="T10" fmla="*/ 4 w 119"/>
                <a:gd name="T11" fmla="*/ 45 h 193"/>
                <a:gd name="T12" fmla="*/ 15 w 119"/>
                <a:gd name="T13" fmla="*/ 59 h 193"/>
                <a:gd name="T14" fmla="*/ 11 w 119"/>
                <a:gd name="T15" fmla="*/ 97 h 193"/>
                <a:gd name="T16" fmla="*/ 11 w 119"/>
                <a:gd name="T17" fmla="*/ 115 h 193"/>
                <a:gd name="T18" fmla="*/ 15 w 119"/>
                <a:gd name="T19" fmla="*/ 130 h 193"/>
                <a:gd name="T20" fmla="*/ 4 w 119"/>
                <a:gd name="T21" fmla="*/ 160 h 193"/>
                <a:gd name="T22" fmla="*/ 7 w 119"/>
                <a:gd name="T23" fmla="*/ 182 h 193"/>
                <a:gd name="T24" fmla="*/ 22 w 119"/>
                <a:gd name="T25" fmla="*/ 193 h 193"/>
                <a:gd name="T26" fmla="*/ 44 w 119"/>
                <a:gd name="T27" fmla="*/ 178 h 193"/>
                <a:gd name="T28" fmla="*/ 52 w 119"/>
                <a:gd name="T29" fmla="*/ 174 h 193"/>
                <a:gd name="T30" fmla="*/ 75 w 119"/>
                <a:gd name="T31" fmla="*/ 178 h 193"/>
                <a:gd name="T32" fmla="*/ 90 w 119"/>
                <a:gd name="T33" fmla="*/ 163 h 193"/>
                <a:gd name="T34" fmla="*/ 90 w 119"/>
                <a:gd name="T35" fmla="*/ 148 h 193"/>
                <a:gd name="T36" fmla="*/ 108 w 119"/>
                <a:gd name="T37" fmla="*/ 119 h 193"/>
                <a:gd name="T38" fmla="*/ 115 w 119"/>
                <a:gd name="T39" fmla="*/ 100 h 193"/>
                <a:gd name="T40" fmla="*/ 108 w 119"/>
                <a:gd name="T41" fmla="*/ 82 h 193"/>
                <a:gd name="T42" fmla="*/ 119 w 119"/>
                <a:gd name="T43" fmla="*/ 59 h 193"/>
                <a:gd name="T44" fmla="*/ 112 w 119"/>
                <a:gd name="T45" fmla="*/ 26 h 193"/>
                <a:gd name="T46" fmla="*/ 108 w 119"/>
                <a:gd name="T47" fmla="*/ 7 h 193"/>
                <a:gd name="T48" fmla="*/ 71 w 119"/>
                <a:gd name="T49" fmla="*/ 0 h 19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19"/>
                <a:gd name="T76" fmla="*/ 0 h 193"/>
                <a:gd name="T77" fmla="*/ 119 w 119"/>
                <a:gd name="T78" fmla="*/ 193 h 19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19" h="193">
                  <a:moveTo>
                    <a:pt x="71" y="0"/>
                  </a:moveTo>
                  <a:lnTo>
                    <a:pt x="52" y="11"/>
                  </a:lnTo>
                  <a:lnTo>
                    <a:pt x="37" y="22"/>
                  </a:lnTo>
                  <a:lnTo>
                    <a:pt x="22" y="26"/>
                  </a:lnTo>
                  <a:lnTo>
                    <a:pt x="0" y="22"/>
                  </a:lnTo>
                  <a:lnTo>
                    <a:pt x="4" y="45"/>
                  </a:lnTo>
                  <a:lnTo>
                    <a:pt x="15" y="59"/>
                  </a:lnTo>
                  <a:lnTo>
                    <a:pt x="11" y="97"/>
                  </a:lnTo>
                  <a:lnTo>
                    <a:pt x="11" y="115"/>
                  </a:lnTo>
                  <a:lnTo>
                    <a:pt x="15" y="130"/>
                  </a:lnTo>
                  <a:lnTo>
                    <a:pt x="4" y="160"/>
                  </a:lnTo>
                  <a:lnTo>
                    <a:pt x="7" y="182"/>
                  </a:lnTo>
                  <a:lnTo>
                    <a:pt x="22" y="193"/>
                  </a:lnTo>
                  <a:lnTo>
                    <a:pt x="44" y="178"/>
                  </a:lnTo>
                  <a:lnTo>
                    <a:pt x="52" y="174"/>
                  </a:lnTo>
                  <a:lnTo>
                    <a:pt x="75" y="178"/>
                  </a:lnTo>
                  <a:lnTo>
                    <a:pt x="90" y="163"/>
                  </a:lnTo>
                  <a:lnTo>
                    <a:pt x="90" y="148"/>
                  </a:lnTo>
                  <a:lnTo>
                    <a:pt x="108" y="119"/>
                  </a:lnTo>
                  <a:lnTo>
                    <a:pt x="115" y="100"/>
                  </a:lnTo>
                  <a:lnTo>
                    <a:pt x="108" y="82"/>
                  </a:lnTo>
                  <a:lnTo>
                    <a:pt x="119" y="59"/>
                  </a:lnTo>
                  <a:lnTo>
                    <a:pt x="112" y="26"/>
                  </a:lnTo>
                  <a:lnTo>
                    <a:pt x="108" y="7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  <p:sp>
          <p:nvSpPr>
            <p:cNvPr id="69" name="Freeform 10"/>
            <p:cNvSpPr>
              <a:spLocks/>
            </p:cNvSpPr>
            <p:nvPr/>
          </p:nvSpPr>
          <p:spPr bwMode="auto">
            <a:xfrm>
              <a:off x="2002" y="3773"/>
              <a:ext cx="216" cy="136"/>
            </a:xfrm>
            <a:custGeom>
              <a:avLst/>
              <a:gdLst>
                <a:gd name="T0" fmla="*/ 205 w 216"/>
                <a:gd name="T1" fmla="*/ 0 h 136"/>
                <a:gd name="T2" fmla="*/ 216 w 216"/>
                <a:gd name="T3" fmla="*/ 11 h 136"/>
                <a:gd name="T4" fmla="*/ 209 w 216"/>
                <a:gd name="T5" fmla="*/ 22 h 136"/>
                <a:gd name="T6" fmla="*/ 201 w 216"/>
                <a:gd name="T7" fmla="*/ 40 h 136"/>
                <a:gd name="T8" fmla="*/ 190 w 216"/>
                <a:gd name="T9" fmla="*/ 51 h 136"/>
                <a:gd name="T10" fmla="*/ 194 w 216"/>
                <a:gd name="T11" fmla="*/ 85 h 136"/>
                <a:gd name="T12" fmla="*/ 201 w 216"/>
                <a:gd name="T13" fmla="*/ 110 h 136"/>
                <a:gd name="T14" fmla="*/ 182 w 216"/>
                <a:gd name="T15" fmla="*/ 121 h 136"/>
                <a:gd name="T16" fmla="*/ 179 w 216"/>
                <a:gd name="T17" fmla="*/ 132 h 136"/>
                <a:gd name="T18" fmla="*/ 164 w 216"/>
                <a:gd name="T19" fmla="*/ 136 h 136"/>
                <a:gd name="T20" fmla="*/ 142 w 216"/>
                <a:gd name="T21" fmla="*/ 114 h 136"/>
                <a:gd name="T22" fmla="*/ 127 w 216"/>
                <a:gd name="T23" fmla="*/ 114 h 136"/>
                <a:gd name="T24" fmla="*/ 115 w 216"/>
                <a:gd name="T25" fmla="*/ 96 h 136"/>
                <a:gd name="T26" fmla="*/ 93 w 216"/>
                <a:gd name="T27" fmla="*/ 85 h 136"/>
                <a:gd name="T28" fmla="*/ 78 w 216"/>
                <a:gd name="T29" fmla="*/ 81 h 136"/>
                <a:gd name="T30" fmla="*/ 63 w 216"/>
                <a:gd name="T31" fmla="*/ 74 h 136"/>
                <a:gd name="T32" fmla="*/ 48 w 216"/>
                <a:gd name="T33" fmla="*/ 62 h 136"/>
                <a:gd name="T34" fmla="*/ 22 w 216"/>
                <a:gd name="T35" fmla="*/ 44 h 136"/>
                <a:gd name="T36" fmla="*/ 11 w 216"/>
                <a:gd name="T37" fmla="*/ 40 h 136"/>
                <a:gd name="T38" fmla="*/ 0 w 216"/>
                <a:gd name="T39" fmla="*/ 29 h 136"/>
                <a:gd name="T40" fmla="*/ 0 w 216"/>
                <a:gd name="T41" fmla="*/ 15 h 136"/>
                <a:gd name="T42" fmla="*/ 4 w 216"/>
                <a:gd name="T43" fmla="*/ 4 h 136"/>
                <a:gd name="T44" fmla="*/ 26 w 216"/>
                <a:gd name="T45" fmla="*/ 7 h 136"/>
                <a:gd name="T46" fmla="*/ 60 w 216"/>
                <a:gd name="T47" fmla="*/ 7 h 136"/>
                <a:gd name="T48" fmla="*/ 67 w 216"/>
                <a:gd name="T49" fmla="*/ 18 h 136"/>
                <a:gd name="T50" fmla="*/ 104 w 216"/>
                <a:gd name="T51" fmla="*/ 18 h 136"/>
                <a:gd name="T52" fmla="*/ 130 w 216"/>
                <a:gd name="T53" fmla="*/ 18 h 136"/>
                <a:gd name="T54" fmla="*/ 164 w 216"/>
                <a:gd name="T55" fmla="*/ 11 h 136"/>
                <a:gd name="T56" fmla="*/ 205 w 216"/>
                <a:gd name="T57" fmla="*/ 0 h 1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16"/>
                <a:gd name="T88" fmla="*/ 0 h 136"/>
                <a:gd name="T89" fmla="*/ 216 w 216"/>
                <a:gd name="T90" fmla="*/ 136 h 1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16" h="136">
                  <a:moveTo>
                    <a:pt x="205" y="0"/>
                  </a:moveTo>
                  <a:lnTo>
                    <a:pt x="216" y="11"/>
                  </a:lnTo>
                  <a:lnTo>
                    <a:pt x="209" y="22"/>
                  </a:lnTo>
                  <a:lnTo>
                    <a:pt x="201" y="40"/>
                  </a:lnTo>
                  <a:lnTo>
                    <a:pt x="190" y="51"/>
                  </a:lnTo>
                  <a:lnTo>
                    <a:pt x="194" y="85"/>
                  </a:lnTo>
                  <a:lnTo>
                    <a:pt x="201" y="110"/>
                  </a:lnTo>
                  <a:lnTo>
                    <a:pt x="182" y="121"/>
                  </a:lnTo>
                  <a:lnTo>
                    <a:pt x="179" y="132"/>
                  </a:lnTo>
                  <a:lnTo>
                    <a:pt x="164" y="136"/>
                  </a:lnTo>
                  <a:lnTo>
                    <a:pt x="142" y="114"/>
                  </a:lnTo>
                  <a:lnTo>
                    <a:pt x="127" y="114"/>
                  </a:lnTo>
                  <a:lnTo>
                    <a:pt x="115" y="96"/>
                  </a:lnTo>
                  <a:lnTo>
                    <a:pt x="93" y="85"/>
                  </a:lnTo>
                  <a:lnTo>
                    <a:pt x="78" y="81"/>
                  </a:lnTo>
                  <a:lnTo>
                    <a:pt x="63" y="74"/>
                  </a:lnTo>
                  <a:lnTo>
                    <a:pt x="48" y="62"/>
                  </a:lnTo>
                  <a:lnTo>
                    <a:pt x="22" y="44"/>
                  </a:lnTo>
                  <a:lnTo>
                    <a:pt x="11" y="40"/>
                  </a:lnTo>
                  <a:lnTo>
                    <a:pt x="0" y="29"/>
                  </a:lnTo>
                  <a:lnTo>
                    <a:pt x="0" y="15"/>
                  </a:lnTo>
                  <a:lnTo>
                    <a:pt x="4" y="4"/>
                  </a:lnTo>
                  <a:lnTo>
                    <a:pt x="26" y="7"/>
                  </a:lnTo>
                  <a:lnTo>
                    <a:pt x="60" y="7"/>
                  </a:lnTo>
                  <a:lnTo>
                    <a:pt x="67" y="18"/>
                  </a:lnTo>
                  <a:lnTo>
                    <a:pt x="104" y="18"/>
                  </a:lnTo>
                  <a:lnTo>
                    <a:pt x="130" y="18"/>
                  </a:lnTo>
                  <a:lnTo>
                    <a:pt x="164" y="11"/>
                  </a:lnTo>
                  <a:lnTo>
                    <a:pt x="20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  <p:sp>
          <p:nvSpPr>
            <p:cNvPr id="70" name="Freeform 11"/>
            <p:cNvSpPr>
              <a:spLocks/>
            </p:cNvSpPr>
            <p:nvPr/>
          </p:nvSpPr>
          <p:spPr bwMode="auto">
            <a:xfrm>
              <a:off x="1701" y="2980"/>
              <a:ext cx="737" cy="830"/>
            </a:xfrm>
            <a:custGeom>
              <a:avLst/>
              <a:gdLst>
                <a:gd name="T0" fmla="*/ 564 w 737"/>
                <a:gd name="T1" fmla="*/ 819 h 830"/>
                <a:gd name="T2" fmla="*/ 609 w 737"/>
                <a:gd name="T3" fmla="*/ 741 h 830"/>
                <a:gd name="T4" fmla="*/ 628 w 737"/>
                <a:gd name="T5" fmla="*/ 715 h 830"/>
                <a:gd name="T6" fmla="*/ 613 w 737"/>
                <a:gd name="T7" fmla="*/ 678 h 830"/>
                <a:gd name="T8" fmla="*/ 594 w 737"/>
                <a:gd name="T9" fmla="*/ 674 h 830"/>
                <a:gd name="T10" fmla="*/ 609 w 737"/>
                <a:gd name="T11" fmla="*/ 645 h 830"/>
                <a:gd name="T12" fmla="*/ 632 w 737"/>
                <a:gd name="T13" fmla="*/ 604 h 830"/>
                <a:gd name="T14" fmla="*/ 702 w 737"/>
                <a:gd name="T15" fmla="*/ 652 h 830"/>
                <a:gd name="T16" fmla="*/ 731 w 737"/>
                <a:gd name="T17" fmla="*/ 652 h 830"/>
                <a:gd name="T18" fmla="*/ 709 w 737"/>
                <a:gd name="T19" fmla="*/ 596 h 830"/>
                <a:gd name="T20" fmla="*/ 687 w 737"/>
                <a:gd name="T21" fmla="*/ 593 h 830"/>
                <a:gd name="T22" fmla="*/ 609 w 737"/>
                <a:gd name="T23" fmla="*/ 530 h 830"/>
                <a:gd name="T24" fmla="*/ 560 w 737"/>
                <a:gd name="T25" fmla="*/ 496 h 830"/>
                <a:gd name="T26" fmla="*/ 564 w 737"/>
                <a:gd name="T27" fmla="*/ 474 h 830"/>
                <a:gd name="T28" fmla="*/ 490 w 737"/>
                <a:gd name="T29" fmla="*/ 440 h 830"/>
                <a:gd name="T30" fmla="*/ 457 w 737"/>
                <a:gd name="T31" fmla="*/ 411 h 830"/>
                <a:gd name="T32" fmla="*/ 379 w 737"/>
                <a:gd name="T33" fmla="*/ 293 h 830"/>
                <a:gd name="T34" fmla="*/ 364 w 737"/>
                <a:gd name="T35" fmla="*/ 200 h 830"/>
                <a:gd name="T36" fmla="*/ 342 w 737"/>
                <a:gd name="T37" fmla="*/ 163 h 830"/>
                <a:gd name="T38" fmla="*/ 405 w 737"/>
                <a:gd name="T39" fmla="*/ 134 h 830"/>
                <a:gd name="T40" fmla="*/ 434 w 737"/>
                <a:gd name="T41" fmla="*/ 70 h 830"/>
                <a:gd name="T42" fmla="*/ 368 w 737"/>
                <a:gd name="T43" fmla="*/ 41 h 830"/>
                <a:gd name="T44" fmla="*/ 357 w 737"/>
                <a:gd name="T45" fmla="*/ 15 h 830"/>
                <a:gd name="T46" fmla="*/ 264 w 737"/>
                <a:gd name="T47" fmla="*/ 4 h 830"/>
                <a:gd name="T48" fmla="*/ 220 w 737"/>
                <a:gd name="T49" fmla="*/ 52 h 830"/>
                <a:gd name="T50" fmla="*/ 182 w 737"/>
                <a:gd name="T51" fmla="*/ 48 h 830"/>
                <a:gd name="T52" fmla="*/ 134 w 737"/>
                <a:gd name="T53" fmla="*/ 63 h 830"/>
                <a:gd name="T54" fmla="*/ 116 w 737"/>
                <a:gd name="T55" fmla="*/ 30 h 830"/>
                <a:gd name="T56" fmla="*/ 90 w 737"/>
                <a:gd name="T57" fmla="*/ 59 h 830"/>
                <a:gd name="T58" fmla="*/ 22 w 737"/>
                <a:gd name="T59" fmla="*/ 85 h 830"/>
                <a:gd name="T60" fmla="*/ 7 w 737"/>
                <a:gd name="T61" fmla="*/ 137 h 830"/>
                <a:gd name="T62" fmla="*/ 0 w 737"/>
                <a:gd name="T63" fmla="*/ 189 h 830"/>
                <a:gd name="T64" fmla="*/ 30 w 737"/>
                <a:gd name="T65" fmla="*/ 208 h 830"/>
                <a:gd name="T66" fmla="*/ 52 w 737"/>
                <a:gd name="T67" fmla="*/ 249 h 830"/>
                <a:gd name="T68" fmla="*/ 123 w 737"/>
                <a:gd name="T69" fmla="*/ 211 h 830"/>
                <a:gd name="T70" fmla="*/ 190 w 737"/>
                <a:gd name="T71" fmla="*/ 271 h 830"/>
                <a:gd name="T72" fmla="*/ 220 w 737"/>
                <a:gd name="T73" fmla="*/ 352 h 830"/>
                <a:gd name="T74" fmla="*/ 271 w 737"/>
                <a:gd name="T75" fmla="*/ 397 h 830"/>
                <a:gd name="T76" fmla="*/ 338 w 737"/>
                <a:gd name="T77" fmla="*/ 478 h 830"/>
                <a:gd name="T78" fmla="*/ 442 w 737"/>
                <a:gd name="T79" fmla="*/ 555 h 830"/>
                <a:gd name="T80" fmla="*/ 475 w 737"/>
                <a:gd name="T81" fmla="*/ 578 h 830"/>
                <a:gd name="T82" fmla="*/ 501 w 737"/>
                <a:gd name="T83" fmla="*/ 630 h 830"/>
                <a:gd name="T84" fmla="*/ 542 w 737"/>
                <a:gd name="T85" fmla="*/ 645 h 830"/>
                <a:gd name="T86" fmla="*/ 557 w 737"/>
                <a:gd name="T87" fmla="*/ 711 h 830"/>
                <a:gd name="T88" fmla="*/ 545 w 737"/>
                <a:gd name="T89" fmla="*/ 760 h 830"/>
                <a:gd name="T90" fmla="*/ 534 w 737"/>
                <a:gd name="T91" fmla="*/ 819 h 8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37"/>
                <a:gd name="T139" fmla="*/ 0 h 830"/>
                <a:gd name="T140" fmla="*/ 737 w 737"/>
                <a:gd name="T141" fmla="*/ 830 h 83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37" h="830">
                  <a:moveTo>
                    <a:pt x="534" y="819"/>
                  </a:moveTo>
                  <a:lnTo>
                    <a:pt x="545" y="830"/>
                  </a:lnTo>
                  <a:lnTo>
                    <a:pt x="564" y="819"/>
                  </a:lnTo>
                  <a:lnTo>
                    <a:pt x="586" y="789"/>
                  </a:lnTo>
                  <a:lnTo>
                    <a:pt x="597" y="745"/>
                  </a:lnTo>
                  <a:lnTo>
                    <a:pt x="609" y="741"/>
                  </a:lnTo>
                  <a:lnTo>
                    <a:pt x="617" y="748"/>
                  </a:lnTo>
                  <a:lnTo>
                    <a:pt x="632" y="734"/>
                  </a:lnTo>
                  <a:lnTo>
                    <a:pt x="628" y="715"/>
                  </a:lnTo>
                  <a:lnTo>
                    <a:pt x="635" y="700"/>
                  </a:lnTo>
                  <a:lnTo>
                    <a:pt x="632" y="693"/>
                  </a:lnTo>
                  <a:lnTo>
                    <a:pt x="613" y="678"/>
                  </a:lnTo>
                  <a:lnTo>
                    <a:pt x="606" y="678"/>
                  </a:lnTo>
                  <a:lnTo>
                    <a:pt x="609" y="670"/>
                  </a:lnTo>
                  <a:lnTo>
                    <a:pt x="594" y="674"/>
                  </a:lnTo>
                  <a:lnTo>
                    <a:pt x="586" y="667"/>
                  </a:lnTo>
                  <a:lnTo>
                    <a:pt x="586" y="659"/>
                  </a:lnTo>
                  <a:lnTo>
                    <a:pt x="609" y="645"/>
                  </a:lnTo>
                  <a:lnTo>
                    <a:pt x="620" y="630"/>
                  </a:lnTo>
                  <a:lnTo>
                    <a:pt x="620" y="607"/>
                  </a:lnTo>
                  <a:lnTo>
                    <a:pt x="632" y="604"/>
                  </a:lnTo>
                  <a:lnTo>
                    <a:pt x="669" y="622"/>
                  </a:lnTo>
                  <a:lnTo>
                    <a:pt x="683" y="626"/>
                  </a:lnTo>
                  <a:lnTo>
                    <a:pt x="702" y="652"/>
                  </a:lnTo>
                  <a:lnTo>
                    <a:pt x="709" y="667"/>
                  </a:lnTo>
                  <a:lnTo>
                    <a:pt x="720" y="667"/>
                  </a:lnTo>
                  <a:lnTo>
                    <a:pt x="731" y="652"/>
                  </a:lnTo>
                  <a:lnTo>
                    <a:pt x="737" y="637"/>
                  </a:lnTo>
                  <a:lnTo>
                    <a:pt x="724" y="611"/>
                  </a:lnTo>
                  <a:lnTo>
                    <a:pt x="709" y="596"/>
                  </a:lnTo>
                  <a:lnTo>
                    <a:pt x="695" y="596"/>
                  </a:lnTo>
                  <a:lnTo>
                    <a:pt x="695" y="593"/>
                  </a:lnTo>
                  <a:lnTo>
                    <a:pt x="687" y="593"/>
                  </a:lnTo>
                  <a:lnTo>
                    <a:pt x="650" y="555"/>
                  </a:lnTo>
                  <a:lnTo>
                    <a:pt x="632" y="559"/>
                  </a:lnTo>
                  <a:lnTo>
                    <a:pt x="609" y="530"/>
                  </a:lnTo>
                  <a:lnTo>
                    <a:pt x="594" y="526"/>
                  </a:lnTo>
                  <a:lnTo>
                    <a:pt x="571" y="504"/>
                  </a:lnTo>
                  <a:lnTo>
                    <a:pt x="560" y="496"/>
                  </a:lnTo>
                  <a:lnTo>
                    <a:pt x="568" y="489"/>
                  </a:lnTo>
                  <a:lnTo>
                    <a:pt x="579" y="485"/>
                  </a:lnTo>
                  <a:lnTo>
                    <a:pt x="564" y="474"/>
                  </a:lnTo>
                  <a:lnTo>
                    <a:pt x="545" y="481"/>
                  </a:lnTo>
                  <a:lnTo>
                    <a:pt x="531" y="474"/>
                  </a:lnTo>
                  <a:lnTo>
                    <a:pt x="490" y="440"/>
                  </a:lnTo>
                  <a:lnTo>
                    <a:pt x="486" y="426"/>
                  </a:lnTo>
                  <a:lnTo>
                    <a:pt x="471" y="422"/>
                  </a:lnTo>
                  <a:lnTo>
                    <a:pt x="457" y="411"/>
                  </a:lnTo>
                  <a:lnTo>
                    <a:pt x="419" y="330"/>
                  </a:lnTo>
                  <a:lnTo>
                    <a:pt x="408" y="319"/>
                  </a:lnTo>
                  <a:lnTo>
                    <a:pt x="379" y="293"/>
                  </a:lnTo>
                  <a:lnTo>
                    <a:pt x="345" y="241"/>
                  </a:lnTo>
                  <a:lnTo>
                    <a:pt x="345" y="211"/>
                  </a:lnTo>
                  <a:lnTo>
                    <a:pt x="364" y="200"/>
                  </a:lnTo>
                  <a:lnTo>
                    <a:pt x="364" y="185"/>
                  </a:lnTo>
                  <a:lnTo>
                    <a:pt x="349" y="171"/>
                  </a:lnTo>
                  <a:lnTo>
                    <a:pt x="342" y="163"/>
                  </a:lnTo>
                  <a:lnTo>
                    <a:pt x="345" y="152"/>
                  </a:lnTo>
                  <a:lnTo>
                    <a:pt x="360" y="145"/>
                  </a:lnTo>
                  <a:lnTo>
                    <a:pt x="405" y="134"/>
                  </a:lnTo>
                  <a:lnTo>
                    <a:pt x="423" y="122"/>
                  </a:lnTo>
                  <a:lnTo>
                    <a:pt x="438" y="108"/>
                  </a:lnTo>
                  <a:lnTo>
                    <a:pt x="434" y="70"/>
                  </a:lnTo>
                  <a:lnTo>
                    <a:pt x="438" y="56"/>
                  </a:lnTo>
                  <a:lnTo>
                    <a:pt x="416" y="52"/>
                  </a:lnTo>
                  <a:lnTo>
                    <a:pt x="368" y="41"/>
                  </a:lnTo>
                  <a:lnTo>
                    <a:pt x="360" y="30"/>
                  </a:lnTo>
                  <a:lnTo>
                    <a:pt x="357" y="26"/>
                  </a:lnTo>
                  <a:lnTo>
                    <a:pt x="357" y="15"/>
                  </a:lnTo>
                  <a:lnTo>
                    <a:pt x="353" y="4"/>
                  </a:lnTo>
                  <a:lnTo>
                    <a:pt x="327" y="0"/>
                  </a:lnTo>
                  <a:lnTo>
                    <a:pt x="264" y="4"/>
                  </a:lnTo>
                  <a:lnTo>
                    <a:pt x="257" y="19"/>
                  </a:lnTo>
                  <a:lnTo>
                    <a:pt x="234" y="22"/>
                  </a:lnTo>
                  <a:lnTo>
                    <a:pt x="220" y="52"/>
                  </a:lnTo>
                  <a:lnTo>
                    <a:pt x="220" y="63"/>
                  </a:lnTo>
                  <a:lnTo>
                    <a:pt x="205" y="52"/>
                  </a:lnTo>
                  <a:lnTo>
                    <a:pt x="182" y="48"/>
                  </a:lnTo>
                  <a:lnTo>
                    <a:pt x="168" y="56"/>
                  </a:lnTo>
                  <a:lnTo>
                    <a:pt x="157" y="78"/>
                  </a:lnTo>
                  <a:lnTo>
                    <a:pt x="134" y="63"/>
                  </a:lnTo>
                  <a:lnTo>
                    <a:pt x="138" y="41"/>
                  </a:lnTo>
                  <a:lnTo>
                    <a:pt x="131" y="26"/>
                  </a:lnTo>
                  <a:lnTo>
                    <a:pt x="116" y="30"/>
                  </a:lnTo>
                  <a:lnTo>
                    <a:pt x="112" y="48"/>
                  </a:lnTo>
                  <a:lnTo>
                    <a:pt x="101" y="59"/>
                  </a:lnTo>
                  <a:lnTo>
                    <a:pt x="90" y="59"/>
                  </a:lnTo>
                  <a:lnTo>
                    <a:pt x="37" y="52"/>
                  </a:lnTo>
                  <a:lnTo>
                    <a:pt x="19" y="67"/>
                  </a:lnTo>
                  <a:lnTo>
                    <a:pt x="22" y="85"/>
                  </a:lnTo>
                  <a:lnTo>
                    <a:pt x="26" y="100"/>
                  </a:lnTo>
                  <a:lnTo>
                    <a:pt x="0" y="122"/>
                  </a:lnTo>
                  <a:lnTo>
                    <a:pt x="7" y="137"/>
                  </a:lnTo>
                  <a:lnTo>
                    <a:pt x="15" y="145"/>
                  </a:lnTo>
                  <a:lnTo>
                    <a:pt x="0" y="163"/>
                  </a:lnTo>
                  <a:lnTo>
                    <a:pt x="0" y="189"/>
                  </a:lnTo>
                  <a:lnTo>
                    <a:pt x="7" y="200"/>
                  </a:lnTo>
                  <a:lnTo>
                    <a:pt x="22" y="200"/>
                  </a:lnTo>
                  <a:lnTo>
                    <a:pt x="30" y="208"/>
                  </a:lnTo>
                  <a:lnTo>
                    <a:pt x="37" y="226"/>
                  </a:lnTo>
                  <a:lnTo>
                    <a:pt x="37" y="245"/>
                  </a:lnTo>
                  <a:lnTo>
                    <a:pt x="52" y="249"/>
                  </a:lnTo>
                  <a:lnTo>
                    <a:pt x="63" y="245"/>
                  </a:lnTo>
                  <a:lnTo>
                    <a:pt x="105" y="204"/>
                  </a:lnTo>
                  <a:lnTo>
                    <a:pt x="123" y="211"/>
                  </a:lnTo>
                  <a:lnTo>
                    <a:pt x="160" y="230"/>
                  </a:lnTo>
                  <a:lnTo>
                    <a:pt x="186" y="249"/>
                  </a:lnTo>
                  <a:lnTo>
                    <a:pt x="190" y="271"/>
                  </a:lnTo>
                  <a:lnTo>
                    <a:pt x="205" y="286"/>
                  </a:lnTo>
                  <a:lnTo>
                    <a:pt x="212" y="312"/>
                  </a:lnTo>
                  <a:lnTo>
                    <a:pt x="220" y="352"/>
                  </a:lnTo>
                  <a:lnTo>
                    <a:pt x="231" y="371"/>
                  </a:lnTo>
                  <a:lnTo>
                    <a:pt x="245" y="387"/>
                  </a:lnTo>
                  <a:lnTo>
                    <a:pt x="271" y="397"/>
                  </a:lnTo>
                  <a:lnTo>
                    <a:pt x="294" y="433"/>
                  </a:lnTo>
                  <a:lnTo>
                    <a:pt x="316" y="463"/>
                  </a:lnTo>
                  <a:lnTo>
                    <a:pt x="338" y="478"/>
                  </a:lnTo>
                  <a:lnTo>
                    <a:pt x="379" y="526"/>
                  </a:lnTo>
                  <a:lnTo>
                    <a:pt x="408" y="526"/>
                  </a:lnTo>
                  <a:lnTo>
                    <a:pt x="442" y="555"/>
                  </a:lnTo>
                  <a:lnTo>
                    <a:pt x="442" y="585"/>
                  </a:lnTo>
                  <a:lnTo>
                    <a:pt x="453" y="593"/>
                  </a:lnTo>
                  <a:lnTo>
                    <a:pt x="475" y="578"/>
                  </a:lnTo>
                  <a:lnTo>
                    <a:pt x="479" y="593"/>
                  </a:lnTo>
                  <a:lnTo>
                    <a:pt x="479" y="611"/>
                  </a:lnTo>
                  <a:lnTo>
                    <a:pt x="501" y="630"/>
                  </a:lnTo>
                  <a:lnTo>
                    <a:pt x="508" y="641"/>
                  </a:lnTo>
                  <a:lnTo>
                    <a:pt x="538" y="633"/>
                  </a:lnTo>
                  <a:lnTo>
                    <a:pt x="542" y="645"/>
                  </a:lnTo>
                  <a:lnTo>
                    <a:pt x="538" y="670"/>
                  </a:lnTo>
                  <a:lnTo>
                    <a:pt x="553" y="693"/>
                  </a:lnTo>
                  <a:lnTo>
                    <a:pt x="557" y="711"/>
                  </a:lnTo>
                  <a:lnTo>
                    <a:pt x="564" y="730"/>
                  </a:lnTo>
                  <a:lnTo>
                    <a:pt x="560" y="745"/>
                  </a:lnTo>
                  <a:lnTo>
                    <a:pt x="545" y="760"/>
                  </a:lnTo>
                  <a:lnTo>
                    <a:pt x="542" y="778"/>
                  </a:lnTo>
                  <a:lnTo>
                    <a:pt x="531" y="800"/>
                  </a:lnTo>
                  <a:lnTo>
                    <a:pt x="534" y="819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</p:grpSp>
      <p:sp>
        <p:nvSpPr>
          <p:cNvPr id="13" name="Freeform 12"/>
          <p:cNvSpPr>
            <a:spLocks/>
          </p:cNvSpPr>
          <p:nvPr/>
        </p:nvSpPr>
        <p:spPr bwMode="auto">
          <a:xfrm>
            <a:off x="4343959" y="3900858"/>
            <a:ext cx="450039" cy="306684"/>
          </a:xfrm>
          <a:custGeom>
            <a:avLst/>
            <a:gdLst>
              <a:gd name="T0" fmla="*/ 2147483647 w 298"/>
              <a:gd name="T1" fmla="*/ 2147483647 h 194"/>
              <a:gd name="T2" fmla="*/ 2147483647 w 298"/>
              <a:gd name="T3" fmla="*/ 2147483647 h 194"/>
              <a:gd name="T4" fmla="*/ 2147483647 w 298"/>
              <a:gd name="T5" fmla="*/ 2147483647 h 194"/>
              <a:gd name="T6" fmla="*/ 2147483647 w 298"/>
              <a:gd name="T7" fmla="*/ 2147483647 h 194"/>
              <a:gd name="T8" fmla="*/ 2147483647 w 298"/>
              <a:gd name="T9" fmla="*/ 0 h 194"/>
              <a:gd name="T10" fmla="*/ 2147483647 w 298"/>
              <a:gd name="T11" fmla="*/ 2147483647 h 194"/>
              <a:gd name="T12" fmla="*/ 2147483647 w 298"/>
              <a:gd name="T13" fmla="*/ 2147483647 h 194"/>
              <a:gd name="T14" fmla="*/ 2147483647 w 298"/>
              <a:gd name="T15" fmla="*/ 2147483647 h 194"/>
              <a:gd name="T16" fmla="*/ 2147483647 w 298"/>
              <a:gd name="T17" fmla="*/ 2147483647 h 194"/>
              <a:gd name="T18" fmla="*/ 2147483647 w 298"/>
              <a:gd name="T19" fmla="*/ 2147483647 h 194"/>
              <a:gd name="T20" fmla="*/ 2147483647 w 298"/>
              <a:gd name="T21" fmla="*/ 2147483647 h 194"/>
              <a:gd name="T22" fmla="*/ 2147483647 w 298"/>
              <a:gd name="T23" fmla="*/ 2147483647 h 194"/>
              <a:gd name="T24" fmla="*/ 2147483647 w 298"/>
              <a:gd name="T25" fmla="*/ 2147483647 h 194"/>
              <a:gd name="T26" fmla="*/ 2147483647 w 298"/>
              <a:gd name="T27" fmla="*/ 2147483647 h 194"/>
              <a:gd name="T28" fmla="*/ 2147483647 w 298"/>
              <a:gd name="T29" fmla="*/ 2147483647 h 194"/>
              <a:gd name="T30" fmla="*/ 2147483647 w 298"/>
              <a:gd name="T31" fmla="*/ 2147483647 h 194"/>
              <a:gd name="T32" fmla="*/ 0 w 298"/>
              <a:gd name="T33" fmla="*/ 2147483647 h 194"/>
              <a:gd name="T34" fmla="*/ 2147483647 w 298"/>
              <a:gd name="T35" fmla="*/ 2147483647 h 194"/>
              <a:gd name="T36" fmla="*/ 2147483647 w 298"/>
              <a:gd name="T37" fmla="*/ 2147483647 h 194"/>
              <a:gd name="T38" fmla="*/ 2147483647 w 298"/>
              <a:gd name="T39" fmla="*/ 2147483647 h 194"/>
              <a:gd name="T40" fmla="*/ 2147483647 w 298"/>
              <a:gd name="T41" fmla="*/ 2147483647 h 194"/>
              <a:gd name="T42" fmla="*/ 2147483647 w 298"/>
              <a:gd name="T43" fmla="*/ 2147483647 h 194"/>
              <a:gd name="T44" fmla="*/ 2147483647 w 298"/>
              <a:gd name="T45" fmla="*/ 2147483647 h 194"/>
              <a:gd name="T46" fmla="*/ 2147483647 w 298"/>
              <a:gd name="T47" fmla="*/ 2147483647 h 194"/>
              <a:gd name="T48" fmla="*/ 2147483647 w 298"/>
              <a:gd name="T49" fmla="*/ 2147483647 h 194"/>
              <a:gd name="T50" fmla="*/ 2147483647 w 298"/>
              <a:gd name="T51" fmla="*/ 2147483647 h 194"/>
              <a:gd name="T52" fmla="*/ 2147483647 w 298"/>
              <a:gd name="T53" fmla="*/ 2147483647 h 194"/>
              <a:gd name="T54" fmla="*/ 2147483647 w 298"/>
              <a:gd name="T55" fmla="*/ 2147483647 h 194"/>
              <a:gd name="T56" fmla="*/ 2147483647 w 298"/>
              <a:gd name="T57" fmla="*/ 2147483647 h 194"/>
              <a:gd name="T58" fmla="*/ 2147483647 w 298"/>
              <a:gd name="T59" fmla="*/ 2147483647 h 194"/>
              <a:gd name="T60" fmla="*/ 2147483647 w 298"/>
              <a:gd name="T61" fmla="*/ 2147483647 h 194"/>
              <a:gd name="T62" fmla="*/ 2147483647 w 298"/>
              <a:gd name="T63" fmla="*/ 2147483647 h 194"/>
              <a:gd name="T64" fmla="*/ 2147483647 w 298"/>
              <a:gd name="T65" fmla="*/ 2147483647 h 194"/>
              <a:gd name="T66" fmla="*/ 2147483647 w 298"/>
              <a:gd name="T67" fmla="*/ 2147483647 h 194"/>
              <a:gd name="T68" fmla="*/ 2147483647 w 298"/>
              <a:gd name="T69" fmla="*/ 2147483647 h 194"/>
              <a:gd name="T70" fmla="*/ 2147483647 w 298"/>
              <a:gd name="T71" fmla="*/ 2147483647 h 194"/>
              <a:gd name="T72" fmla="*/ 2147483647 w 298"/>
              <a:gd name="T73" fmla="*/ 2147483647 h 194"/>
              <a:gd name="T74" fmla="*/ 2147483647 w 298"/>
              <a:gd name="T75" fmla="*/ 2147483647 h 194"/>
              <a:gd name="T76" fmla="*/ 2147483647 w 298"/>
              <a:gd name="T77" fmla="*/ 2147483647 h 194"/>
              <a:gd name="T78" fmla="*/ 2147483647 w 298"/>
              <a:gd name="T79" fmla="*/ 2147483647 h 194"/>
              <a:gd name="T80" fmla="*/ 2147483647 w 298"/>
              <a:gd name="T81" fmla="*/ 2147483647 h 194"/>
              <a:gd name="T82" fmla="*/ 2147483647 w 298"/>
              <a:gd name="T83" fmla="*/ 2147483647 h 194"/>
              <a:gd name="T84" fmla="*/ 2147483647 w 298"/>
              <a:gd name="T85" fmla="*/ 2147483647 h 194"/>
              <a:gd name="T86" fmla="*/ 2147483647 w 298"/>
              <a:gd name="T87" fmla="*/ 2147483647 h 194"/>
              <a:gd name="T88" fmla="*/ 2147483647 w 298"/>
              <a:gd name="T89" fmla="*/ 2147483647 h 194"/>
              <a:gd name="T90" fmla="*/ 2147483647 w 298"/>
              <a:gd name="T91" fmla="*/ 2147483647 h 194"/>
              <a:gd name="T92" fmla="*/ 2147483647 w 298"/>
              <a:gd name="T93" fmla="*/ 2147483647 h 194"/>
              <a:gd name="T94" fmla="*/ 2147483647 w 298"/>
              <a:gd name="T95" fmla="*/ 2147483647 h 194"/>
              <a:gd name="T96" fmla="*/ 2147483647 w 298"/>
              <a:gd name="T97" fmla="*/ 2147483647 h 194"/>
              <a:gd name="T98" fmla="*/ 2147483647 w 298"/>
              <a:gd name="T99" fmla="*/ 2147483647 h 194"/>
              <a:gd name="T100" fmla="*/ 2147483647 w 298"/>
              <a:gd name="T101" fmla="*/ 2147483647 h 194"/>
              <a:gd name="T102" fmla="*/ 2147483647 w 298"/>
              <a:gd name="T103" fmla="*/ 2147483647 h 194"/>
              <a:gd name="T104" fmla="*/ 2147483647 w 298"/>
              <a:gd name="T105" fmla="*/ 2147483647 h 194"/>
              <a:gd name="T106" fmla="*/ 2147483647 w 298"/>
              <a:gd name="T107" fmla="*/ 2147483647 h 194"/>
              <a:gd name="T108" fmla="*/ 2147483647 w 298"/>
              <a:gd name="T109" fmla="*/ 2147483647 h 194"/>
              <a:gd name="T110" fmla="*/ 2147483647 w 298"/>
              <a:gd name="T111" fmla="*/ 2147483647 h 194"/>
              <a:gd name="T112" fmla="*/ 2147483647 w 298"/>
              <a:gd name="T113" fmla="*/ 2147483647 h 194"/>
              <a:gd name="T114" fmla="*/ 2147483647 w 298"/>
              <a:gd name="T115" fmla="*/ 2147483647 h 194"/>
              <a:gd name="T116" fmla="*/ 2147483647 w 298"/>
              <a:gd name="T117" fmla="*/ 2147483647 h 194"/>
              <a:gd name="T118" fmla="*/ 2147483647 w 298"/>
              <a:gd name="T119" fmla="*/ 2147483647 h 19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98"/>
              <a:gd name="T181" fmla="*/ 0 h 194"/>
              <a:gd name="T182" fmla="*/ 298 w 298"/>
              <a:gd name="T183" fmla="*/ 194 h 19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98" h="194">
                <a:moveTo>
                  <a:pt x="157" y="37"/>
                </a:moveTo>
                <a:lnTo>
                  <a:pt x="142" y="24"/>
                </a:lnTo>
                <a:lnTo>
                  <a:pt x="144" y="19"/>
                </a:lnTo>
                <a:lnTo>
                  <a:pt x="135" y="11"/>
                </a:lnTo>
                <a:lnTo>
                  <a:pt x="127" y="0"/>
                </a:lnTo>
                <a:lnTo>
                  <a:pt x="117" y="11"/>
                </a:lnTo>
                <a:lnTo>
                  <a:pt x="111" y="7"/>
                </a:lnTo>
                <a:lnTo>
                  <a:pt x="100" y="17"/>
                </a:lnTo>
                <a:lnTo>
                  <a:pt x="100" y="22"/>
                </a:lnTo>
                <a:lnTo>
                  <a:pt x="87" y="28"/>
                </a:lnTo>
                <a:lnTo>
                  <a:pt x="54" y="54"/>
                </a:lnTo>
                <a:lnTo>
                  <a:pt x="45" y="65"/>
                </a:lnTo>
                <a:lnTo>
                  <a:pt x="45" y="78"/>
                </a:lnTo>
                <a:lnTo>
                  <a:pt x="33" y="82"/>
                </a:lnTo>
                <a:lnTo>
                  <a:pt x="9" y="108"/>
                </a:lnTo>
                <a:lnTo>
                  <a:pt x="9" y="117"/>
                </a:lnTo>
                <a:lnTo>
                  <a:pt x="0" y="128"/>
                </a:lnTo>
                <a:lnTo>
                  <a:pt x="4" y="141"/>
                </a:lnTo>
                <a:lnTo>
                  <a:pt x="15" y="134"/>
                </a:lnTo>
                <a:lnTo>
                  <a:pt x="26" y="122"/>
                </a:lnTo>
                <a:lnTo>
                  <a:pt x="43" y="119"/>
                </a:lnTo>
                <a:lnTo>
                  <a:pt x="54" y="122"/>
                </a:lnTo>
                <a:lnTo>
                  <a:pt x="58" y="141"/>
                </a:lnTo>
                <a:lnTo>
                  <a:pt x="56" y="154"/>
                </a:lnTo>
                <a:lnTo>
                  <a:pt x="63" y="163"/>
                </a:lnTo>
                <a:lnTo>
                  <a:pt x="72" y="169"/>
                </a:lnTo>
                <a:lnTo>
                  <a:pt x="91" y="171"/>
                </a:lnTo>
                <a:lnTo>
                  <a:pt x="133" y="176"/>
                </a:lnTo>
                <a:lnTo>
                  <a:pt x="142" y="171"/>
                </a:lnTo>
                <a:lnTo>
                  <a:pt x="148" y="163"/>
                </a:lnTo>
                <a:lnTo>
                  <a:pt x="152" y="146"/>
                </a:lnTo>
                <a:lnTo>
                  <a:pt x="167" y="145"/>
                </a:lnTo>
                <a:lnTo>
                  <a:pt x="172" y="156"/>
                </a:lnTo>
                <a:lnTo>
                  <a:pt x="172" y="181"/>
                </a:lnTo>
                <a:lnTo>
                  <a:pt x="191" y="194"/>
                </a:lnTo>
                <a:lnTo>
                  <a:pt x="205" y="172"/>
                </a:lnTo>
                <a:lnTo>
                  <a:pt x="220" y="165"/>
                </a:lnTo>
                <a:lnTo>
                  <a:pt x="237" y="167"/>
                </a:lnTo>
                <a:lnTo>
                  <a:pt x="250" y="174"/>
                </a:lnTo>
                <a:lnTo>
                  <a:pt x="255" y="180"/>
                </a:lnTo>
                <a:lnTo>
                  <a:pt x="259" y="161"/>
                </a:lnTo>
                <a:lnTo>
                  <a:pt x="269" y="139"/>
                </a:lnTo>
                <a:lnTo>
                  <a:pt x="291" y="135"/>
                </a:lnTo>
                <a:lnTo>
                  <a:pt x="298" y="121"/>
                </a:lnTo>
                <a:lnTo>
                  <a:pt x="291" y="109"/>
                </a:lnTo>
                <a:lnTo>
                  <a:pt x="281" y="104"/>
                </a:lnTo>
                <a:lnTo>
                  <a:pt x="253" y="99"/>
                </a:lnTo>
                <a:lnTo>
                  <a:pt x="252" y="85"/>
                </a:lnTo>
                <a:lnTo>
                  <a:pt x="252" y="70"/>
                </a:lnTo>
                <a:lnTo>
                  <a:pt x="252" y="59"/>
                </a:lnTo>
                <a:lnTo>
                  <a:pt x="235" y="50"/>
                </a:lnTo>
                <a:lnTo>
                  <a:pt x="226" y="54"/>
                </a:lnTo>
                <a:lnTo>
                  <a:pt x="211" y="43"/>
                </a:lnTo>
                <a:lnTo>
                  <a:pt x="209" y="35"/>
                </a:lnTo>
                <a:lnTo>
                  <a:pt x="203" y="26"/>
                </a:lnTo>
                <a:lnTo>
                  <a:pt x="203" y="22"/>
                </a:lnTo>
                <a:lnTo>
                  <a:pt x="187" y="17"/>
                </a:lnTo>
                <a:lnTo>
                  <a:pt x="181" y="24"/>
                </a:lnTo>
                <a:lnTo>
                  <a:pt x="170" y="32"/>
                </a:lnTo>
                <a:lnTo>
                  <a:pt x="157" y="37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14" name="Freeform 14"/>
          <p:cNvSpPr>
            <a:spLocks/>
          </p:cNvSpPr>
          <p:nvPr/>
        </p:nvSpPr>
        <p:spPr bwMode="auto">
          <a:xfrm>
            <a:off x="5307465" y="3907182"/>
            <a:ext cx="634283" cy="401534"/>
          </a:xfrm>
          <a:custGeom>
            <a:avLst/>
            <a:gdLst>
              <a:gd name="T0" fmla="*/ 2147483647 w 420"/>
              <a:gd name="T1" fmla="*/ 2147483647 h 254"/>
              <a:gd name="T2" fmla="*/ 2147483647 w 420"/>
              <a:gd name="T3" fmla="*/ 2147483647 h 254"/>
              <a:gd name="T4" fmla="*/ 2147483647 w 420"/>
              <a:gd name="T5" fmla="*/ 2147483647 h 254"/>
              <a:gd name="T6" fmla="*/ 2147483647 w 420"/>
              <a:gd name="T7" fmla="*/ 2147483647 h 254"/>
              <a:gd name="T8" fmla="*/ 2147483647 w 420"/>
              <a:gd name="T9" fmla="*/ 2147483647 h 254"/>
              <a:gd name="T10" fmla="*/ 2147483647 w 420"/>
              <a:gd name="T11" fmla="*/ 2147483647 h 254"/>
              <a:gd name="T12" fmla="*/ 2147483647 w 420"/>
              <a:gd name="T13" fmla="*/ 2147483647 h 254"/>
              <a:gd name="T14" fmla="*/ 2147483647 w 420"/>
              <a:gd name="T15" fmla="*/ 2147483647 h 254"/>
              <a:gd name="T16" fmla="*/ 2147483647 w 420"/>
              <a:gd name="T17" fmla="*/ 2147483647 h 254"/>
              <a:gd name="T18" fmla="*/ 2147483647 w 420"/>
              <a:gd name="T19" fmla="*/ 2147483647 h 254"/>
              <a:gd name="T20" fmla="*/ 2147483647 w 420"/>
              <a:gd name="T21" fmla="*/ 2147483647 h 254"/>
              <a:gd name="T22" fmla="*/ 2147483647 w 420"/>
              <a:gd name="T23" fmla="*/ 2147483647 h 254"/>
              <a:gd name="T24" fmla="*/ 2147483647 w 420"/>
              <a:gd name="T25" fmla="*/ 2147483647 h 254"/>
              <a:gd name="T26" fmla="*/ 2147483647 w 420"/>
              <a:gd name="T27" fmla="*/ 2147483647 h 254"/>
              <a:gd name="T28" fmla="*/ 2147483647 w 420"/>
              <a:gd name="T29" fmla="*/ 2147483647 h 254"/>
              <a:gd name="T30" fmla="*/ 2147483647 w 420"/>
              <a:gd name="T31" fmla="*/ 2147483647 h 254"/>
              <a:gd name="T32" fmla="*/ 2147483647 w 420"/>
              <a:gd name="T33" fmla="*/ 2147483647 h 254"/>
              <a:gd name="T34" fmla="*/ 2147483647 w 420"/>
              <a:gd name="T35" fmla="*/ 2147483647 h 254"/>
              <a:gd name="T36" fmla="*/ 2147483647 w 420"/>
              <a:gd name="T37" fmla="*/ 2147483647 h 254"/>
              <a:gd name="T38" fmla="*/ 2147483647 w 420"/>
              <a:gd name="T39" fmla="*/ 2147483647 h 254"/>
              <a:gd name="T40" fmla="*/ 2147483647 w 420"/>
              <a:gd name="T41" fmla="*/ 2147483647 h 254"/>
              <a:gd name="T42" fmla="*/ 2147483647 w 420"/>
              <a:gd name="T43" fmla="*/ 2147483647 h 254"/>
              <a:gd name="T44" fmla="*/ 2147483647 w 420"/>
              <a:gd name="T45" fmla="*/ 2147483647 h 254"/>
              <a:gd name="T46" fmla="*/ 2147483647 w 420"/>
              <a:gd name="T47" fmla="*/ 2147483647 h 254"/>
              <a:gd name="T48" fmla="*/ 2147483647 w 420"/>
              <a:gd name="T49" fmla="*/ 2147483647 h 254"/>
              <a:gd name="T50" fmla="*/ 2147483647 w 420"/>
              <a:gd name="T51" fmla="*/ 2147483647 h 254"/>
              <a:gd name="T52" fmla="*/ 2147483647 w 420"/>
              <a:gd name="T53" fmla="*/ 2147483647 h 254"/>
              <a:gd name="T54" fmla="*/ 2147483647 w 420"/>
              <a:gd name="T55" fmla="*/ 2147483647 h 254"/>
              <a:gd name="T56" fmla="*/ 2147483647 w 420"/>
              <a:gd name="T57" fmla="*/ 2147483647 h 254"/>
              <a:gd name="T58" fmla="*/ 2147483647 w 420"/>
              <a:gd name="T59" fmla="*/ 2147483647 h 254"/>
              <a:gd name="T60" fmla="*/ 2147483647 w 420"/>
              <a:gd name="T61" fmla="*/ 2147483647 h 254"/>
              <a:gd name="T62" fmla="*/ 2147483647 w 420"/>
              <a:gd name="T63" fmla="*/ 2147483647 h 254"/>
              <a:gd name="T64" fmla="*/ 2147483647 w 420"/>
              <a:gd name="T65" fmla="*/ 0 h 254"/>
              <a:gd name="T66" fmla="*/ 2147483647 w 420"/>
              <a:gd name="T67" fmla="*/ 2147483647 h 254"/>
              <a:gd name="T68" fmla="*/ 2147483647 w 420"/>
              <a:gd name="T69" fmla="*/ 2147483647 h 254"/>
              <a:gd name="T70" fmla="*/ 2147483647 w 420"/>
              <a:gd name="T71" fmla="*/ 2147483647 h 254"/>
              <a:gd name="T72" fmla="*/ 2147483647 w 420"/>
              <a:gd name="T73" fmla="*/ 2147483647 h 254"/>
              <a:gd name="T74" fmla="*/ 2147483647 w 420"/>
              <a:gd name="T75" fmla="*/ 2147483647 h 254"/>
              <a:gd name="T76" fmla="*/ 2147483647 w 420"/>
              <a:gd name="T77" fmla="*/ 2147483647 h 254"/>
              <a:gd name="T78" fmla="*/ 2147483647 w 420"/>
              <a:gd name="T79" fmla="*/ 2147483647 h 254"/>
              <a:gd name="T80" fmla="*/ 2147483647 w 420"/>
              <a:gd name="T81" fmla="*/ 2147483647 h 254"/>
              <a:gd name="T82" fmla="*/ 2147483647 w 420"/>
              <a:gd name="T83" fmla="*/ 2147483647 h 254"/>
              <a:gd name="T84" fmla="*/ 2147483647 w 420"/>
              <a:gd name="T85" fmla="*/ 2147483647 h 254"/>
              <a:gd name="T86" fmla="*/ 2147483647 w 420"/>
              <a:gd name="T87" fmla="*/ 2147483647 h 254"/>
              <a:gd name="T88" fmla="*/ 2147483647 w 420"/>
              <a:gd name="T89" fmla="*/ 2147483647 h 254"/>
              <a:gd name="T90" fmla="*/ 2147483647 w 420"/>
              <a:gd name="T91" fmla="*/ 2147483647 h 254"/>
              <a:gd name="T92" fmla="*/ 2147483647 w 420"/>
              <a:gd name="T93" fmla="*/ 2147483647 h 254"/>
              <a:gd name="T94" fmla="*/ 2147483647 w 420"/>
              <a:gd name="T95" fmla="*/ 2147483647 h 254"/>
              <a:gd name="T96" fmla="*/ 2147483647 w 420"/>
              <a:gd name="T97" fmla="*/ 2147483647 h 254"/>
              <a:gd name="T98" fmla="*/ 2147483647 w 420"/>
              <a:gd name="T99" fmla="*/ 2147483647 h 254"/>
              <a:gd name="T100" fmla="*/ 2147483647 w 420"/>
              <a:gd name="T101" fmla="*/ 2147483647 h 254"/>
              <a:gd name="T102" fmla="*/ 2147483647 w 420"/>
              <a:gd name="T103" fmla="*/ 2147483647 h 254"/>
              <a:gd name="T104" fmla="*/ 2147483647 w 420"/>
              <a:gd name="T105" fmla="*/ 2147483647 h 254"/>
              <a:gd name="T106" fmla="*/ 2147483647 w 420"/>
              <a:gd name="T107" fmla="*/ 2147483647 h 254"/>
              <a:gd name="T108" fmla="*/ 2147483647 w 420"/>
              <a:gd name="T109" fmla="*/ 2147483647 h 254"/>
              <a:gd name="T110" fmla="*/ 2147483647 w 420"/>
              <a:gd name="T111" fmla="*/ 2147483647 h 254"/>
              <a:gd name="T112" fmla="*/ 2147483647 w 420"/>
              <a:gd name="T113" fmla="*/ 2147483647 h 254"/>
              <a:gd name="T114" fmla="*/ 2147483647 w 420"/>
              <a:gd name="T115" fmla="*/ 2147483647 h 254"/>
              <a:gd name="T116" fmla="*/ 2147483647 w 420"/>
              <a:gd name="T117" fmla="*/ 2147483647 h 254"/>
              <a:gd name="T118" fmla="*/ 2147483647 w 420"/>
              <a:gd name="T119" fmla="*/ 2147483647 h 254"/>
              <a:gd name="T120" fmla="*/ 0 w 420"/>
              <a:gd name="T121" fmla="*/ 2147483647 h 254"/>
              <a:gd name="T122" fmla="*/ 2147483647 w 420"/>
              <a:gd name="T123" fmla="*/ 2147483647 h 25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420"/>
              <a:gd name="T187" fmla="*/ 0 h 254"/>
              <a:gd name="T188" fmla="*/ 420 w 420"/>
              <a:gd name="T189" fmla="*/ 254 h 254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420" h="254">
                <a:moveTo>
                  <a:pt x="2" y="161"/>
                </a:moveTo>
                <a:lnTo>
                  <a:pt x="15" y="172"/>
                </a:lnTo>
                <a:lnTo>
                  <a:pt x="13" y="178"/>
                </a:lnTo>
                <a:lnTo>
                  <a:pt x="17" y="189"/>
                </a:lnTo>
                <a:lnTo>
                  <a:pt x="28" y="189"/>
                </a:lnTo>
                <a:lnTo>
                  <a:pt x="70" y="230"/>
                </a:lnTo>
                <a:lnTo>
                  <a:pt x="83" y="232"/>
                </a:lnTo>
                <a:lnTo>
                  <a:pt x="117" y="254"/>
                </a:lnTo>
                <a:lnTo>
                  <a:pt x="133" y="241"/>
                </a:lnTo>
                <a:lnTo>
                  <a:pt x="157" y="243"/>
                </a:lnTo>
                <a:lnTo>
                  <a:pt x="165" y="248"/>
                </a:lnTo>
                <a:lnTo>
                  <a:pt x="183" y="241"/>
                </a:lnTo>
                <a:lnTo>
                  <a:pt x="220" y="226"/>
                </a:lnTo>
                <a:lnTo>
                  <a:pt x="263" y="219"/>
                </a:lnTo>
                <a:lnTo>
                  <a:pt x="281" y="222"/>
                </a:lnTo>
                <a:lnTo>
                  <a:pt x="287" y="232"/>
                </a:lnTo>
                <a:lnTo>
                  <a:pt x="302" y="215"/>
                </a:lnTo>
                <a:lnTo>
                  <a:pt x="322" y="208"/>
                </a:lnTo>
                <a:lnTo>
                  <a:pt x="341" y="205"/>
                </a:lnTo>
                <a:lnTo>
                  <a:pt x="374" y="172"/>
                </a:lnTo>
                <a:lnTo>
                  <a:pt x="383" y="152"/>
                </a:lnTo>
                <a:lnTo>
                  <a:pt x="387" y="113"/>
                </a:lnTo>
                <a:lnTo>
                  <a:pt x="391" y="81"/>
                </a:lnTo>
                <a:lnTo>
                  <a:pt x="404" y="80"/>
                </a:lnTo>
                <a:lnTo>
                  <a:pt x="414" y="68"/>
                </a:lnTo>
                <a:lnTo>
                  <a:pt x="420" y="59"/>
                </a:lnTo>
                <a:lnTo>
                  <a:pt x="407" y="50"/>
                </a:lnTo>
                <a:lnTo>
                  <a:pt x="400" y="54"/>
                </a:lnTo>
                <a:lnTo>
                  <a:pt x="381" y="50"/>
                </a:lnTo>
                <a:lnTo>
                  <a:pt x="370" y="35"/>
                </a:lnTo>
                <a:lnTo>
                  <a:pt x="359" y="15"/>
                </a:lnTo>
                <a:lnTo>
                  <a:pt x="346" y="15"/>
                </a:lnTo>
                <a:lnTo>
                  <a:pt x="326" y="0"/>
                </a:lnTo>
                <a:lnTo>
                  <a:pt x="315" y="2"/>
                </a:lnTo>
                <a:lnTo>
                  <a:pt x="274" y="7"/>
                </a:lnTo>
                <a:lnTo>
                  <a:pt x="266" y="19"/>
                </a:lnTo>
                <a:lnTo>
                  <a:pt x="255" y="33"/>
                </a:lnTo>
                <a:lnTo>
                  <a:pt x="240" y="41"/>
                </a:lnTo>
                <a:lnTo>
                  <a:pt x="226" y="44"/>
                </a:lnTo>
                <a:lnTo>
                  <a:pt x="216" y="41"/>
                </a:lnTo>
                <a:lnTo>
                  <a:pt x="207" y="35"/>
                </a:lnTo>
                <a:lnTo>
                  <a:pt x="200" y="33"/>
                </a:lnTo>
                <a:lnTo>
                  <a:pt x="187" y="39"/>
                </a:lnTo>
                <a:lnTo>
                  <a:pt x="170" y="48"/>
                </a:lnTo>
                <a:lnTo>
                  <a:pt x="135" y="63"/>
                </a:lnTo>
                <a:lnTo>
                  <a:pt x="120" y="65"/>
                </a:lnTo>
                <a:lnTo>
                  <a:pt x="83" y="63"/>
                </a:lnTo>
                <a:lnTo>
                  <a:pt x="78" y="61"/>
                </a:lnTo>
                <a:lnTo>
                  <a:pt x="68" y="46"/>
                </a:lnTo>
                <a:lnTo>
                  <a:pt x="56" y="39"/>
                </a:lnTo>
                <a:lnTo>
                  <a:pt x="52" y="44"/>
                </a:lnTo>
                <a:lnTo>
                  <a:pt x="50" y="59"/>
                </a:lnTo>
                <a:lnTo>
                  <a:pt x="43" y="74"/>
                </a:lnTo>
                <a:lnTo>
                  <a:pt x="30" y="74"/>
                </a:lnTo>
                <a:lnTo>
                  <a:pt x="26" y="78"/>
                </a:lnTo>
                <a:lnTo>
                  <a:pt x="33" y="93"/>
                </a:lnTo>
                <a:lnTo>
                  <a:pt x="31" y="108"/>
                </a:lnTo>
                <a:lnTo>
                  <a:pt x="22" y="122"/>
                </a:lnTo>
                <a:lnTo>
                  <a:pt x="15" y="128"/>
                </a:lnTo>
                <a:lnTo>
                  <a:pt x="4" y="133"/>
                </a:lnTo>
                <a:lnTo>
                  <a:pt x="0" y="145"/>
                </a:lnTo>
                <a:lnTo>
                  <a:pt x="2" y="161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15" name="Freeform 15"/>
          <p:cNvSpPr>
            <a:spLocks/>
          </p:cNvSpPr>
          <p:nvPr/>
        </p:nvSpPr>
        <p:spPr bwMode="auto">
          <a:xfrm>
            <a:off x="5032609" y="4160116"/>
            <a:ext cx="300530" cy="181797"/>
          </a:xfrm>
          <a:custGeom>
            <a:avLst/>
            <a:gdLst>
              <a:gd name="T0" fmla="*/ 2147483647 w 199"/>
              <a:gd name="T1" fmla="*/ 2147483647 h 115"/>
              <a:gd name="T2" fmla="*/ 2147483647 w 199"/>
              <a:gd name="T3" fmla="*/ 2147483647 h 115"/>
              <a:gd name="T4" fmla="*/ 2147483647 w 199"/>
              <a:gd name="T5" fmla="*/ 2147483647 h 115"/>
              <a:gd name="T6" fmla="*/ 2147483647 w 199"/>
              <a:gd name="T7" fmla="*/ 2147483647 h 115"/>
              <a:gd name="T8" fmla="*/ 2147483647 w 199"/>
              <a:gd name="T9" fmla="*/ 2147483647 h 115"/>
              <a:gd name="T10" fmla="*/ 0 w 199"/>
              <a:gd name="T11" fmla="*/ 2147483647 h 115"/>
              <a:gd name="T12" fmla="*/ 2147483647 w 199"/>
              <a:gd name="T13" fmla="*/ 2147483647 h 115"/>
              <a:gd name="T14" fmla="*/ 2147483647 w 199"/>
              <a:gd name="T15" fmla="*/ 2147483647 h 115"/>
              <a:gd name="T16" fmla="*/ 2147483647 w 199"/>
              <a:gd name="T17" fmla="*/ 2147483647 h 115"/>
              <a:gd name="T18" fmla="*/ 2147483647 w 199"/>
              <a:gd name="T19" fmla="*/ 2147483647 h 115"/>
              <a:gd name="T20" fmla="*/ 2147483647 w 199"/>
              <a:gd name="T21" fmla="*/ 2147483647 h 115"/>
              <a:gd name="T22" fmla="*/ 2147483647 w 199"/>
              <a:gd name="T23" fmla="*/ 2147483647 h 115"/>
              <a:gd name="T24" fmla="*/ 2147483647 w 199"/>
              <a:gd name="T25" fmla="*/ 2147483647 h 115"/>
              <a:gd name="T26" fmla="*/ 2147483647 w 199"/>
              <a:gd name="T27" fmla="*/ 2147483647 h 115"/>
              <a:gd name="T28" fmla="*/ 2147483647 w 199"/>
              <a:gd name="T29" fmla="*/ 2147483647 h 115"/>
              <a:gd name="T30" fmla="*/ 2147483647 w 199"/>
              <a:gd name="T31" fmla="*/ 2147483647 h 115"/>
              <a:gd name="T32" fmla="*/ 2147483647 w 199"/>
              <a:gd name="T33" fmla="*/ 0 h 115"/>
              <a:gd name="T34" fmla="*/ 2147483647 w 199"/>
              <a:gd name="T35" fmla="*/ 2147483647 h 115"/>
              <a:gd name="T36" fmla="*/ 2147483647 w 199"/>
              <a:gd name="T37" fmla="*/ 2147483647 h 115"/>
              <a:gd name="T38" fmla="*/ 2147483647 w 199"/>
              <a:gd name="T39" fmla="*/ 2147483647 h 115"/>
              <a:gd name="T40" fmla="*/ 2147483647 w 199"/>
              <a:gd name="T41" fmla="*/ 2147483647 h 115"/>
              <a:gd name="T42" fmla="*/ 2147483647 w 199"/>
              <a:gd name="T43" fmla="*/ 2147483647 h 115"/>
              <a:gd name="T44" fmla="*/ 2147483647 w 199"/>
              <a:gd name="T45" fmla="*/ 2147483647 h 115"/>
              <a:gd name="T46" fmla="*/ 2147483647 w 199"/>
              <a:gd name="T47" fmla="*/ 2147483647 h 115"/>
              <a:gd name="T48" fmla="*/ 2147483647 w 199"/>
              <a:gd name="T49" fmla="*/ 2147483647 h 115"/>
              <a:gd name="T50" fmla="*/ 2147483647 w 199"/>
              <a:gd name="T51" fmla="*/ 2147483647 h 115"/>
              <a:gd name="T52" fmla="*/ 2147483647 w 199"/>
              <a:gd name="T53" fmla="*/ 2147483647 h 115"/>
              <a:gd name="T54" fmla="*/ 2147483647 w 199"/>
              <a:gd name="T55" fmla="*/ 2147483647 h 115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99"/>
              <a:gd name="T85" fmla="*/ 0 h 115"/>
              <a:gd name="T86" fmla="*/ 199 w 199"/>
              <a:gd name="T87" fmla="*/ 115 h 115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99" h="115">
                <a:moveTo>
                  <a:pt x="17" y="63"/>
                </a:moveTo>
                <a:lnTo>
                  <a:pt x="37" y="83"/>
                </a:lnTo>
                <a:lnTo>
                  <a:pt x="31" y="93"/>
                </a:lnTo>
                <a:lnTo>
                  <a:pt x="22" y="100"/>
                </a:lnTo>
                <a:lnTo>
                  <a:pt x="11" y="102"/>
                </a:lnTo>
                <a:lnTo>
                  <a:pt x="0" y="104"/>
                </a:lnTo>
                <a:lnTo>
                  <a:pt x="20" y="113"/>
                </a:lnTo>
                <a:lnTo>
                  <a:pt x="28" y="115"/>
                </a:lnTo>
                <a:lnTo>
                  <a:pt x="53" y="100"/>
                </a:lnTo>
                <a:lnTo>
                  <a:pt x="108" y="114"/>
                </a:lnTo>
                <a:lnTo>
                  <a:pt x="144" y="74"/>
                </a:lnTo>
                <a:lnTo>
                  <a:pt x="151" y="57"/>
                </a:lnTo>
                <a:lnTo>
                  <a:pt x="158" y="52"/>
                </a:lnTo>
                <a:lnTo>
                  <a:pt x="178" y="54"/>
                </a:lnTo>
                <a:lnTo>
                  <a:pt x="199" y="30"/>
                </a:lnTo>
                <a:lnTo>
                  <a:pt x="197" y="15"/>
                </a:lnTo>
                <a:lnTo>
                  <a:pt x="183" y="0"/>
                </a:lnTo>
                <a:lnTo>
                  <a:pt x="173" y="2"/>
                </a:lnTo>
                <a:lnTo>
                  <a:pt x="163" y="5"/>
                </a:lnTo>
                <a:lnTo>
                  <a:pt x="145" y="1"/>
                </a:lnTo>
                <a:lnTo>
                  <a:pt x="127" y="2"/>
                </a:lnTo>
                <a:lnTo>
                  <a:pt x="109" y="7"/>
                </a:lnTo>
                <a:lnTo>
                  <a:pt x="84" y="5"/>
                </a:lnTo>
                <a:lnTo>
                  <a:pt x="73" y="20"/>
                </a:lnTo>
                <a:lnTo>
                  <a:pt x="31" y="7"/>
                </a:lnTo>
                <a:lnTo>
                  <a:pt x="15" y="7"/>
                </a:lnTo>
                <a:lnTo>
                  <a:pt x="15" y="32"/>
                </a:lnTo>
                <a:lnTo>
                  <a:pt x="17" y="63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16" name="Freeform 17"/>
          <p:cNvSpPr>
            <a:spLocks/>
          </p:cNvSpPr>
          <p:nvPr/>
        </p:nvSpPr>
        <p:spPr bwMode="auto">
          <a:xfrm>
            <a:off x="5579301" y="4767160"/>
            <a:ext cx="223509" cy="392049"/>
          </a:xfrm>
          <a:custGeom>
            <a:avLst/>
            <a:gdLst>
              <a:gd name="T0" fmla="*/ 2147483647 w 148"/>
              <a:gd name="T1" fmla="*/ 2147483647 h 248"/>
              <a:gd name="T2" fmla="*/ 2147483647 w 148"/>
              <a:gd name="T3" fmla="*/ 2147483647 h 248"/>
              <a:gd name="T4" fmla="*/ 2147483647 w 148"/>
              <a:gd name="T5" fmla="*/ 2147483647 h 248"/>
              <a:gd name="T6" fmla="*/ 2147483647 w 148"/>
              <a:gd name="T7" fmla="*/ 2147483647 h 248"/>
              <a:gd name="T8" fmla="*/ 2147483647 w 148"/>
              <a:gd name="T9" fmla="*/ 2147483647 h 248"/>
              <a:gd name="T10" fmla="*/ 2147483647 w 148"/>
              <a:gd name="T11" fmla="*/ 2147483647 h 248"/>
              <a:gd name="T12" fmla="*/ 2147483647 w 148"/>
              <a:gd name="T13" fmla="*/ 2147483647 h 248"/>
              <a:gd name="T14" fmla="*/ 2147483647 w 148"/>
              <a:gd name="T15" fmla="*/ 2147483647 h 248"/>
              <a:gd name="T16" fmla="*/ 2147483647 w 148"/>
              <a:gd name="T17" fmla="*/ 2147483647 h 248"/>
              <a:gd name="T18" fmla="*/ 0 w 148"/>
              <a:gd name="T19" fmla="*/ 2147483647 h 248"/>
              <a:gd name="T20" fmla="*/ 2147483647 w 148"/>
              <a:gd name="T21" fmla="*/ 2147483647 h 248"/>
              <a:gd name="T22" fmla="*/ 2147483647 w 148"/>
              <a:gd name="T23" fmla="*/ 2147483647 h 248"/>
              <a:gd name="T24" fmla="*/ 2147483647 w 148"/>
              <a:gd name="T25" fmla="*/ 2147483647 h 248"/>
              <a:gd name="T26" fmla="*/ 2147483647 w 148"/>
              <a:gd name="T27" fmla="*/ 2147483647 h 248"/>
              <a:gd name="T28" fmla="*/ 2147483647 w 148"/>
              <a:gd name="T29" fmla="*/ 2147483647 h 248"/>
              <a:gd name="T30" fmla="*/ 2147483647 w 148"/>
              <a:gd name="T31" fmla="*/ 2147483647 h 248"/>
              <a:gd name="T32" fmla="*/ 2147483647 w 148"/>
              <a:gd name="T33" fmla="*/ 2147483647 h 248"/>
              <a:gd name="T34" fmla="*/ 2147483647 w 148"/>
              <a:gd name="T35" fmla="*/ 2147483647 h 248"/>
              <a:gd name="T36" fmla="*/ 2147483647 w 148"/>
              <a:gd name="T37" fmla="*/ 2147483647 h 248"/>
              <a:gd name="T38" fmla="*/ 2147483647 w 148"/>
              <a:gd name="T39" fmla="*/ 2147483647 h 248"/>
              <a:gd name="T40" fmla="*/ 2147483647 w 148"/>
              <a:gd name="T41" fmla="*/ 2147483647 h 248"/>
              <a:gd name="T42" fmla="*/ 2147483647 w 148"/>
              <a:gd name="T43" fmla="*/ 2147483647 h 248"/>
              <a:gd name="T44" fmla="*/ 2147483647 w 148"/>
              <a:gd name="T45" fmla="*/ 2147483647 h 248"/>
              <a:gd name="T46" fmla="*/ 2147483647 w 148"/>
              <a:gd name="T47" fmla="*/ 2147483647 h 248"/>
              <a:gd name="T48" fmla="*/ 2147483647 w 148"/>
              <a:gd name="T49" fmla="*/ 2147483647 h 248"/>
              <a:gd name="T50" fmla="*/ 2147483647 w 148"/>
              <a:gd name="T51" fmla="*/ 2147483647 h 248"/>
              <a:gd name="T52" fmla="*/ 2147483647 w 148"/>
              <a:gd name="T53" fmla="*/ 2147483647 h 248"/>
              <a:gd name="T54" fmla="*/ 2147483647 w 148"/>
              <a:gd name="T55" fmla="*/ 2147483647 h 248"/>
              <a:gd name="T56" fmla="*/ 2147483647 w 148"/>
              <a:gd name="T57" fmla="*/ 2147483647 h 248"/>
              <a:gd name="T58" fmla="*/ 2147483647 w 148"/>
              <a:gd name="T59" fmla="*/ 2147483647 h 248"/>
              <a:gd name="T60" fmla="*/ 2147483647 w 148"/>
              <a:gd name="T61" fmla="*/ 2147483647 h 248"/>
              <a:gd name="T62" fmla="*/ 2147483647 w 148"/>
              <a:gd name="T63" fmla="*/ 2147483647 h 248"/>
              <a:gd name="T64" fmla="*/ 2147483647 w 148"/>
              <a:gd name="T65" fmla="*/ 2147483647 h 248"/>
              <a:gd name="T66" fmla="*/ 2147483647 w 148"/>
              <a:gd name="T67" fmla="*/ 2147483647 h 248"/>
              <a:gd name="T68" fmla="*/ 2147483647 w 148"/>
              <a:gd name="T69" fmla="*/ 2147483647 h 248"/>
              <a:gd name="T70" fmla="*/ 2147483647 w 148"/>
              <a:gd name="T71" fmla="*/ 2147483647 h 248"/>
              <a:gd name="T72" fmla="*/ 2147483647 w 148"/>
              <a:gd name="T73" fmla="*/ 2147483647 h 248"/>
              <a:gd name="T74" fmla="*/ 2147483647 w 148"/>
              <a:gd name="T75" fmla="*/ 2147483647 h 248"/>
              <a:gd name="T76" fmla="*/ 2147483647 w 148"/>
              <a:gd name="T77" fmla="*/ 2147483647 h 248"/>
              <a:gd name="T78" fmla="*/ 2147483647 w 148"/>
              <a:gd name="T79" fmla="*/ 2147483647 h 248"/>
              <a:gd name="T80" fmla="*/ 2147483647 w 148"/>
              <a:gd name="T81" fmla="*/ 2147483647 h 248"/>
              <a:gd name="T82" fmla="*/ 2147483647 w 148"/>
              <a:gd name="T83" fmla="*/ 2147483647 h 248"/>
              <a:gd name="T84" fmla="*/ 2147483647 w 148"/>
              <a:gd name="T85" fmla="*/ 2147483647 h 248"/>
              <a:gd name="T86" fmla="*/ 2147483647 w 148"/>
              <a:gd name="T87" fmla="*/ 0 h 248"/>
              <a:gd name="T88" fmla="*/ 2147483647 w 148"/>
              <a:gd name="T89" fmla="*/ 2147483647 h 248"/>
              <a:gd name="T90" fmla="*/ 2147483647 w 148"/>
              <a:gd name="T91" fmla="*/ 2147483647 h 248"/>
              <a:gd name="T92" fmla="*/ 2147483647 w 148"/>
              <a:gd name="T93" fmla="*/ 2147483647 h 248"/>
              <a:gd name="T94" fmla="*/ 2147483647 w 148"/>
              <a:gd name="T95" fmla="*/ 0 h 248"/>
              <a:gd name="T96" fmla="*/ 2147483647 w 148"/>
              <a:gd name="T97" fmla="*/ 2147483647 h 248"/>
              <a:gd name="T98" fmla="*/ 2147483647 w 148"/>
              <a:gd name="T99" fmla="*/ 2147483647 h 248"/>
              <a:gd name="T100" fmla="*/ 2147483647 w 148"/>
              <a:gd name="T101" fmla="*/ 2147483647 h 248"/>
              <a:gd name="T102" fmla="*/ 2147483647 w 148"/>
              <a:gd name="T103" fmla="*/ 2147483647 h 248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48"/>
              <a:gd name="T157" fmla="*/ 0 h 248"/>
              <a:gd name="T158" fmla="*/ 148 w 148"/>
              <a:gd name="T159" fmla="*/ 248 h 248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48" h="248">
                <a:moveTo>
                  <a:pt x="11" y="56"/>
                </a:moveTo>
                <a:lnTo>
                  <a:pt x="20" y="63"/>
                </a:lnTo>
                <a:lnTo>
                  <a:pt x="20" y="74"/>
                </a:lnTo>
                <a:lnTo>
                  <a:pt x="19" y="81"/>
                </a:lnTo>
                <a:lnTo>
                  <a:pt x="13" y="91"/>
                </a:lnTo>
                <a:lnTo>
                  <a:pt x="13" y="115"/>
                </a:lnTo>
                <a:lnTo>
                  <a:pt x="17" y="124"/>
                </a:lnTo>
                <a:lnTo>
                  <a:pt x="4" y="144"/>
                </a:lnTo>
                <a:lnTo>
                  <a:pt x="7" y="148"/>
                </a:lnTo>
                <a:lnTo>
                  <a:pt x="0" y="159"/>
                </a:lnTo>
                <a:lnTo>
                  <a:pt x="6" y="170"/>
                </a:lnTo>
                <a:lnTo>
                  <a:pt x="7" y="178"/>
                </a:lnTo>
                <a:lnTo>
                  <a:pt x="11" y="168"/>
                </a:lnTo>
                <a:lnTo>
                  <a:pt x="22" y="181"/>
                </a:lnTo>
                <a:lnTo>
                  <a:pt x="20" y="194"/>
                </a:lnTo>
                <a:lnTo>
                  <a:pt x="15" y="200"/>
                </a:lnTo>
                <a:lnTo>
                  <a:pt x="22" y="211"/>
                </a:lnTo>
                <a:lnTo>
                  <a:pt x="31" y="215"/>
                </a:lnTo>
                <a:lnTo>
                  <a:pt x="46" y="224"/>
                </a:lnTo>
                <a:lnTo>
                  <a:pt x="59" y="235"/>
                </a:lnTo>
                <a:lnTo>
                  <a:pt x="61" y="242"/>
                </a:lnTo>
                <a:lnTo>
                  <a:pt x="76" y="248"/>
                </a:lnTo>
                <a:lnTo>
                  <a:pt x="89" y="242"/>
                </a:lnTo>
                <a:lnTo>
                  <a:pt x="105" y="233"/>
                </a:lnTo>
                <a:lnTo>
                  <a:pt x="113" y="217"/>
                </a:lnTo>
                <a:lnTo>
                  <a:pt x="120" y="207"/>
                </a:lnTo>
                <a:lnTo>
                  <a:pt x="133" y="183"/>
                </a:lnTo>
                <a:lnTo>
                  <a:pt x="137" y="165"/>
                </a:lnTo>
                <a:lnTo>
                  <a:pt x="139" y="148"/>
                </a:lnTo>
                <a:lnTo>
                  <a:pt x="148" y="137"/>
                </a:lnTo>
                <a:lnTo>
                  <a:pt x="133" y="133"/>
                </a:lnTo>
                <a:lnTo>
                  <a:pt x="128" y="126"/>
                </a:lnTo>
                <a:lnTo>
                  <a:pt x="120" y="128"/>
                </a:lnTo>
                <a:lnTo>
                  <a:pt x="107" y="122"/>
                </a:lnTo>
                <a:lnTo>
                  <a:pt x="104" y="105"/>
                </a:lnTo>
                <a:lnTo>
                  <a:pt x="100" y="93"/>
                </a:lnTo>
                <a:lnTo>
                  <a:pt x="107" y="80"/>
                </a:lnTo>
                <a:lnTo>
                  <a:pt x="107" y="41"/>
                </a:lnTo>
                <a:lnTo>
                  <a:pt x="107" y="28"/>
                </a:lnTo>
                <a:lnTo>
                  <a:pt x="100" y="20"/>
                </a:lnTo>
                <a:lnTo>
                  <a:pt x="87" y="19"/>
                </a:lnTo>
                <a:lnTo>
                  <a:pt x="78" y="15"/>
                </a:lnTo>
                <a:lnTo>
                  <a:pt x="70" y="2"/>
                </a:lnTo>
                <a:lnTo>
                  <a:pt x="61" y="0"/>
                </a:lnTo>
                <a:lnTo>
                  <a:pt x="57" y="6"/>
                </a:lnTo>
                <a:lnTo>
                  <a:pt x="56" y="2"/>
                </a:lnTo>
                <a:lnTo>
                  <a:pt x="41" y="4"/>
                </a:lnTo>
                <a:lnTo>
                  <a:pt x="33" y="0"/>
                </a:lnTo>
                <a:lnTo>
                  <a:pt x="22" y="7"/>
                </a:lnTo>
                <a:lnTo>
                  <a:pt x="20" y="30"/>
                </a:lnTo>
                <a:lnTo>
                  <a:pt x="17" y="44"/>
                </a:lnTo>
                <a:lnTo>
                  <a:pt x="11" y="56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17" name="Freeform 19"/>
          <p:cNvSpPr>
            <a:spLocks/>
          </p:cNvSpPr>
          <p:nvPr/>
        </p:nvSpPr>
        <p:spPr bwMode="auto">
          <a:xfrm>
            <a:off x="4192940" y="3338078"/>
            <a:ext cx="317141" cy="292455"/>
          </a:xfrm>
          <a:custGeom>
            <a:avLst/>
            <a:gdLst>
              <a:gd name="T0" fmla="*/ 0 w 210"/>
              <a:gd name="T1" fmla="*/ 2147483647 h 185"/>
              <a:gd name="T2" fmla="*/ 2147483647 w 210"/>
              <a:gd name="T3" fmla="*/ 2147483647 h 185"/>
              <a:gd name="T4" fmla="*/ 2147483647 w 210"/>
              <a:gd name="T5" fmla="*/ 2147483647 h 185"/>
              <a:gd name="T6" fmla="*/ 2147483647 w 210"/>
              <a:gd name="T7" fmla="*/ 0 h 185"/>
              <a:gd name="T8" fmla="*/ 2147483647 w 210"/>
              <a:gd name="T9" fmla="*/ 2147483647 h 185"/>
              <a:gd name="T10" fmla="*/ 2147483647 w 210"/>
              <a:gd name="T11" fmla="*/ 2147483647 h 185"/>
              <a:gd name="T12" fmla="*/ 2147483647 w 210"/>
              <a:gd name="T13" fmla="*/ 2147483647 h 185"/>
              <a:gd name="T14" fmla="*/ 2147483647 w 210"/>
              <a:gd name="T15" fmla="*/ 2147483647 h 185"/>
              <a:gd name="T16" fmla="*/ 2147483647 w 210"/>
              <a:gd name="T17" fmla="*/ 2147483647 h 185"/>
              <a:gd name="T18" fmla="*/ 2147483647 w 210"/>
              <a:gd name="T19" fmla="*/ 2147483647 h 185"/>
              <a:gd name="T20" fmla="*/ 2147483647 w 210"/>
              <a:gd name="T21" fmla="*/ 2147483647 h 185"/>
              <a:gd name="T22" fmla="*/ 2147483647 w 210"/>
              <a:gd name="T23" fmla="*/ 2147483647 h 185"/>
              <a:gd name="T24" fmla="*/ 2147483647 w 210"/>
              <a:gd name="T25" fmla="*/ 2147483647 h 185"/>
              <a:gd name="T26" fmla="*/ 2147483647 w 210"/>
              <a:gd name="T27" fmla="*/ 2147483647 h 185"/>
              <a:gd name="T28" fmla="*/ 2147483647 w 210"/>
              <a:gd name="T29" fmla="*/ 2147483647 h 185"/>
              <a:gd name="T30" fmla="*/ 2147483647 w 210"/>
              <a:gd name="T31" fmla="*/ 2147483647 h 185"/>
              <a:gd name="T32" fmla="*/ 2147483647 w 210"/>
              <a:gd name="T33" fmla="*/ 2147483647 h 185"/>
              <a:gd name="T34" fmla="*/ 2147483647 w 210"/>
              <a:gd name="T35" fmla="*/ 2147483647 h 185"/>
              <a:gd name="T36" fmla="*/ 2147483647 w 210"/>
              <a:gd name="T37" fmla="*/ 2147483647 h 185"/>
              <a:gd name="T38" fmla="*/ 2147483647 w 210"/>
              <a:gd name="T39" fmla="*/ 2147483647 h 185"/>
              <a:gd name="T40" fmla="*/ 2147483647 w 210"/>
              <a:gd name="T41" fmla="*/ 2147483647 h 185"/>
              <a:gd name="T42" fmla="*/ 2147483647 w 210"/>
              <a:gd name="T43" fmla="*/ 2147483647 h 185"/>
              <a:gd name="T44" fmla="*/ 2147483647 w 210"/>
              <a:gd name="T45" fmla="*/ 2147483647 h 185"/>
              <a:gd name="T46" fmla="*/ 2147483647 w 210"/>
              <a:gd name="T47" fmla="*/ 2147483647 h 185"/>
              <a:gd name="T48" fmla="*/ 2147483647 w 210"/>
              <a:gd name="T49" fmla="*/ 2147483647 h 185"/>
              <a:gd name="T50" fmla="*/ 2147483647 w 210"/>
              <a:gd name="T51" fmla="*/ 2147483647 h 185"/>
              <a:gd name="T52" fmla="*/ 2147483647 w 210"/>
              <a:gd name="T53" fmla="*/ 2147483647 h 185"/>
              <a:gd name="T54" fmla="*/ 2147483647 w 210"/>
              <a:gd name="T55" fmla="*/ 2147483647 h 185"/>
              <a:gd name="T56" fmla="*/ 2147483647 w 210"/>
              <a:gd name="T57" fmla="*/ 2147483647 h 185"/>
              <a:gd name="T58" fmla="*/ 2147483647 w 210"/>
              <a:gd name="T59" fmla="*/ 2147483647 h 185"/>
              <a:gd name="T60" fmla="*/ 2147483647 w 210"/>
              <a:gd name="T61" fmla="*/ 2147483647 h 185"/>
              <a:gd name="T62" fmla="*/ 2147483647 w 210"/>
              <a:gd name="T63" fmla="*/ 2147483647 h 185"/>
              <a:gd name="T64" fmla="*/ 2147483647 w 210"/>
              <a:gd name="T65" fmla="*/ 2147483647 h 185"/>
              <a:gd name="T66" fmla="*/ 2147483647 w 210"/>
              <a:gd name="T67" fmla="*/ 2147483647 h 185"/>
              <a:gd name="T68" fmla="*/ 2147483647 w 210"/>
              <a:gd name="T69" fmla="*/ 2147483647 h 185"/>
              <a:gd name="T70" fmla="*/ 2147483647 w 210"/>
              <a:gd name="T71" fmla="*/ 2147483647 h 185"/>
              <a:gd name="T72" fmla="*/ 2147483647 w 210"/>
              <a:gd name="T73" fmla="*/ 2147483647 h 185"/>
              <a:gd name="T74" fmla="*/ 2147483647 w 210"/>
              <a:gd name="T75" fmla="*/ 2147483647 h 185"/>
              <a:gd name="T76" fmla="*/ 2147483647 w 210"/>
              <a:gd name="T77" fmla="*/ 2147483647 h 185"/>
              <a:gd name="T78" fmla="*/ 0 w 210"/>
              <a:gd name="T79" fmla="*/ 2147483647 h 18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10"/>
              <a:gd name="T121" fmla="*/ 0 h 185"/>
              <a:gd name="T122" fmla="*/ 210 w 210"/>
              <a:gd name="T123" fmla="*/ 185 h 185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10" h="185">
                <a:moveTo>
                  <a:pt x="0" y="33"/>
                </a:moveTo>
                <a:lnTo>
                  <a:pt x="5" y="26"/>
                </a:lnTo>
                <a:lnTo>
                  <a:pt x="3" y="17"/>
                </a:lnTo>
                <a:lnTo>
                  <a:pt x="35" y="0"/>
                </a:lnTo>
                <a:lnTo>
                  <a:pt x="38" y="6"/>
                </a:lnTo>
                <a:lnTo>
                  <a:pt x="61" y="2"/>
                </a:lnTo>
                <a:lnTo>
                  <a:pt x="79" y="3"/>
                </a:lnTo>
                <a:lnTo>
                  <a:pt x="72" y="12"/>
                </a:lnTo>
                <a:lnTo>
                  <a:pt x="76" y="24"/>
                </a:lnTo>
                <a:lnTo>
                  <a:pt x="91" y="29"/>
                </a:lnTo>
                <a:lnTo>
                  <a:pt x="106" y="28"/>
                </a:lnTo>
                <a:lnTo>
                  <a:pt x="118" y="19"/>
                </a:lnTo>
                <a:lnTo>
                  <a:pt x="138" y="17"/>
                </a:lnTo>
                <a:lnTo>
                  <a:pt x="144" y="25"/>
                </a:lnTo>
                <a:lnTo>
                  <a:pt x="156" y="32"/>
                </a:lnTo>
                <a:lnTo>
                  <a:pt x="173" y="33"/>
                </a:lnTo>
                <a:lnTo>
                  <a:pt x="170" y="47"/>
                </a:lnTo>
                <a:lnTo>
                  <a:pt x="171" y="75"/>
                </a:lnTo>
                <a:lnTo>
                  <a:pt x="174" y="92"/>
                </a:lnTo>
                <a:lnTo>
                  <a:pt x="193" y="90"/>
                </a:lnTo>
                <a:lnTo>
                  <a:pt x="199" y="102"/>
                </a:lnTo>
                <a:lnTo>
                  <a:pt x="200" y="112"/>
                </a:lnTo>
                <a:lnTo>
                  <a:pt x="210" y="126"/>
                </a:lnTo>
                <a:lnTo>
                  <a:pt x="198" y="136"/>
                </a:lnTo>
                <a:lnTo>
                  <a:pt x="187" y="144"/>
                </a:lnTo>
                <a:lnTo>
                  <a:pt x="175" y="144"/>
                </a:lnTo>
                <a:lnTo>
                  <a:pt x="161" y="148"/>
                </a:lnTo>
                <a:lnTo>
                  <a:pt x="161" y="163"/>
                </a:lnTo>
                <a:lnTo>
                  <a:pt x="155" y="173"/>
                </a:lnTo>
                <a:lnTo>
                  <a:pt x="140" y="185"/>
                </a:lnTo>
                <a:lnTo>
                  <a:pt x="115" y="166"/>
                </a:lnTo>
                <a:lnTo>
                  <a:pt x="108" y="149"/>
                </a:lnTo>
                <a:lnTo>
                  <a:pt x="85" y="144"/>
                </a:lnTo>
                <a:lnTo>
                  <a:pt x="77" y="122"/>
                </a:lnTo>
                <a:lnTo>
                  <a:pt x="61" y="109"/>
                </a:lnTo>
                <a:lnTo>
                  <a:pt x="55" y="93"/>
                </a:lnTo>
                <a:lnTo>
                  <a:pt x="42" y="77"/>
                </a:lnTo>
                <a:lnTo>
                  <a:pt x="33" y="61"/>
                </a:lnTo>
                <a:lnTo>
                  <a:pt x="16" y="49"/>
                </a:lnTo>
                <a:lnTo>
                  <a:pt x="0" y="33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18" name="Freeform 20"/>
          <p:cNvSpPr>
            <a:spLocks/>
          </p:cNvSpPr>
          <p:nvPr/>
        </p:nvSpPr>
        <p:spPr bwMode="auto">
          <a:xfrm>
            <a:off x="4408898" y="3565720"/>
            <a:ext cx="86080" cy="112240"/>
          </a:xfrm>
          <a:custGeom>
            <a:avLst/>
            <a:gdLst>
              <a:gd name="T0" fmla="*/ 2147483647 w 57"/>
              <a:gd name="T1" fmla="*/ 2147483647 h 71"/>
              <a:gd name="T2" fmla="*/ 2147483647 w 57"/>
              <a:gd name="T3" fmla="*/ 2147483647 h 71"/>
              <a:gd name="T4" fmla="*/ 2147483647 w 57"/>
              <a:gd name="T5" fmla="*/ 2147483647 h 71"/>
              <a:gd name="T6" fmla="*/ 2147483647 w 57"/>
              <a:gd name="T7" fmla="*/ 2147483647 h 71"/>
              <a:gd name="T8" fmla="*/ 2147483647 w 57"/>
              <a:gd name="T9" fmla="*/ 2147483647 h 71"/>
              <a:gd name="T10" fmla="*/ 2147483647 w 57"/>
              <a:gd name="T11" fmla="*/ 2147483647 h 71"/>
              <a:gd name="T12" fmla="*/ 2147483647 w 57"/>
              <a:gd name="T13" fmla="*/ 0 h 71"/>
              <a:gd name="T14" fmla="*/ 2147483647 w 57"/>
              <a:gd name="T15" fmla="*/ 0 h 71"/>
              <a:gd name="T16" fmla="*/ 2147483647 w 57"/>
              <a:gd name="T17" fmla="*/ 2147483647 h 71"/>
              <a:gd name="T18" fmla="*/ 2147483647 w 57"/>
              <a:gd name="T19" fmla="*/ 2147483647 h 71"/>
              <a:gd name="T20" fmla="*/ 2147483647 w 57"/>
              <a:gd name="T21" fmla="*/ 2147483647 h 71"/>
              <a:gd name="T22" fmla="*/ 0 w 57"/>
              <a:gd name="T23" fmla="*/ 2147483647 h 71"/>
              <a:gd name="T24" fmla="*/ 2147483647 w 57"/>
              <a:gd name="T25" fmla="*/ 2147483647 h 71"/>
              <a:gd name="T26" fmla="*/ 2147483647 w 57"/>
              <a:gd name="T27" fmla="*/ 2147483647 h 71"/>
              <a:gd name="T28" fmla="*/ 2147483647 w 57"/>
              <a:gd name="T29" fmla="*/ 2147483647 h 71"/>
              <a:gd name="T30" fmla="*/ 2147483647 w 57"/>
              <a:gd name="T31" fmla="*/ 2147483647 h 71"/>
              <a:gd name="T32" fmla="*/ 2147483647 w 57"/>
              <a:gd name="T33" fmla="*/ 2147483647 h 7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57"/>
              <a:gd name="T52" fmla="*/ 0 h 71"/>
              <a:gd name="T53" fmla="*/ 57 w 57"/>
              <a:gd name="T54" fmla="*/ 71 h 7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57" h="71">
                <a:moveTo>
                  <a:pt x="41" y="71"/>
                </a:moveTo>
                <a:lnTo>
                  <a:pt x="44" y="48"/>
                </a:lnTo>
                <a:lnTo>
                  <a:pt x="57" y="39"/>
                </a:lnTo>
                <a:lnTo>
                  <a:pt x="57" y="28"/>
                </a:lnTo>
                <a:lnTo>
                  <a:pt x="50" y="20"/>
                </a:lnTo>
                <a:lnTo>
                  <a:pt x="43" y="9"/>
                </a:lnTo>
                <a:lnTo>
                  <a:pt x="39" y="0"/>
                </a:lnTo>
                <a:lnTo>
                  <a:pt x="26" y="0"/>
                </a:lnTo>
                <a:lnTo>
                  <a:pt x="17" y="4"/>
                </a:lnTo>
                <a:lnTo>
                  <a:pt x="17" y="19"/>
                </a:lnTo>
                <a:lnTo>
                  <a:pt x="9" y="32"/>
                </a:lnTo>
                <a:lnTo>
                  <a:pt x="0" y="36"/>
                </a:lnTo>
                <a:lnTo>
                  <a:pt x="4" y="47"/>
                </a:lnTo>
                <a:lnTo>
                  <a:pt x="16" y="50"/>
                </a:lnTo>
                <a:lnTo>
                  <a:pt x="28" y="53"/>
                </a:lnTo>
                <a:lnTo>
                  <a:pt x="35" y="60"/>
                </a:lnTo>
                <a:lnTo>
                  <a:pt x="41" y="71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19" name="Freeform 21"/>
          <p:cNvSpPr>
            <a:spLocks/>
          </p:cNvSpPr>
          <p:nvPr/>
        </p:nvSpPr>
        <p:spPr bwMode="auto">
          <a:xfrm>
            <a:off x="4303185" y="3124665"/>
            <a:ext cx="324692" cy="358851"/>
          </a:xfrm>
          <a:custGeom>
            <a:avLst/>
            <a:gdLst>
              <a:gd name="T0" fmla="*/ 2147483647 w 215"/>
              <a:gd name="T1" fmla="*/ 2147483647 h 227"/>
              <a:gd name="T2" fmla="*/ 2147483647 w 215"/>
              <a:gd name="T3" fmla="*/ 2147483647 h 227"/>
              <a:gd name="T4" fmla="*/ 2147483647 w 215"/>
              <a:gd name="T5" fmla="*/ 2147483647 h 227"/>
              <a:gd name="T6" fmla="*/ 2147483647 w 215"/>
              <a:gd name="T7" fmla="*/ 2147483647 h 227"/>
              <a:gd name="T8" fmla="*/ 2147483647 w 215"/>
              <a:gd name="T9" fmla="*/ 2147483647 h 227"/>
              <a:gd name="T10" fmla="*/ 2147483647 w 215"/>
              <a:gd name="T11" fmla="*/ 2147483647 h 227"/>
              <a:gd name="T12" fmla="*/ 2147483647 w 215"/>
              <a:gd name="T13" fmla="*/ 2147483647 h 227"/>
              <a:gd name="T14" fmla="*/ 2147483647 w 215"/>
              <a:gd name="T15" fmla="*/ 2147483647 h 227"/>
              <a:gd name="T16" fmla="*/ 2147483647 w 215"/>
              <a:gd name="T17" fmla="*/ 2147483647 h 227"/>
              <a:gd name="T18" fmla="*/ 2147483647 w 215"/>
              <a:gd name="T19" fmla="*/ 2147483647 h 227"/>
              <a:gd name="T20" fmla="*/ 2147483647 w 215"/>
              <a:gd name="T21" fmla="*/ 2147483647 h 227"/>
              <a:gd name="T22" fmla="*/ 2147483647 w 215"/>
              <a:gd name="T23" fmla="*/ 2147483647 h 227"/>
              <a:gd name="T24" fmla="*/ 2147483647 w 215"/>
              <a:gd name="T25" fmla="*/ 2147483647 h 227"/>
              <a:gd name="T26" fmla="*/ 0 w 215"/>
              <a:gd name="T27" fmla="*/ 2147483647 h 227"/>
              <a:gd name="T28" fmla="*/ 2147483647 w 215"/>
              <a:gd name="T29" fmla="*/ 2147483647 h 227"/>
              <a:gd name="T30" fmla="*/ 2147483647 w 215"/>
              <a:gd name="T31" fmla="*/ 2147483647 h 227"/>
              <a:gd name="T32" fmla="*/ 2147483647 w 215"/>
              <a:gd name="T33" fmla="*/ 2147483647 h 227"/>
              <a:gd name="T34" fmla="*/ 2147483647 w 215"/>
              <a:gd name="T35" fmla="*/ 2147483647 h 227"/>
              <a:gd name="T36" fmla="*/ 2147483647 w 215"/>
              <a:gd name="T37" fmla="*/ 2147483647 h 227"/>
              <a:gd name="T38" fmla="*/ 2147483647 w 215"/>
              <a:gd name="T39" fmla="*/ 2147483647 h 227"/>
              <a:gd name="T40" fmla="*/ 2147483647 w 215"/>
              <a:gd name="T41" fmla="*/ 2147483647 h 227"/>
              <a:gd name="T42" fmla="*/ 2147483647 w 215"/>
              <a:gd name="T43" fmla="*/ 2147483647 h 227"/>
              <a:gd name="T44" fmla="*/ 2147483647 w 215"/>
              <a:gd name="T45" fmla="*/ 2147483647 h 227"/>
              <a:gd name="T46" fmla="*/ 2147483647 w 215"/>
              <a:gd name="T47" fmla="*/ 2147483647 h 227"/>
              <a:gd name="T48" fmla="*/ 2147483647 w 215"/>
              <a:gd name="T49" fmla="*/ 2147483647 h 227"/>
              <a:gd name="T50" fmla="*/ 2147483647 w 215"/>
              <a:gd name="T51" fmla="*/ 2147483647 h 227"/>
              <a:gd name="T52" fmla="*/ 2147483647 w 215"/>
              <a:gd name="T53" fmla="*/ 2147483647 h 227"/>
              <a:gd name="T54" fmla="*/ 2147483647 w 215"/>
              <a:gd name="T55" fmla="*/ 2147483647 h 227"/>
              <a:gd name="T56" fmla="*/ 2147483647 w 215"/>
              <a:gd name="T57" fmla="*/ 2147483647 h 227"/>
              <a:gd name="T58" fmla="*/ 2147483647 w 215"/>
              <a:gd name="T59" fmla="*/ 2147483647 h 227"/>
              <a:gd name="T60" fmla="*/ 2147483647 w 215"/>
              <a:gd name="T61" fmla="*/ 2147483647 h 227"/>
              <a:gd name="T62" fmla="*/ 2147483647 w 215"/>
              <a:gd name="T63" fmla="*/ 2147483647 h 227"/>
              <a:gd name="T64" fmla="*/ 2147483647 w 215"/>
              <a:gd name="T65" fmla="*/ 2147483647 h 227"/>
              <a:gd name="T66" fmla="*/ 2147483647 w 215"/>
              <a:gd name="T67" fmla="*/ 2147483647 h 227"/>
              <a:gd name="T68" fmla="*/ 2147483647 w 215"/>
              <a:gd name="T69" fmla="*/ 2147483647 h 227"/>
              <a:gd name="T70" fmla="*/ 2147483647 w 215"/>
              <a:gd name="T71" fmla="*/ 2147483647 h 227"/>
              <a:gd name="T72" fmla="*/ 2147483647 w 215"/>
              <a:gd name="T73" fmla="*/ 2147483647 h 227"/>
              <a:gd name="T74" fmla="*/ 2147483647 w 215"/>
              <a:gd name="T75" fmla="*/ 2147483647 h 227"/>
              <a:gd name="T76" fmla="*/ 2147483647 w 215"/>
              <a:gd name="T77" fmla="*/ 2147483647 h 227"/>
              <a:gd name="T78" fmla="*/ 2147483647 w 215"/>
              <a:gd name="T79" fmla="*/ 0 h 227"/>
              <a:gd name="T80" fmla="*/ 2147483647 w 215"/>
              <a:gd name="T81" fmla="*/ 0 h 227"/>
              <a:gd name="T82" fmla="*/ 2147483647 w 215"/>
              <a:gd name="T83" fmla="*/ 2147483647 h 227"/>
              <a:gd name="T84" fmla="*/ 2147483647 w 215"/>
              <a:gd name="T85" fmla="*/ 2147483647 h 227"/>
              <a:gd name="T86" fmla="*/ 2147483647 w 215"/>
              <a:gd name="T87" fmla="*/ 2147483647 h 227"/>
              <a:gd name="T88" fmla="*/ 2147483647 w 215"/>
              <a:gd name="T89" fmla="*/ 2147483647 h 227"/>
              <a:gd name="T90" fmla="*/ 2147483647 w 215"/>
              <a:gd name="T91" fmla="*/ 2147483647 h 227"/>
              <a:gd name="T92" fmla="*/ 2147483647 w 215"/>
              <a:gd name="T93" fmla="*/ 2147483647 h 227"/>
              <a:gd name="T94" fmla="*/ 2147483647 w 215"/>
              <a:gd name="T95" fmla="*/ 2147483647 h 227"/>
              <a:gd name="T96" fmla="*/ 2147483647 w 215"/>
              <a:gd name="T97" fmla="*/ 2147483647 h 227"/>
              <a:gd name="T98" fmla="*/ 2147483647 w 215"/>
              <a:gd name="T99" fmla="*/ 2147483647 h 227"/>
              <a:gd name="T100" fmla="*/ 2147483647 w 215"/>
              <a:gd name="T101" fmla="*/ 2147483647 h 227"/>
              <a:gd name="T102" fmla="*/ 2147483647 w 215"/>
              <a:gd name="T103" fmla="*/ 2147483647 h 227"/>
              <a:gd name="T104" fmla="*/ 2147483647 w 215"/>
              <a:gd name="T105" fmla="*/ 2147483647 h 227"/>
              <a:gd name="T106" fmla="*/ 2147483647 w 215"/>
              <a:gd name="T107" fmla="*/ 2147483647 h 227"/>
              <a:gd name="T108" fmla="*/ 2147483647 w 215"/>
              <a:gd name="T109" fmla="*/ 2147483647 h 227"/>
              <a:gd name="T110" fmla="*/ 2147483647 w 215"/>
              <a:gd name="T111" fmla="*/ 2147483647 h 227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15"/>
              <a:gd name="T169" fmla="*/ 0 h 227"/>
              <a:gd name="T170" fmla="*/ 215 w 215"/>
              <a:gd name="T171" fmla="*/ 227 h 227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15" h="227">
                <a:moveTo>
                  <a:pt x="89" y="6"/>
                </a:moveTo>
                <a:lnTo>
                  <a:pt x="67" y="33"/>
                </a:lnTo>
                <a:lnTo>
                  <a:pt x="67" y="41"/>
                </a:lnTo>
                <a:lnTo>
                  <a:pt x="54" y="54"/>
                </a:lnTo>
                <a:lnTo>
                  <a:pt x="56" y="57"/>
                </a:lnTo>
                <a:lnTo>
                  <a:pt x="52" y="66"/>
                </a:lnTo>
                <a:lnTo>
                  <a:pt x="39" y="79"/>
                </a:lnTo>
                <a:lnTo>
                  <a:pt x="26" y="94"/>
                </a:lnTo>
                <a:lnTo>
                  <a:pt x="21" y="102"/>
                </a:lnTo>
                <a:lnTo>
                  <a:pt x="26" y="109"/>
                </a:lnTo>
                <a:lnTo>
                  <a:pt x="22" y="120"/>
                </a:lnTo>
                <a:lnTo>
                  <a:pt x="15" y="129"/>
                </a:lnTo>
                <a:lnTo>
                  <a:pt x="9" y="133"/>
                </a:lnTo>
                <a:lnTo>
                  <a:pt x="0" y="144"/>
                </a:lnTo>
                <a:lnTo>
                  <a:pt x="1" y="155"/>
                </a:lnTo>
                <a:lnTo>
                  <a:pt x="11" y="161"/>
                </a:lnTo>
                <a:lnTo>
                  <a:pt x="35" y="161"/>
                </a:lnTo>
                <a:lnTo>
                  <a:pt x="49" y="153"/>
                </a:lnTo>
                <a:lnTo>
                  <a:pt x="63" y="151"/>
                </a:lnTo>
                <a:lnTo>
                  <a:pt x="74" y="161"/>
                </a:lnTo>
                <a:lnTo>
                  <a:pt x="85" y="166"/>
                </a:lnTo>
                <a:lnTo>
                  <a:pt x="100" y="168"/>
                </a:lnTo>
                <a:lnTo>
                  <a:pt x="96" y="185"/>
                </a:lnTo>
                <a:lnTo>
                  <a:pt x="101" y="227"/>
                </a:lnTo>
                <a:lnTo>
                  <a:pt x="114" y="226"/>
                </a:lnTo>
                <a:lnTo>
                  <a:pt x="122" y="225"/>
                </a:lnTo>
                <a:lnTo>
                  <a:pt x="125" y="213"/>
                </a:lnTo>
                <a:lnTo>
                  <a:pt x="127" y="188"/>
                </a:lnTo>
                <a:lnTo>
                  <a:pt x="137" y="175"/>
                </a:lnTo>
                <a:lnTo>
                  <a:pt x="137" y="153"/>
                </a:lnTo>
                <a:lnTo>
                  <a:pt x="145" y="140"/>
                </a:lnTo>
                <a:lnTo>
                  <a:pt x="162" y="133"/>
                </a:lnTo>
                <a:lnTo>
                  <a:pt x="193" y="98"/>
                </a:lnTo>
                <a:lnTo>
                  <a:pt x="197" y="83"/>
                </a:lnTo>
                <a:lnTo>
                  <a:pt x="192" y="59"/>
                </a:lnTo>
                <a:lnTo>
                  <a:pt x="212" y="43"/>
                </a:lnTo>
                <a:lnTo>
                  <a:pt x="215" y="16"/>
                </a:lnTo>
                <a:lnTo>
                  <a:pt x="201" y="4"/>
                </a:lnTo>
                <a:lnTo>
                  <a:pt x="192" y="2"/>
                </a:lnTo>
                <a:lnTo>
                  <a:pt x="175" y="0"/>
                </a:lnTo>
                <a:lnTo>
                  <a:pt x="137" y="0"/>
                </a:lnTo>
                <a:lnTo>
                  <a:pt x="126" y="9"/>
                </a:lnTo>
                <a:lnTo>
                  <a:pt x="117" y="20"/>
                </a:lnTo>
                <a:lnTo>
                  <a:pt x="119" y="30"/>
                </a:lnTo>
                <a:lnTo>
                  <a:pt x="132" y="39"/>
                </a:lnTo>
                <a:lnTo>
                  <a:pt x="141" y="50"/>
                </a:lnTo>
                <a:lnTo>
                  <a:pt x="141" y="65"/>
                </a:lnTo>
                <a:lnTo>
                  <a:pt x="126" y="76"/>
                </a:lnTo>
                <a:lnTo>
                  <a:pt x="111" y="79"/>
                </a:lnTo>
                <a:lnTo>
                  <a:pt x="100" y="81"/>
                </a:lnTo>
                <a:lnTo>
                  <a:pt x="95" y="72"/>
                </a:lnTo>
                <a:lnTo>
                  <a:pt x="91" y="59"/>
                </a:lnTo>
                <a:lnTo>
                  <a:pt x="98" y="48"/>
                </a:lnTo>
                <a:lnTo>
                  <a:pt x="96" y="35"/>
                </a:lnTo>
                <a:lnTo>
                  <a:pt x="95" y="22"/>
                </a:lnTo>
                <a:lnTo>
                  <a:pt x="89" y="6"/>
                </a:lnTo>
                <a:close/>
              </a:path>
            </a:pathLst>
          </a:custGeom>
          <a:solidFill>
            <a:schemeClr val="accent5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20" name="Freeform 22"/>
          <p:cNvSpPr>
            <a:spLocks/>
          </p:cNvSpPr>
          <p:nvPr/>
        </p:nvSpPr>
        <p:spPr bwMode="auto">
          <a:xfrm>
            <a:off x="3200740" y="2560305"/>
            <a:ext cx="457589" cy="437893"/>
          </a:xfrm>
          <a:custGeom>
            <a:avLst/>
            <a:gdLst>
              <a:gd name="T0" fmla="*/ 2147483647 w 303"/>
              <a:gd name="T1" fmla="*/ 2147483647 h 277"/>
              <a:gd name="T2" fmla="*/ 2147483647 w 303"/>
              <a:gd name="T3" fmla="*/ 2147483647 h 277"/>
              <a:gd name="T4" fmla="*/ 2147483647 w 303"/>
              <a:gd name="T5" fmla="*/ 2147483647 h 277"/>
              <a:gd name="T6" fmla="*/ 2147483647 w 303"/>
              <a:gd name="T7" fmla="*/ 2147483647 h 277"/>
              <a:gd name="T8" fmla="*/ 2147483647 w 303"/>
              <a:gd name="T9" fmla="*/ 2147483647 h 277"/>
              <a:gd name="T10" fmla="*/ 2147483647 w 303"/>
              <a:gd name="T11" fmla="*/ 2147483647 h 277"/>
              <a:gd name="T12" fmla="*/ 2147483647 w 303"/>
              <a:gd name="T13" fmla="*/ 2147483647 h 277"/>
              <a:gd name="T14" fmla="*/ 2147483647 w 303"/>
              <a:gd name="T15" fmla="*/ 2147483647 h 277"/>
              <a:gd name="T16" fmla="*/ 2147483647 w 303"/>
              <a:gd name="T17" fmla="*/ 2147483647 h 277"/>
              <a:gd name="T18" fmla="*/ 2147483647 w 303"/>
              <a:gd name="T19" fmla="*/ 2147483647 h 277"/>
              <a:gd name="T20" fmla="*/ 2147483647 w 303"/>
              <a:gd name="T21" fmla="*/ 2147483647 h 277"/>
              <a:gd name="T22" fmla="*/ 2147483647 w 303"/>
              <a:gd name="T23" fmla="*/ 2147483647 h 277"/>
              <a:gd name="T24" fmla="*/ 2147483647 w 303"/>
              <a:gd name="T25" fmla="*/ 2147483647 h 277"/>
              <a:gd name="T26" fmla="*/ 2147483647 w 303"/>
              <a:gd name="T27" fmla="*/ 2147483647 h 277"/>
              <a:gd name="T28" fmla="*/ 2147483647 w 303"/>
              <a:gd name="T29" fmla="*/ 2147483647 h 277"/>
              <a:gd name="T30" fmla="*/ 2147483647 w 303"/>
              <a:gd name="T31" fmla="*/ 2147483647 h 277"/>
              <a:gd name="T32" fmla="*/ 2147483647 w 303"/>
              <a:gd name="T33" fmla="*/ 2147483647 h 277"/>
              <a:gd name="T34" fmla="*/ 2147483647 w 303"/>
              <a:gd name="T35" fmla="*/ 2147483647 h 277"/>
              <a:gd name="T36" fmla="*/ 2147483647 w 303"/>
              <a:gd name="T37" fmla="*/ 2147483647 h 277"/>
              <a:gd name="T38" fmla="*/ 2147483647 w 303"/>
              <a:gd name="T39" fmla="*/ 2147483647 h 277"/>
              <a:gd name="T40" fmla="*/ 2147483647 w 303"/>
              <a:gd name="T41" fmla="*/ 2147483647 h 277"/>
              <a:gd name="T42" fmla="*/ 2147483647 w 303"/>
              <a:gd name="T43" fmla="*/ 2147483647 h 277"/>
              <a:gd name="T44" fmla="*/ 2147483647 w 303"/>
              <a:gd name="T45" fmla="*/ 2147483647 h 277"/>
              <a:gd name="T46" fmla="*/ 2147483647 w 303"/>
              <a:gd name="T47" fmla="*/ 2147483647 h 277"/>
              <a:gd name="T48" fmla="*/ 2147483647 w 303"/>
              <a:gd name="T49" fmla="*/ 0 h 277"/>
              <a:gd name="T50" fmla="*/ 2147483647 w 303"/>
              <a:gd name="T51" fmla="*/ 2147483647 h 277"/>
              <a:gd name="T52" fmla="*/ 2147483647 w 303"/>
              <a:gd name="T53" fmla="*/ 2147483647 h 277"/>
              <a:gd name="T54" fmla="*/ 2147483647 w 303"/>
              <a:gd name="T55" fmla="*/ 2147483647 h 277"/>
              <a:gd name="T56" fmla="*/ 2147483647 w 303"/>
              <a:gd name="T57" fmla="*/ 2147483647 h 277"/>
              <a:gd name="T58" fmla="*/ 2147483647 w 303"/>
              <a:gd name="T59" fmla="*/ 2147483647 h 277"/>
              <a:gd name="T60" fmla="*/ 2147483647 w 303"/>
              <a:gd name="T61" fmla="*/ 2147483647 h 277"/>
              <a:gd name="T62" fmla="*/ 2147483647 w 303"/>
              <a:gd name="T63" fmla="*/ 2147483647 h 277"/>
              <a:gd name="T64" fmla="*/ 2147483647 w 303"/>
              <a:gd name="T65" fmla="*/ 2147483647 h 277"/>
              <a:gd name="T66" fmla="*/ 2147483647 w 303"/>
              <a:gd name="T67" fmla="*/ 2147483647 h 277"/>
              <a:gd name="T68" fmla="*/ 2147483647 w 303"/>
              <a:gd name="T69" fmla="*/ 2147483647 h 277"/>
              <a:gd name="T70" fmla="*/ 2147483647 w 303"/>
              <a:gd name="T71" fmla="*/ 2147483647 h 27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03"/>
              <a:gd name="T109" fmla="*/ 0 h 277"/>
              <a:gd name="T110" fmla="*/ 303 w 303"/>
              <a:gd name="T111" fmla="*/ 277 h 277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03" h="277">
                <a:moveTo>
                  <a:pt x="112" y="104"/>
                </a:moveTo>
                <a:lnTo>
                  <a:pt x="108" y="115"/>
                </a:lnTo>
                <a:lnTo>
                  <a:pt x="112" y="130"/>
                </a:lnTo>
                <a:lnTo>
                  <a:pt x="106" y="139"/>
                </a:lnTo>
                <a:lnTo>
                  <a:pt x="97" y="133"/>
                </a:lnTo>
                <a:lnTo>
                  <a:pt x="86" y="135"/>
                </a:lnTo>
                <a:lnTo>
                  <a:pt x="86" y="146"/>
                </a:lnTo>
                <a:lnTo>
                  <a:pt x="63" y="167"/>
                </a:lnTo>
                <a:lnTo>
                  <a:pt x="50" y="172"/>
                </a:lnTo>
                <a:lnTo>
                  <a:pt x="33" y="191"/>
                </a:lnTo>
                <a:lnTo>
                  <a:pt x="22" y="196"/>
                </a:lnTo>
                <a:lnTo>
                  <a:pt x="13" y="195"/>
                </a:lnTo>
                <a:lnTo>
                  <a:pt x="9" y="198"/>
                </a:lnTo>
                <a:lnTo>
                  <a:pt x="6" y="201"/>
                </a:lnTo>
                <a:lnTo>
                  <a:pt x="11" y="208"/>
                </a:lnTo>
                <a:lnTo>
                  <a:pt x="11" y="221"/>
                </a:lnTo>
                <a:lnTo>
                  <a:pt x="0" y="233"/>
                </a:lnTo>
                <a:lnTo>
                  <a:pt x="4" y="245"/>
                </a:lnTo>
                <a:lnTo>
                  <a:pt x="17" y="245"/>
                </a:lnTo>
                <a:lnTo>
                  <a:pt x="22" y="236"/>
                </a:lnTo>
                <a:lnTo>
                  <a:pt x="30" y="244"/>
                </a:lnTo>
                <a:lnTo>
                  <a:pt x="20" y="251"/>
                </a:lnTo>
                <a:lnTo>
                  <a:pt x="24" y="262"/>
                </a:lnTo>
                <a:lnTo>
                  <a:pt x="30" y="264"/>
                </a:lnTo>
                <a:lnTo>
                  <a:pt x="54" y="268"/>
                </a:lnTo>
                <a:lnTo>
                  <a:pt x="58" y="270"/>
                </a:lnTo>
                <a:lnTo>
                  <a:pt x="80" y="277"/>
                </a:lnTo>
                <a:lnTo>
                  <a:pt x="89" y="273"/>
                </a:lnTo>
                <a:lnTo>
                  <a:pt x="108" y="262"/>
                </a:lnTo>
                <a:lnTo>
                  <a:pt x="136" y="268"/>
                </a:lnTo>
                <a:lnTo>
                  <a:pt x="186" y="268"/>
                </a:lnTo>
                <a:lnTo>
                  <a:pt x="214" y="262"/>
                </a:lnTo>
                <a:lnTo>
                  <a:pt x="227" y="242"/>
                </a:lnTo>
                <a:lnTo>
                  <a:pt x="244" y="233"/>
                </a:lnTo>
                <a:lnTo>
                  <a:pt x="249" y="221"/>
                </a:lnTo>
                <a:lnTo>
                  <a:pt x="255" y="205"/>
                </a:lnTo>
                <a:lnTo>
                  <a:pt x="268" y="195"/>
                </a:lnTo>
                <a:lnTo>
                  <a:pt x="279" y="167"/>
                </a:lnTo>
                <a:lnTo>
                  <a:pt x="277" y="135"/>
                </a:lnTo>
                <a:lnTo>
                  <a:pt x="303" y="120"/>
                </a:lnTo>
                <a:lnTo>
                  <a:pt x="288" y="107"/>
                </a:lnTo>
                <a:lnTo>
                  <a:pt x="283" y="85"/>
                </a:lnTo>
                <a:lnTo>
                  <a:pt x="273" y="76"/>
                </a:lnTo>
                <a:lnTo>
                  <a:pt x="262" y="76"/>
                </a:lnTo>
                <a:lnTo>
                  <a:pt x="251" y="70"/>
                </a:lnTo>
                <a:lnTo>
                  <a:pt x="231" y="46"/>
                </a:lnTo>
                <a:lnTo>
                  <a:pt x="240" y="41"/>
                </a:lnTo>
                <a:lnTo>
                  <a:pt x="275" y="9"/>
                </a:lnTo>
                <a:lnTo>
                  <a:pt x="271" y="0"/>
                </a:lnTo>
                <a:lnTo>
                  <a:pt x="260" y="2"/>
                </a:lnTo>
                <a:lnTo>
                  <a:pt x="223" y="4"/>
                </a:lnTo>
                <a:lnTo>
                  <a:pt x="210" y="13"/>
                </a:lnTo>
                <a:lnTo>
                  <a:pt x="201" y="19"/>
                </a:lnTo>
                <a:lnTo>
                  <a:pt x="188" y="17"/>
                </a:lnTo>
                <a:lnTo>
                  <a:pt x="180" y="22"/>
                </a:lnTo>
                <a:lnTo>
                  <a:pt x="186" y="32"/>
                </a:lnTo>
                <a:lnTo>
                  <a:pt x="204" y="44"/>
                </a:lnTo>
                <a:lnTo>
                  <a:pt x="191" y="46"/>
                </a:lnTo>
                <a:lnTo>
                  <a:pt x="158" y="50"/>
                </a:lnTo>
                <a:lnTo>
                  <a:pt x="136" y="41"/>
                </a:lnTo>
                <a:lnTo>
                  <a:pt x="113" y="32"/>
                </a:lnTo>
                <a:lnTo>
                  <a:pt x="106" y="37"/>
                </a:lnTo>
                <a:lnTo>
                  <a:pt x="100" y="54"/>
                </a:lnTo>
                <a:lnTo>
                  <a:pt x="102" y="63"/>
                </a:lnTo>
                <a:lnTo>
                  <a:pt x="99" y="67"/>
                </a:lnTo>
                <a:lnTo>
                  <a:pt x="86" y="72"/>
                </a:lnTo>
                <a:lnTo>
                  <a:pt x="87" y="89"/>
                </a:lnTo>
                <a:lnTo>
                  <a:pt x="86" y="93"/>
                </a:lnTo>
                <a:lnTo>
                  <a:pt x="72" y="111"/>
                </a:lnTo>
                <a:lnTo>
                  <a:pt x="84" y="128"/>
                </a:lnTo>
                <a:lnTo>
                  <a:pt x="89" y="126"/>
                </a:lnTo>
                <a:lnTo>
                  <a:pt x="112" y="104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grpSp>
        <p:nvGrpSpPr>
          <p:cNvPr id="21" name="Group 23"/>
          <p:cNvGrpSpPr>
            <a:grpSpLocks/>
          </p:cNvGrpSpPr>
          <p:nvPr/>
        </p:nvGrpSpPr>
        <p:grpSpPr bwMode="auto">
          <a:xfrm>
            <a:off x="4757754" y="2591922"/>
            <a:ext cx="519508" cy="429989"/>
            <a:chOff x="1939" y="2035"/>
            <a:chExt cx="344" cy="272"/>
          </a:xfrm>
          <a:solidFill>
            <a:schemeClr val="bg1"/>
          </a:solidFill>
        </p:grpSpPr>
        <p:sp>
          <p:nvSpPr>
            <p:cNvPr id="62" name="Freeform 24"/>
            <p:cNvSpPr>
              <a:spLocks/>
            </p:cNvSpPr>
            <p:nvPr/>
          </p:nvSpPr>
          <p:spPr bwMode="auto">
            <a:xfrm>
              <a:off x="1939" y="2090"/>
              <a:ext cx="145" cy="179"/>
            </a:xfrm>
            <a:custGeom>
              <a:avLst/>
              <a:gdLst>
                <a:gd name="T0" fmla="*/ 11 w 145"/>
                <a:gd name="T1" fmla="*/ 153 h 179"/>
                <a:gd name="T2" fmla="*/ 19 w 145"/>
                <a:gd name="T3" fmla="*/ 166 h 179"/>
                <a:gd name="T4" fmla="*/ 35 w 145"/>
                <a:gd name="T5" fmla="*/ 166 h 179"/>
                <a:gd name="T6" fmla="*/ 50 w 145"/>
                <a:gd name="T7" fmla="*/ 170 h 179"/>
                <a:gd name="T8" fmla="*/ 61 w 145"/>
                <a:gd name="T9" fmla="*/ 179 h 179"/>
                <a:gd name="T10" fmla="*/ 73 w 145"/>
                <a:gd name="T11" fmla="*/ 179 h 179"/>
                <a:gd name="T12" fmla="*/ 65 w 145"/>
                <a:gd name="T13" fmla="*/ 168 h 179"/>
                <a:gd name="T14" fmla="*/ 71 w 145"/>
                <a:gd name="T15" fmla="*/ 153 h 179"/>
                <a:gd name="T16" fmla="*/ 78 w 145"/>
                <a:gd name="T17" fmla="*/ 136 h 179"/>
                <a:gd name="T18" fmla="*/ 82 w 145"/>
                <a:gd name="T19" fmla="*/ 117 h 179"/>
                <a:gd name="T20" fmla="*/ 99 w 145"/>
                <a:gd name="T21" fmla="*/ 106 h 179"/>
                <a:gd name="T22" fmla="*/ 113 w 145"/>
                <a:gd name="T23" fmla="*/ 98 h 179"/>
                <a:gd name="T24" fmla="*/ 112 w 145"/>
                <a:gd name="T25" fmla="*/ 87 h 179"/>
                <a:gd name="T26" fmla="*/ 112 w 145"/>
                <a:gd name="T27" fmla="*/ 69 h 179"/>
                <a:gd name="T28" fmla="*/ 115 w 145"/>
                <a:gd name="T29" fmla="*/ 61 h 179"/>
                <a:gd name="T30" fmla="*/ 128 w 145"/>
                <a:gd name="T31" fmla="*/ 59 h 179"/>
                <a:gd name="T32" fmla="*/ 134 w 145"/>
                <a:gd name="T33" fmla="*/ 63 h 179"/>
                <a:gd name="T34" fmla="*/ 145 w 145"/>
                <a:gd name="T35" fmla="*/ 50 h 179"/>
                <a:gd name="T36" fmla="*/ 141 w 145"/>
                <a:gd name="T37" fmla="*/ 39 h 179"/>
                <a:gd name="T38" fmla="*/ 134 w 145"/>
                <a:gd name="T39" fmla="*/ 37 h 179"/>
                <a:gd name="T40" fmla="*/ 121 w 145"/>
                <a:gd name="T41" fmla="*/ 37 h 179"/>
                <a:gd name="T42" fmla="*/ 115 w 145"/>
                <a:gd name="T43" fmla="*/ 37 h 179"/>
                <a:gd name="T44" fmla="*/ 112 w 145"/>
                <a:gd name="T45" fmla="*/ 20 h 179"/>
                <a:gd name="T46" fmla="*/ 113 w 145"/>
                <a:gd name="T47" fmla="*/ 4 h 179"/>
                <a:gd name="T48" fmla="*/ 104 w 145"/>
                <a:gd name="T49" fmla="*/ 0 h 179"/>
                <a:gd name="T50" fmla="*/ 100 w 145"/>
                <a:gd name="T51" fmla="*/ 6 h 179"/>
                <a:gd name="T52" fmla="*/ 78 w 145"/>
                <a:gd name="T53" fmla="*/ 2 h 179"/>
                <a:gd name="T54" fmla="*/ 73 w 145"/>
                <a:gd name="T55" fmla="*/ 7 h 179"/>
                <a:gd name="T56" fmla="*/ 78 w 145"/>
                <a:gd name="T57" fmla="*/ 22 h 179"/>
                <a:gd name="T58" fmla="*/ 76 w 145"/>
                <a:gd name="T59" fmla="*/ 37 h 179"/>
                <a:gd name="T60" fmla="*/ 67 w 145"/>
                <a:gd name="T61" fmla="*/ 26 h 179"/>
                <a:gd name="T62" fmla="*/ 63 w 145"/>
                <a:gd name="T63" fmla="*/ 17 h 179"/>
                <a:gd name="T64" fmla="*/ 50 w 145"/>
                <a:gd name="T65" fmla="*/ 19 h 179"/>
                <a:gd name="T66" fmla="*/ 45 w 145"/>
                <a:gd name="T67" fmla="*/ 28 h 179"/>
                <a:gd name="T68" fmla="*/ 41 w 145"/>
                <a:gd name="T69" fmla="*/ 32 h 179"/>
                <a:gd name="T70" fmla="*/ 41 w 145"/>
                <a:gd name="T71" fmla="*/ 45 h 179"/>
                <a:gd name="T72" fmla="*/ 39 w 145"/>
                <a:gd name="T73" fmla="*/ 43 h 179"/>
                <a:gd name="T74" fmla="*/ 28 w 145"/>
                <a:gd name="T75" fmla="*/ 26 h 179"/>
                <a:gd name="T76" fmla="*/ 22 w 145"/>
                <a:gd name="T77" fmla="*/ 20 h 179"/>
                <a:gd name="T78" fmla="*/ 15 w 145"/>
                <a:gd name="T79" fmla="*/ 24 h 179"/>
                <a:gd name="T80" fmla="*/ 17 w 145"/>
                <a:gd name="T81" fmla="*/ 33 h 179"/>
                <a:gd name="T82" fmla="*/ 17 w 145"/>
                <a:gd name="T83" fmla="*/ 39 h 179"/>
                <a:gd name="T84" fmla="*/ 7 w 145"/>
                <a:gd name="T85" fmla="*/ 43 h 179"/>
                <a:gd name="T86" fmla="*/ 7 w 145"/>
                <a:gd name="T87" fmla="*/ 56 h 179"/>
                <a:gd name="T88" fmla="*/ 15 w 145"/>
                <a:gd name="T89" fmla="*/ 69 h 179"/>
                <a:gd name="T90" fmla="*/ 15 w 145"/>
                <a:gd name="T91" fmla="*/ 78 h 179"/>
                <a:gd name="T92" fmla="*/ 11 w 145"/>
                <a:gd name="T93" fmla="*/ 87 h 179"/>
                <a:gd name="T94" fmla="*/ 0 w 145"/>
                <a:gd name="T95" fmla="*/ 96 h 179"/>
                <a:gd name="T96" fmla="*/ 2 w 145"/>
                <a:gd name="T97" fmla="*/ 106 h 179"/>
                <a:gd name="T98" fmla="*/ 13 w 145"/>
                <a:gd name="T99" fmla="*/ 115 h 179"/>
                <a:gd name="T100" fmla="*/ 17 w 145"/>
                <a:gd name="T101" fmla="*/ 124 h 179"/>
                <a:gd name="T102" fmla="*/ 15 w 145"/>
                <a:gd name="T103" fmla="*/ 142 h 179"/>
                <a:gd name="T104" fmla="*/ 11 w 145"/>
                <a:gd name="T105" fmla="*/ 153 h 17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5"/>
                <a:gd name="T160" fmla="*/ 0 h 179"/>
                <a:gd name="T161" fmla="*/ 145 w 145"/>
                <a:gd name="T162" fmla="*/ 179 h 17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5" h="179">
                  <a:moveTo>
                    <a:pt x="11" y="153"/>
                  </a:moveTo>
                  <a:lnTo>
                    <a:pt x="19" y="166"/>
                  </a:lnTo>
                  <a:lnTo>
                    <a:pt x="35" y="166"/>
                  </a:lnTo>
                  <a:lnTo>
                    <a:pt x="50" y="170"/>
                  </a:lnTo>
                  <a:lnTo>
                    <a:pt x="61" y="179"/>
                  </a:lnTo>
                  <a:lnTo>
                    <a:pt x="73" y="179"/>
                  </a:lnTo>
                  <a:lnTo>
                    <a:pt x="65" y="168"/>
                  </a:lnTo>
                  <a:lnTo>
                    <a:pt x="71" y="153"/>
                  </a:lnTo>
                  <a:lnTo>
                    <a:pt x="78" y="136"/>
                  </a:lnTo>
                  <a:lnTo>
                    <a:pt x="82" y="117"/>
                  </a:lnTo>
                  <a:lnTo>
                    <a:pt x="99" y="106"/>
                  </a:lnTo>
                  <a:lnTo>
                    <a:pt x="113" y="98"/>
                  </a:lnTo>
                  <a:lnTo>
                    <a:pt x="112" y="87"/>
                  </a:lnTo>
                  <a:lnTo>
                    <a:pt x="112" y="69"/>
                  </a:lnTo>
                  <a:lnTo>
                    <a:pt x="115" y="61"/>
                  </a:lnTo>
                  <a:lnTo>
                    <a:pt x="128" y="59"/>
                  </a:lnTo>
                  <a:lnTo>
                    <a:pt x="134" y="63"/>
                  </a:lnTo>
                  <a:lnTo>
                    <a:pt x="145" y="50"/>
                  </a:lnTo>
                  <a:lnTo>
                    <a:pt x="141" y="39"/>
                  </a:lnTo>
                  <a:lnTo>
                    <a:pt x="134" y="37"/>
                  </a:lnTo>
                  <a:lnTo>
                    <a:pt x="121" y="37"/>
                  </a:lnTo>
                  <a:lnTo>
                    <a:pt x="115" y="37"/>
                  </a:lnTo>
                  <a:lnTo>
                    <a:pt x="112" y="20"/>
                  </a:lnTo>
                  <a:lnTo>
                    <a:pt x="113" y="4"/>
                  </a:lnTo>
                  <a:lnTo>
                    <a:pt x="104" y="0"/>
                  </a:lnTo>
                  <a:lnTo>
                    <a:pt x="100" y="6"/>
                  </a:lnTo>
                  <a:lnTo>
                    <a:pt x="78" y="2"/>
                  </a:lnTo>
                  <a:lnTo>
                    <a:pt x="73" y="7"/>
                  </a:lnTo>
                  <a:lnTo>
                    <a:pt x="78" y="22"/>
                  </a:lnTo>
                  <a:lnTo>
                    <a:pt x="76" y="37"/>
                  </a:lnTo>
                  <a:lnTo>
                    <a:pt x="67" y="26"/>
                  </a:lnTo>
                  <a:lnTo>
                    <a:pt x="63" y="17"/>
                  </a:lnTo>
                  <a:lnTo>
                    <a:pt x="50" y="19"/>
                  </a:lnTo>
                  <a:lnTo>
                    <a:pt x="45" y="28"/>
                  </a:lnTo>
                  <a:lnTo>
                    <a:pt x="41" y="32"/>
                  </a:lnTo>
                  <a:lnTo>
                    <a:pt x="41" y="45"/>
                  </a:lnTo>
                  <a:lnTo>
                    <a:pt x="39" y="43"/>
                  </a:lnTo>
                  <a:lnTo>
                    <a:pt x="28" y="26"/>
                  </a:lnTo>
                  <a:lnTo>
                    <a:pt x="22" y="20"/>
                  </a:lnTo>
                  <a:lnTo>
                    <a:pt x="15" y="24"/>
                  </a:lnTo>
                  <a:lnTo>
                    <a:pt x="17" y="33"/>
                  </a:lnTo>
                  <a:lnTo>
                    <a:pt x="17" y="39"/>
                  </a:lnTo>
                  <a:lnTo>
                    <a:pt x="7" y="43"/>
                  </a:lnTo>
                  <a:lnTo>
                    <a:pt x="7" y="56"/>
                  </a:lnTo>
                  <a:lnTo>
                    <a:pt x="15" y="69"/>
                  </a:lnTo>
                  <a:lnTo>
                    <a:pt x="15" y="78"/>
                  </a:lnTo>
                  <a:lnTo>
                    <a:pt x="11" y="87"/>
                  </a:lnTo>
                  <a:lnTo>
                    <a:pt x="0" y="96"/>
                  </a:lnTo>
                  <a:lnTo>
                    <a:pt x="2" y="106"/>
                  </a:lnTo>
                  <a:lnTo>
                    <a:pt x="13" y="115"/>
                  </a:lnTo>
                  <a:lnTo>
                    <a:pt x="17" y="124"/>
                  </a:lnTo>
                  <a:lnTo>
                    <a:pt x="15" y="142"/>
                  </a:lnTo>
                  <a:lnTo>
                    <a:pt x="11" y="153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63" name="Freeform 25"/>
            <p:cNvSpPr>
              <a:spLocks/>
            </p:cNvSpPr>
            <p:nvPr/>
          </p:nvSpPr>
          <p:spPr bwMode="auto">
            <a:xfrm>
              <a:off x="1969" y="2035"/>
              <a:ext cx="109" cy="68"/>
            </a:xfrm>
            <a:custGeom>
              <a:avLst/>
              <a:gdLst>
                <a:gd name="T0" fmla="*/ 0 w 109"/>
                <a:gd name="T1" fmla="*/ 66 h 68"/>
                <a:gd name="T2" fmla="*/ 9 w 109"/>
                <a:gd name="T3" fmla="*/ 68 h 68"/>
                <a:gd name="T4" fmla="*/ 20 w 109"/>
                <a:gd name="T5" fmla="*/ 60 h 68"/>
                <a:gd name="T6" fmla="*/ 31 w 109"/>
                <a:gd name="T7" fmla="*/ 47 h 68"/>
                <a:gd name="T8" fmla="*/ 61 w 109"/>
                <a:gd name="T9" fmla="*/ 47 h 68"/>
                <a:gd name="T10" fmla="*/ 87 w 109"/>
                <a:gd name="T11" fmla="*/ 42 h 68"/>
                <a:gd name="T12" fmla="*/ 102 w 109"/>
                <a:gd name="T13" fmla="*/ 30 h 68"/>
                <a:gd name="T14" fmla="*/ 107 w 109"/>
                <a:gd name="T15" fmla="*/ 15 h 68"/>
                <a:gd name="T16" fmla="*/ 109 w 109"/>
                <a:gd name="T17" fmla="*/ 0 h 68"/>
                <a:gd name="T18" fmla="*/ 89 w 109"/>
                <a:gd name="T19" fmla="*/ 9 h 68"/>
                <a:gd name="T20" fmla="*/ 52 w 109"/>
                <a:gd name="T21" fmla="*/ 26 h 68"/>
                <a:gd name="T22" fmla="*/ 42 w 109"/>
                <a:gd name="T23" fmla="*/ 28 h 68"/>
                <a:gd name="T24" fmla="*/ 31 w 109"/>
                <a:gd name="T25" fmla="*/ 36 h 68"/>
                <a:gd name="T26" fmla="*/ 9 w 109"/>
                <a:gd name="T27" fmla="*/ 40 h 68"/>
                <a:gd name="T28" fmla="*/ 0 w 109"/>
                <a:gd name="T29" fmla="*/ 45 h 68"/>
                <a:gd name="T30" fmla="*/ 0 w 109"/>
                <a:gd name="T31" fmla="*/ 66 h 6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9"/>
                <a:gd name="T49" fmla="*/ 0 h 68"/>
                <a:gd name="T50" fmla="*/ 109 w 109"/>
                <a:gd name="T51" fmla="*/ 68 h 6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9" h="68">
                  <a:moveTo>
                    <a:pt x="0" y="66"/>
                  </a:moveTo>
                  <a:lnTo>
                    <a:pt x="9" y="68"/>
                  </a:lnTo>
                  <a:lnTo>
                    <a:pt x="20" y="60"/>
                  </a:lnTo>
                  <a:lnTo>
                    <a:pt x="31" y="47"/>
                  </a:lnTo>
                  <a:lnTo>
                    <a:pt x="61" y="47"/>
                  </a:lnTo>
                  <a:lnTo>
                    <a:pt x="87" y="42"/>
                  </a:lnTo>
                  <a:lnTo>
                    <a:pt x="102" y="30"/>
                  </a:lnTo>
                  <a:lnTo>
                    <a:pt x="107" y="15"/>
                  </a:lnTo>
                  <a:lnTo>
                    <a:pt x="109" y="0"/>
                  </a:lnTo>
                  <a:lnTo>
                    <a:pt x="89" y="9"/>
                  </a:lnTo>
                  <a:lnTo>
                    <a:pt x="52" y="26"/>
                  </a:lnTo>
                  <a:lnTo>
                    <a:pt x="42" y="28"/>
                  </a:lnTo>
                  <a:lnTo>
                    <a:pt x="31" y="36"/>
                  </a:lnTo>
                  <a:lnTo>
                    <a:pt x="9" y="40"/>
                  </a:lnTo>
                  <a:lnTo>
                    <a:pt x="0" y="45"/>
                  </a:lnTo>
                  <a:lnTo>
                    <a:pt x="0" y="66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64" name="Freeform 26"/>
            <p:cNvSpPr>
              <a:spLocks/>
            </p:cNvSpPr>
            <p:nvPr/>
          </p:nvSpPr>
          <p:spPr bwMode="auto">
            <a:xfrm>
              <a:off x="2025" y="2202"/>
              <a:ext cx="47" cy="57"/>
            </a:xfrm>
            <a:custGeom>
              <a:avLst/>
              <a:gdLst>
                <a:gd name="T0" fmla="*/ 15 w 47"/>
                <a:gd name="T1" fmla="*/ 0 h 57"/>
                <a:gd name="T2" fmla="*/ 45 w 47"/>
                <a:gd name="T3" fmla="*/ 20 h 57"/>
                <a:gd name="T4" fmla="*/ 47 w 47"/>
                <a:gd name="T5" fmla="*/ 29 h 57"/>
                <a:gd name="T6" fmla="*/ 36 w 47"/>
                <a:gd name="T7" fmla="*/ 40 h 57"/>
                <a:gd name="T8" fmla="*/ 26 w 47"/>
                <a:gd name="T9" fmla="*/ 48 h 57"/>
                <a:gd name="T10" fmla="*/ 28 w 47"/>
                <a:gd name="T11" fmla="*/ 57 h 57"/>
                <a:gd name="T12" fmla="*/ 15 w 47"/>
                <a:gd name="T13" fmla="*/ 55 h 57"/>
                <a:gd name="T14" fmla="*/ 2 w 47"/>
                <a:gd name="T15" fmla="*/ 40 h 57"/>
                <a:gd name="T16" fmla="*/ 0 w 47"/>
                <a:gd name="T17" fmla="*/ 29 h 57"/>
                <a:gd name="T18" fmla="*/ 6 w 47"/>
                <a:gd name="T19" fmla="*/ 17 h 57"/>
                <a:gd name="T20" fmla="*/ 15 w 47"/>
                <a:gd name="T21" fmla="*/ 0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"/>
                <a:gd name="T34" fmla="*/ 0 h 57"/>
                <a:gd name="T35" fmla="*/ 47 w 47"/>
                <a:gd name="T36" fmla="*/ 57 h 5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" h="57">
                  <a:moveTo>
                    <a:pt x="15" y="0"/>
                  </a:moveTo>
                  <a:lnTo>
                    <a:pt x="45" y="20"/>
                  </a:lnTo>
                  <a:lnTo>
                    <a:pt x="47" y="29"/>
                  </a:lnTo>
                  <a:lnTo>
                    <a:pt x="36" y="40"/>
                  </a:lnTo>
                  <a:lnTo>
                    <a:pt x="26" y="48"/>
                  </a:lnTo>
                  <a:lnTo>
                    <a:pt x="28" y="57"/>
                  </a:lnTo>
                  <a:lnTo>
                    <a:pt x="15" y="55"/>
                  </a:lnTo>
                  <a:lnTo>
                    <a:pt x="2" y="40"/>
                  </a:lnTo>
                  <a:lnTo>
                    <a:pt x="0" y="29"/>
                  </a:lnTo>
                  <a:lnTo>
                    <a:pt x="6" y="17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65" name="Freeform 27"/>
            <p:cNvSpPr>
              <a:spLocks/>
            </p:cNvSpPr>
            <p:nvPr/>
          </p:nvSpPr>
          <p:spPr bwMode="auto">
            <a:xfrm>
              <a:off x="2084" y="2186"/>
              <a:ext cx="69" cy="83"/>
            </a:xfrm>
            <a:custGeom>
              <a:avLst/>
              <a:gdLst>
                <a:gd name="T0" fmla="*/ 65 w 69"/>
                <a:gd name="T1" fmla="*/ 0 h 83"/>
                <a:gd name="T2" fmla="*/ 69 w 69"/>
                <a:gd name="T3" fmla="*/ 4 h 83"/>
                <a:gd name="T4" fmla="*/ 65 w 69"/>
                <a:gd name="T5" fmla="*/ 9 h 83"/>
                <a:gd name="T6" fmla="*/ 69 w 69"/>
                <a:gd name="T7" fmla="*/ 18 h 83"/>
                <a:gd name="T8" fmla="*/ 64 w 69"/>
                <a:gd name="T9" fmla="*/ 29 h 83"/>
                <a:gd name="T10" fmla="*/ 54 w 69"/>
                <a:gd name="T11" fmla="*/ 37 h 83"/>
                <a:gd name="T12" fmla="*/ 58 w 69"/>
                <a:gd name="T13" fmla="*/ 46 h 83"/>
                <a:gd name="T14" fmla="*/ 54 w 69"/>
                <a:gd name="T15" fmla="*/ 54 h 83"/>
                <a:gd name="T16" fmla="*/ 58 w 69"/>
                <a:gd name="T17" fmla="*/ 63 h 83"/>
                <a:gd name="T18" fmla="*/ 45 w 69"/>
                <a:gd name="T19" fmla="*/ 83 h 83"/>
                <a:gd name="T20" fmla="*/ 16 w 69"/>
                <a:gd name="T21" fmla="*/ 63 h 83"/>
                <a:gd name="T22" fmla="*/ 0 w 69"/>
                <a:gd name="T23" fmla="*/ 52 h 83"/>
                <a:gd name="T24" fmla="*/ 9 w 69"/>
                <a:gd name="T25" fmla="*/ 46 h 83"/>
                <a:gd name="T26" fmla="*/ 9 w 69"/>
                <a:gd name="T27" fmla="*/ 33 h 83"/>
                <a:gd name="T28" fmla="*/ 27 w 69"/>
                <a:gd name="T29" fmla="*/ 22 h 83"/>
                <a:gd name="T30" fmla="*/ 36 w 69"/>
                <a:gd name="T31" fmla="*/ 26 h 83"/>
                <a:gd name="T32" fmla="*/ 45 w 69"/>
                <a:gd name="T33" fmla="*/ 22 h 83"/>
                <a:gd name="T34" fmla="*/ 60 w 69"/>
                <a:gd name="T35" fmla="*/ 11 h 83"/>
                <a:gd name="T36" fmla="*/ 65 w 69"/>
                <a:gd name="T37" fmla="*/ 0 h 8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9"/>
                <a:gd name="T58" fmla="*/ 0 h 83"/>
                <a:gd name="T59" fmla="*/ 69 w 69"/>
                <a:gd name="T60" fmla="*/ 83 h 8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9" h="83">
                  <a:moveTo>
                    <a:pt x="65" y="0"/>
                  </a:moveTo>
                  <a:lnTo>
                    <a:pt x="69" y="4"/>
                  </a:lnTo>
                  <a:lnTo>
                    <a:pt x="65" y="9"/>
                  </a:lnTo>
                  <a:lnTo>
                    <a:pt x="69" y="18"/>
                  </a:lnTo>
                  <a:lnTo>
                    <a:pt x="64" y="29"/>
                  </a:lnTo>
                  <a:lnTo>
                    <a:pt x="54" y="37"/>
                  </a:lnTo>
                  <a:lnTo>
                    <a:pt x="58" y="46"/>
                  </a:lnTo>
                  <a:lnTo>
                    <a:pt x="54" y="54"/>
                  </a:lnTo>
                  <a:lnTo>
                    <a:pt x="58" y="63"/>
                  </a:lnTo>
                  <a:lnTo>
                    <a:pt x="45" y="83"/>
                  </a:lnTo>
                  <a:lnTo>
                    <a:pt x="16" y="63"/>
                  </a:lnTo>
                  <a:lnTo>
                    <a:pt x="0" y="52"/>
                  </a:lnTo>
                  <a:lnTo>
                    <a:pt x="9" y="46"/>
                  </a:lnTo>
                  <a:lnTo>
                    <a:pt x="9" y="33"/>
                  </a:lnTo>
                  <a:lnTo>
                    <a:pt x="27" y="22"/>
                  </a:lnTo>
                  <a:lnTo>
                    <a:pt x="36" y="26"/>
                  </a:lnTo>
                  <a:lnTo>
                    <a:pt x="45" y="22"/>
                  </a:lnTo>
                  <a:lnTo>
                    <a:pt x="60" y="11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66" name="Freeform 28"/>
            <p:cNvSpPr>
              <a:spLocks/>
            </p:cNvSpPr>
            <p:nvPr/>
          </p:nvSpPr>
          <p:spPr bwMode="auto">
            <a:xfrm>
              <a:off x="2075" y="2272"/>
              <a:ext cx="28" cy="35"/>
            </a:xfrm>
            <a:custGeom>
              <a:avLst/>
              <a:gdLst>
                <a:gd name="T0" fmla="*/ 0 w 28"/>
                <a:gd name="T1" fmla="*/ 0 h 35"/>
                <a:gd name="T2" fmla="*/ 19 w 28"/>
                <a:gd name="T3" fmla="*/ 6 h 35"/>
                <a:gd name="T4" fmla="*/ 26 w 28"/>
                <a:gd name="T5" fmla="*/ 15 h 35"/>
                <a:gd name="T6" fmla="*/ 28 w 28"/>
                <a:gd name="T7" fmla="*/ 28 h 35"/>
                <a:gd name="T8" fmla="*/ 19 w 28"/>
                <a:gd name="T9" fmla="*/ 35 h 35"/>
                <a:gd name="T10" fmla="*/ 5 w 28"/>
                <a:gd name="T11" fmla="*/ 29 h 35"/>
                <a:gd name="T12" fmla="*/ 2 w 28"/>
                <a:gd name="T13" fmla="*/ 20 h 35"/>
                <a:gd name="T14" fmla="*/ 0 w 28"/>
                <a:gd name="T15" fmla="*/ 0 h 3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8"/>
                <a:gd name="T25" fmla="*/ 0 h 35"/>
                <a:gd name="T26" fmla="*/ 28 w 28"/>
                <a:gd name="T27" fmla="*/ 35 h 3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8" h="35">
                  <a:moveTo>
                    <a:pt x="0" y="0"/>
                  </a:moveTo>
                  <a:lnTo>
                    <a:pt x="19" y="6"/>
                  </a:lnTo>
                  <a:lnTo>
                    <a:pt x="26" y="15"/>
                  </a:lnTo>
                  <a:lnTo>
                    <a:pt x="28" y="28"/>
                  </a:lnTo>
                  <a:lnTo>
                    <a:pt x="19" y="35"/>
                  </a:lnTo>
                  <a:lnTo>
                    <a:pt x="5" y="29"/>
                  </a:lnTo>
                  <a:lnTo>
                    <a:pt x="2" y="2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67" name="Freeform 29"/>
            <p:cNvSpPr>
              <a:spLocks/>
            </p:cNvSpPr>
            <p:nvPr/>
          </p:nvSpPr>
          <p:spPr bwMode="auto">
            <a:xfrm>
              <a:off x="2267" y="2263"/>
              <a:ext cx="16" cy="29"/>
            </a:xfrm>
            <a:custGeom>
              <a:avLst/>
              <a:gdLst>
                <a:gd name="T0" fmla="*/ 5 w 16"/>
                <a:gd name="T1" fmla="*/ 0 h 29"/>
                <a:gd name="T2" fmla="*/ 0 w 16"/>
                <a:gd name="T3" fmla="*/ 5 h 29"/>
                <a:gd name="T4" fmla="*/ 0 w 16"/>
                <a:gd name="T5" fmla="*/ 20 h 29"/>
                <a:gd name="T6" fmla="*/ 11 w 16"/>
                <a:gd name="T7" fmla="*/ 29 h 29"/>
                <a:gd name="T8" fmla="*/ 16 w 16"/>
                <a:gd name="T9" fmla="*/ 16 h 29"/>
                <a:gd name="T10" fmla="*/ 5 w 16"/>
                <a:gd name="T11" fmla="*/ 0 h 2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29"/>
                <a:gd name="T20" fmla="*/ 16 w 16"/>
                <a:gd name="T21" fmla="*/ 29 h 2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29">
                  <a:moveTo>
                    <a:pt x="5" y="0"/>
                  </a:moveTo>
                  <a:lnTo>
                    <a:pt x="0" y="5"/>
                  </a:lnTo>
                  <a:lnTo>
                    <a:pt x="0" y="20"/>
                  </a:lnTo>
                  <a:lnTo>
                    <a:pt x="11" y="29"/>
                  </a:lnTo>
                  <a:lnTo>
                    <a:pt x="16" y="16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Group 30"/>
          <p:cNvGrpSpPr>
            <a:grpSpLocks/>
          </p:cNvGrpSpPr>
          <p:nvPr/>
        </p:nvGrpSpPr>
        <p:grpSpPr bwMode="auto">
          <a:xfrm>
            <a:off x="4467795" y="2939707"/>
            <a:ext cx="773221" cy="1081296"/>
            <a:chOff x="1747" y="2255"/>
            <a:chExt cx="512" cy="684"/>
          </a:xfrm>
          <a:solidFill>
            <a:schemeClr val="accent3"/>
          </a:solidFill>
        </p:grpSpPr>
        <p:sp>
          <p:nvSpPr>
            <p:cNvPr id="60" name="Freeform 31"/>
            <p:cNvSpPr>
              <a:spLocks/>
            </p:cNvSpPr>
            <p:nvPr/>
          </p:nvSpPr>
          <p:spPr bwMode="auto">
            <a:xfrm>
              <a:off x="2181" y="2320"/>
              <a:ext cx="24" cy="22"/>
            </a:xfrm>
            <a:custGeom>
              <a:avLst/>
              <a:gdLst>
                <a:gd name="T0" fmla="*/ 2 w 24"/>
                <a:gd name="T1" fmla="*/ 0 h 22"/>
                <a:gd name="T2" fmla="*/ 0 w 24"/>
                <a:gd name="T3" fmla="*/ 4 h 22"/>
                <a:gd name="T4" fmla="*/ 2 w 24"/>
                <a:gd name="T5" fmla="*/ 15 h 22"/>
                <a:gd name="T6" fmla="*/ 15 w 24"/>
                <a:gd name="T7" fmla="*/ 22 h 22"/>
                <a:gd name="T8" fmla="*/ 24 w 24"/>
                <a:gd name="T9" fmla="*/ 13 h 22"/>
                <a:gd name="T10" fmla="*/ 2 w 24"/>
                <a:gd name="T11" fmla="*/ 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22"/>
                <a:gd name="T20" fmla="*/ 24 w 24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22">
                  <a:moveTo>
                    <a:pt x="2" y="0"/>
                  </a:moveTo>
                  <a:lnTo>
                    <a:pt x="0" y="4"/>
                  </a:lnTo>
                  <a:lnTo>
                    <a:pt x="2" y="15"/>
                  </a:lnTo>
                  <a:lnTo>
                    <a:pt x="15" y="22"/>
                  </a:lnTo>
                  <a:lnTo>
                    <a:pt x="24" y="1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61" name="Freeform 32"/>
            <p:cNvSpPr>
              <a:spLocks/>
            </p:cNvSpPr>
            <p:nvPr/>
          </p:nvSpPr>
          <p:spPr bwMode="auto">
            <a:xfrm>
              <a:off x="1747" y="2255"/>
              <a:ext cx="512" cy="684"/>
            </a:xfrm>
            <a:custGeom>
              <a:avLst/>
              <a:gdLst>
                <a:gd name="T0" fmla="*/ 201 w 512"/>
                <a:gd name="T1" fmla="*/ 15 h 684"/>
                <a:gd name="T2" fmla="*/ 207 w 512"/>
                <a:gd name="T3" fmla="*/ 48 h 684"/>
                <a:gd name="T4" fmla="*/ 203 w 512"/>
                <a:gd name="T5" fmla="*/ 72 h 684"/>
                <a:gd name="T6" fmla="*/ 231 w 512"/>
                <a:gd name="T7" fmla="*/ 107 h 684"/>
                <a:gd name="T8" fmla="*/ 190 w 512"/>
                <a:gd name="T9" fmla="*/ 96 h 684"/>
                <a:gd name="T10" fmla="*/ 158 w 512"/>
                <a:gd name="T11" fmla="*/ 122 h 684"/>
                <a:gd name="T12" fmla="*/ 136 w 512"/>
                <a:gd name="T13" fmla="*/ 100 h 684"/>
                <a:gd name="T14" fmla="*/ 95 w 512"/>
                <a:gd name="T15" fmla="*/ 122 h 684"/>
                <a:gd name="T16" fmla="*/ 103 w 512"/>
                <a:gd name="T17" fmla="*/ 157 h 684"/>
                <a:gd name="T18" fmla="*/ 82 w 512"/>
                <a:gd name="T19" fmla="*/ 176 h 684"/>
                <a:gd name="T20" fmla="*/ 86 w 512"/>
                <a:gd name="T21" fmla="*/ 209 h 684"/>
                <a:gd name="T22" fmla="*/ 58 w 512"/>
                <a:gd name="T23" fmla="*/ 244 h 684"/>
                <a:gd name="T24" fmla="*/ 28 w 512"/>
                <a:gd name="T25" fmla="*/ 272 h 684"/>
                <a:gd name="T26" fmla="*/ 19 w 512"/>
                <a:gd name="T27" fmla="*/ 326 h 684"/>
                <a:gd name="T28" fmla="*/ 15 w 512"/>
                <a:gd name="T29" fmla="*/ 350 h 684"/>
                <a:gd name="T30" fmla="*/ 2 w 512"/>
                <a:gd name="T31" fmla="*/ 400 h 684"/>
                <a:gd name="T32" fmla="*/ 19 w 512"/>
                <a:gd name="T33" fmla="*/ 424 h 684"/>
                <a:gd name="T34" fmla="*/ 0 w 512"/>
                <a:gd name="T35" fmla="*/ 455 h 684"/>
                <a:gd name="T36" fmla="*/ 28 w 512"/>
                <a:gd name="T37" fmla="*/ 489 h 684"/>
                <a:gd name="T38" fmla="*/ 81 w 512"/>
                <a:gd name="T39" fmla="*/ 496 h 684"/>
                <a:gd name="T40" fmla="*/ 90 w 512"/>
                <a:gd name="T41" fmla="*/ 520 h 684"/>
                <a:gd name="T42" fmla="*/ 66 w 512"/>
                <a:gd name="T43" fmla="*/ 553 h 684"/>
                <a:gd name="T44" fmla="*/ 45 w 512"/>
                <a:gd name="T45" fmla="*/ 608 h 684"/>
                <a:gd name="T46" fmla="*/ 73 w 512"/>
                <a:gd name="T47" fmla="*/ 641 h 684"/>
                <a:gd name="T48" fmla="*/ 99 w 512"/>
                <a:gd name="T49" fmla="*/ 628 h 684"/>
                <a:gd name="T50" fmla="*/ 125 w 512"/>
                <a:gd name="T51" fmla="*/ 638 h 684"/>
                <a:gd name="T52" fmla="*/ 149 w 512"/>
                <a:gd name="T53" fmla="*/ 660 h 684"/>
                <a:gd name="T54" fmla="*/ 197 w 512"/>
                <a:gd name="T55" fmla="*/ 667 h 684"/>
                <a:gd name="T56" fmla="*/ 229 w 512"/>
                <a:gd name="T57" fmla="*/ 673 h 684"/>
                <a:gd name="T58" fmla="*/ 277 w 512"/>
                <a:gd name="T59" fmla="*/ 673 h 684"/>
                <a:gd name="T60" fmla="*/ 308 w 512"/>
                <a:gd name="T61" fmla="*/ 669 h 684"/>
                <a:gd name="T62" fmla="*/ 342 w 512"/>
                <a:gd name="T63" fmla="*/ 669 h 684"/>
                <a:gd name="T64" fmla="*/ 382 w 512"/>
                <a:gd name="T65" fmla="*/ 678 h 684"/>
                <a:gd name="T66" fmla="*/ 373 w 512"/>
                <a:gd name="T67" fmla="*/ 649 h 684"/>
                <a:gd name="T68" fmla="*/ 432 w 512"/>
                <a:gd name="T69" fmla="*/ 593 h 684"/>
                <a:gd name="T70" fmla="*/ 403 w 512"/>
                <a:gd name="T71" fmla="*/ 567 h 684"/>
                <a:gd name="T72" fmla="*/ 347 w 512"/>
                <a:gd name="T73" fmla="*/ 511 h 684"/>
                <a:gd name="T74" fmla="*/ 333 w 512"/>
                <a:gd name="T75" fmla="*/ 461 h 684"/>
                <a:gd name="T76" fmla="*/ 352 w 512"/>
                <a:gd name="T77" fmla="*/ 449 h 684"/>
                <a:gd name="T78" fmla="*/ 463 w 512"/>
                <a:gd name="T79" fmla="*/ 400 h 684"/>
                <a:gd name="T80" fmla="*/ 503 w 512"/>
                <a:gd name="T81" fmla="*/ 397 h 684"/>
                <a:gd name="T82" fmla="*/ 512 w 512"/>
                <a:gd name="T83" fmla="*/ 363 h 684"/>
                <a:gd name="T84" fmla="*/ 501 w 512"/>
                <a:gd name="T85" fmla="*/ 300 h 684"/>
                <a:gd name="T86" fmla="*/ 492 w 512"/>
                <a:gd name="T87" fmla="*/ 256 h 684"/>
                <a:gd name="T88" fmla="*/ 479 w 512"/>
                <a:gd name="T89" fmla="*/ 207 h 684"/>
                <a:gd name="T90" fmla="*/ 458 w 512"/>
                <a:gd name="T91" fmla="*/ 130 h 684"/>
                <a:gd name="T92" fmla="*/ 414 w 512"/>
                <a:gd name="T93" fmla="*/ 85 h 684"/>
                <a:gd name="T94" fmla="*/ 379 w 512"/>
                <a:gd name="T95" fmla="*/ 83 h 684"/>
                <a:gd name="T96" fmla="*/ 319 w 512"/>
                <a:gd name="T97" fmla="*/ 106 h 684"/>
                <a:gd name="T98" fmla="*/ 314 w 512"/>
                <a:gd name="T99" fmla="*/ 87 h 684"/>
                <a:gd name="T100" fmla="*/ 284 w 512"/>
                <a:gd name="T101" fmla="*/ 59 h 684"/>
                <a:gd name="T102" fmla="*/ 260 w 512"/>
                <a:gd name="T103" fmla="*/ 15 h 684"/>
                <a:gd name="T104" fmla="*/ 225 w 512"/>
                <a:gd name="T105" fmla="*/ 2 h 68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12"/>
                <a:gd name="T160" fmla="*/ 0 h 684"/>
                <a:gd name="T161" fmla="*/ 512 w 512"/>
                <a:gd name="T162" fmla="*/ 684 h 68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12" h="684">
                  <a:moveTo>
                    <a:pt x="212" y="0"/>
                  </a:moveTo>
                  <a:lnTo>
                    <a:pt x="201" y="7"/>
                  </a:lnTo>
                  <a:lnTo>
                    <a:pt x="201" y="15"/>
                  </a:lnTo>
                  <a:lnTo>
                    <a:pt x="203" y="22"/>
                  </a:lnTo>
                  <a:lnTo>
                    <a:pt x="205" y="33"/>
                  </a:lnTo>
                  <a:lnTo>
                    <a:pt x="207" y="48"/>
                  </a:lnTo>
                  <a:lnTo>
                    <a:pt x="201" y="54"/>
                  </a:lnTo>
                  <a:lnTo>
                    <a:pt x="201" y="63"/>
                  </a:lnTo>
                  <a:lnTo>
                    <a:pt x="203" y="72"/>
                  </a:lnTo>
                  <a:lnTo>
                    <a:pt x="218" y="85"/>
                  </a:lnTo>
                  <a:lnTo>
                    <a:pt x="227" y="87"/>
                  </a:lnTo>
                  <a:lnTo>
                    <a:pt x="231" y="107"/>
                  </a:lnTo>
                  <a:lnTo>
                    <a:pt x="210" y="102"/>
                  </a:lnTo>
                  <a:lnTo>
                    <a:pt x="199" y="91"/>
                  </a:lnTo>
                  <a:lnTo>
                    <a:pt x="190" y="96"/>
                  </a:lnTo>
                  <a:lnTo>
                    <a:pt x="173" y="117"/>
                  </a:lnTo>
                  <a:lnTo>
                    <a:pt x="166" y="124"/>
                  </a:lnTo>
                  <a:lnTo>
                    <a:pt x="158" y="122"/>
                  </a:lnTo>
                  <a:lnTo>
                    <a:pt x="157" y="113"/>
                  </a:lnTo>
                  <a:lnTo>
                    <a:pt x="151" y="106"/>
                  </a:lnTo>
                  <a:lnTo>
                    <a:pt x="136" y="100"/>
                  </a:lnTo>
                  <a:lnTo>
                    <a:pt x="114" y="100"/>
                  </a:lnTo>
                  <a:lnTo>
                    <a:pt x="107" y="109"/>
                  </a:lnTo>
                  <a:lnTo>
                    <a:pt x="95" y="122"/>
                  </a:lnTo>
                  <a:lnTo>
                    <a:pt x="105" y="131"/>
                  </a:lnTo>
                  <a:lnTo>
                    <a:pt x="105" y="148"/>
                  </a:lnTo>
                  <a:lnTo>
                    <a:pt x="103" y="157"/>
                  </a:lnTo>
                  <a:lnTo>
                    <a:pt x="99" y="165"/>
                  </a:lnTo>
                  <a:lnTo>
                    <a:pt x="86" y="174"/>
                  </a:lnTo>
                  <a:lnTo>
                    <a:pt x="82" y="176"/>
                  </a:lnTo>
                  <a:lnTo>
                    <a:pt x="84" y="189"/>
                  </a:lnTo>
                  <a:lnTo>
                    <a:pt x="90" y="198"/>
                  </a:lnTo>
                  <a:lnTo>
                    <a:pt x="86" y="209"/>
                  </a:lnTo>
                  <a:lnTo>
                    <a:pt x="77" y="222"/>
                  </a:lnTo>
                  <a:lnTo>
                    <a:pt x="66" y="235"/>
                  </a:lnTo>
                  <a:lnTo>
                    <a:pt x="58" y="244"/>
                  </a:lnTo>
                  <a:lnTo>
                    <a:pt x="45" y="254"/>
                  </a:lnTo>
                  <a:lnTo>
                    <a:pt x="35" y="257"/>
                  </a:lnTo>
                  <a:lnTo>
                    <a:pt x="28" y="272"/>
                  </a:lnTo>
                  <a:lnTo>
                    <a:pt x="26" y="294"/>
                  </a:lnTo>
                  <a:lnTo>
                    <a:pt x="19" y="307"/>
                  </a:lnTo>
                  <a:lnTo>
                    <a:pt x="19" y="326"/>
                  </a:lnTo>
                  <a:lnTo>
                    <a:pt x="11" y="335"/>
                  </a:lnTo>
                  <a:lnTo>
                    <a:pt x="9" y="341"/>
                  </a:lnTo>
                  <a:lnTo>
                    <a:pt x="15" y="350"/>
                  </a:lnTo>
                  <a:lnTo>
                    <a:pt x="19" y="365"/>
                  </a:lnTo>
                  <a:lnTo>
                    <a:pt x="28" y="378"/>
                  </a:lnTo>
                  <a:lnTo>
                    <a:pt x="2" y="400"/>
                  </a:lnTo>
                  <a:lnTo>
                    <a:pt x="7" y="413"/>
                  </a:lnTo>
                  <a:lnTo>
                    <a:pt x="17" y="422"/>
                  </a:lnTo>
                  <a:lnTo>
                    <a:pt x="19" y="424"/>
                  </a:lnTo>
                  <a:lnTo>
                    <a:pt x="19" y="433"/>
                  </a:lnTo>
                  <a:lnTo>
                    <a:pt x="6" y="442"/>
                  </a:lnTo>
                  <a:lnTo>
                    <a:pt x="0" y="455"/>
                  </a:lnTo>
                  <a:lnTo>
                    <a:pt x="6" y="472"/>
                  </a:lnTo>
                  <a:lnTo>
                    <a:pt x="13" y="483"/>
                  </a:lnTo>
                  <a:lnTo>
                    <a:pt x="28" y="489"/>
                  </a:lnTo>
                  <a:lnTo>
                    <a:pt x="47" y="492"/>
                  </a:lnTo>
                  <a:lnTo>
                    <a:pt x="66" y="494"/>
                  </a:lnTo>
                  <a:lnTo>
                    <a:pt x="81" y="496"/>
                  </a:lnTo>
                  <a:lnTo>
                    <a:pt x="92" y="504"/>
                  </a:lnTo>
                  <a:lnTo>
                    <a:pt x="103" y="513"/>
                  </a:lnTo>
                  <a:lnTo>
                    <a:pt x="90" y="520"/>
                  </a:lnTo>
                  <a:lnTo>
                    <a:pt x="79" y="531"/>
                  </a:lnTo>
                  <a:lnTo>
                    <a:pt x="68" y="541"/>
                  </a:lnTo>
                  <a:lnTo>
                    <a:pt x="66" y="553"/>
                  </a:lnTo>
                  <a:lnTo>
                    <a:pt x="60" y="580"/>
                  </a:lnTo>
                  <a:lnTo>
                    <a:pt x="51" y="597"/>
                  </a:lnTo>
                  <a:lnTo>
                    <a:pt x="45" y="608"/>
                  </a:lnTo>
                  <a:lnTo>
                    <a:pt x="60" y="628"/>
                  </a:lnTo>
                  <a:lnTo>
                    <a:pt x="64" y="634"/>
                  </a:lnTo>
                  <a:lnTo>
                    <a:pt x="73" y="641"/>
                  </a:lnTo>
                  <a:lnTo>
                    <a:pt x="82" y="640"/>
                  </a:lnTo>
                  <a:lnTo>
                    <a:pt x="94" y="634"/>
                  </a:lnTo>
                  <a:lnTo>
                    <a:pt x="99" y="628"/>
                  </a:lnTo>
                  <a:lnTo>
                    <a:pt x="101" y="625"/>
                  </a:lnTo>
                  <a:lnTo>
                    <a:pt x="118" y="628"/>
                  </a:lnTo>
                  <a:lnTo>
                    <a:pt x="125" y="638"/>
                  </a:lnTo>
                  <a:lnTo>
                    <a:pt x="131" y="649"/>
                  </a:lnTo>
                  <a:lnTo>
                    <a:pt x="138" y="658"/>
                  </a:lnTo>
                  <a:lnTo>
                    <a:pt x="149" y="660"/>
                  </a:lnTo>
                  <a:lnTo>
                    <a:pt x="171" y="658"/>
                  </a:lnTo>
                  <a:lnTo>
                    <a:pt x="182" y="656"/>
                  </a:lnTo>
                  <a:lnTo>
                    <a:pt x="197" y="667"/>
                  </a:lnTo>
                  <a:lnTo>
                    <a:pt x="208" y="662"/>
                  </a:lnTo>
                  <a:lnTo>
                    <a:pt x="219" y="665"/>
                  </a:lnTo>
                  <a:lnTo>
                    <a:pt x="229" y="673"/>
                  </a:lnTo>
                  <a:lnTo>
                    <a:pt x="247" y="665"/>
                  </a:lnTo>
                  <a:lnTo>
                    <a:pt x="264" y="665"/>
                  </a:lnTo>
                  <a:lnTo>
                    <a:pt x="277" y="673"/>
                  </a:lnTo>
                  <a:lnTo>
                    <a:pt x="286" y="677"/>
                  </a:lnTo>
                  <a:lnTo>
                    <a:pt x="297" y="669"/>
                  </a:lnTo>
                  <a:lnTo>
                    <a:pt x="308" y="669"/>
                  </a:lnTo>
                  <a:lnTo>
                    <a:pt x="327" y="665"/>
                  </a:lnTo>
                  <a:lnTo>
                    <a:pt x="340" y="673"/>
                  </a:lnTo>
                  <a:lnTo>
                    <a:pt x="342" y="669"/>
                  </a:lnTo>
                  <a:lnTo>
                    <a:pt x="356" y="678"/>
                  </a:lnTo>
                  <a:lnTo>
                    <a:pt x="368" y="684"/>
                  </a:lnTo>
                  <a:lnTo>
                    <a:pt x="382" y="678"/>
                  </a:lnTo>
                  <a:lnTo>
                    <a:pt x="384" y="669"/>
                  </a:lnTo>
                  <a:lnTo>
                    <a:pt x="375" y="656"/>
                  </a:lnTo>
                  <a:lnTo>
                    <a:pt x="373" y="649"/>
                  </a:lnTo>
                  <a:lnTo>
                    <a:pt x="368" y="627"/>
                  </a:lnTo>
                  <a:lnTo>
                    <a:pt x="419" y="593"/>
                  </a:lnTo>
                  <a:lnTo>
                    <a:pt x="432" y="593"/>
                  </a:lnTo>
                  <a:lnTo>
                    <a:pt x="434" y="588"/>
                  </a:lnTo>
                  <a:lnTo>
                    <a:pt x="416" y="581"/>
                  </a:lnTo>
                  <a:lnTo>
                    <a:pt x="403" y="567"/>
                  </a:lnTo>
                  <a:lnTo>
                    <a:pt x="370" y="538"/>
                  </a:lnTo>
                  <a:lnTo>
                    <a:pt x="366" y="515"/>
                  </a:lnTo>
                  <a:lnTo>
                    <a:pt x="347" y="511"/>
                  </a:lnTo>
                  <a:lnTo>
                    <a:pt x="345" y="489"/>
                  </a:lnTo>
                  <a:lnTo>
                    <a:pt x="341" y="470"/>
                  </a:lnTo>
                  <a:lnTo>
                    <a:pt x="333" y="461"/>
                  </a:lnTo>
                  <a:lnTo>
                    <a:pt x="338" y="452"/>
                  </a:lnTo>
                  <a:lnTo>
                    <a:pt x="342" y="448"/>
                  </a:lnTo>
                  <a:lnTo>
                    <a:pt x="352" y="449"/>
                  </a:lnTo>
                  <a:lnTo>
                    <a:pt x="383" y="440"/>
                  </a:lnTo>
                  <a:lnTo>
                    <a:pt x="449" y="406"/>
                  </a:lnTo>
                  <a:lnTo>
                    <a:pt x="463" y="400"/>
                  </a:lnTo>
                  <a:lnTo>
                    <a:pt x="477" y="391"/>
                  </a:lnTo>
                  <a:lnTo>
                    <a:pt x="488" y="403"/>
                  </a:lnTo>
                  <a:lnTo>
                    <a:pt x="503" y="397"/>
                  </a:lnTo>
                  <a:lnTo>
                    <a:pt x="507" y="382"/>
                  </a:lnTo>
                  <a:lnTo>
                    <a:pt x="506" y="373"/>
                  </a:lnTo>
                  <a:lnTo>
                    <a:pt x="512" y="363"/>
                  </a:lnTo>
                  <a:lnTo>
                    <a:pt x="504" y="351"/>
                  </a:lnTo>
                  <a:lnTo>
                    <a:pt x="495" y="330"/>
                  </a:lnTo>
                  <a:lnTo>
                    <a:pt x="501" y="300"/>
                  </a:lnTo>
                  <a:lnTo>
                    <a:pt x="491" y="285"/>
                  </a:lnTo>
                  <a:lnTo>
                    <a:pt x="487" y="270"/>
                  </a:lnTo>
                  <a:lnTo>
                    <a:pt x="492" y="256"/>
                  </a:lnTo>
                  <a:lnTo>
                    <a:pt x="489" y="244"/>
                  </a:lnTo>
                  <a:lnTo>
                    <a:pt x="468" y="221"/>
                  </a:lnTo>
                  <a:lnTo>
                    <a:pt x="479" y="207"/>
                  </a:lnTo>
                  <a:lnTo>
                    <a:pt x="479" y="183"/>
                  </a:lnTo>
                  <a:lnTo>
                    <a:pt x="481" y="155"/>
                  </a:lnTo>
                  <a:lnTo>
                    <a:pt x="458" y="130"/>
                  </a:lnTo>
                  <a:lnTo>
                    <a:pt x="447" y="115"/>
                  </a:lnTo>
                  <a:lnTo>
                    <a:pt x="434" y="102"/>
                  </a:lnTo>
                  <a:lnTo>
                    <a:pt x="414" y="85"/>
                  </a:lnTo>
                  <a:lnTo>
                    <a:pt x="401" y="76"/>
                  </a:lnTo>
                  <a:lnTo>
                    <a:pt x="392" y="74"/>
                  </a:lnTo>
                  <a:lnTo>
                    <a:pt x="379" y="83"/>
                  </a:lnTo>
                  <a:lnTo>
                    <a:pt x="369" y="89"/>
                  </a:lnTo>
                  <a:lnTo>
                    <a:pt x="340" y="111"/>
                  </a:lnTo>
                  <a:lnTo>
                    <a:pt x="319" y="106"/>
                  </a:lnTo>
                  <a:lnTo>
                    <a:pt x="310" y="106"/>
                  </a:lnTo>
                  <a:lnTo>
                    <a:pt x="310" y="98"/>
                  </a:lnTo>
                  <a:lnTo>
                    <a:pt x="314" y="87"/>
                  </a:lnTo>
                  <a:lnTo>
                    <a:pt x="319" y="78"/>
                  </a:lnTo>
                  <a:lnTo>
                    <a:pt x="292" y="61"/>
                  </a:lnTo>
                  <a:lnTo>
                    <a:pt x="284" y="59"/>
                  </a:lnTo>
                  <a:lnTo>
                    <a:pt x="271" y="48"/>
                  </a:lnTo>
                  <a:lnTo>
                    <a:pt x="266" y="28"/>
                  </a:lnTo>
                  <a:lnTo>
                    <a:pt x="260" y="15"/>
                  </a:lnTo>
                  <a:lnTo>
                    <a:pt x="251" y="17"/>
                  </a:lnTo>
                  <a:lnTo>
                    <a:pt x="240" y="4"/>
                  </a:lnTo>
                  <a:lnTo>
                    <a:pt x="22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  <p:sp>
        <p:nvSpPr>
          <p:cNvPr id="23" name="Freeform 33"/>
          <p:cNvSpPr>
            <a:spLocks/>
          </p:cNvSpPr>
          <p:nvPr/>
        </p:nvSpPr>
        <p:spPr bwMode="auto">
          <a:xfrm>
            <a:off x="5174568" y="3026652"/>
            <a:ext cx="832119" cy="818876"/>
          </a:xfrm>
          <a:custGeom>
            <a:avLst/>
            <a:gdLst>
              <a:gd name="T0" fmla="*/ 2147483647 w 551"/>
              <a:gd name="T1" fmla="*/ 2147483647 h 518"/>
              <a:gd name="T2" fmla="*/ 0 w 551"/>
              <a:gd name="T3" fmla="*/ 2147483647 h 518"/>
              <a:gd name="T4" fmla="*/ 2147483647 w 551"/>
              <a:gd name="T5" fmla="*/ 2147483647 h 518"/>
              <a:gd name="T6" fmla="*/ 2147483647 w 551"/>
              <a:gd name="T7" fmla="*/ 2147483647 h 518"/>
              <a:gd name="T8" fmla="*/ 2147483647 w 551"/>
              <a:gd name="T9" fmla="*/ 2147483647 h 518"/>
              <a:gd name="T10" fmla="*/ 2147483647 w 551"/>
              <a:gd name="T11" fmla="*/ 2147483647 h 518"/>
              <a:gd name="T12" fmla="*/ 2147483647 w 551"/>
              <a:gd name="T13" fmla="*/ 2147483647 h 518"/>
              <a:gd name="T14" fmla="*/ 2147483647 w 551"/>
              <a:gd name="T15" fmla="*/ 2147483647 h 518"/>
              <a:gd name="T16" fmla="*/ 2147483647 w 551"/>
              <a:gd name="T17" fmla="*/ 2147483647 h 518"/>
              <a:gd name="T18" fmla="*/ 2147483647 w 551"/>
              <a:gd name="T19" fmla="*/ 2147483647 h 518"/>
              <a:gd name="T20" fmla="*/ 2147483647 w 551"/>
              <a:gd name="T21" fmla="*/ 2147483647 h 518"/>
              <a:gd name="T22" fmla="*/ 2147483647 w 551"/>
              <a:gd name="T23" fmla="*/ 2147483647 h 518"/>
              <a:gd name="T24" fmla="*/ 2147483647 w 551"/>
              <a:gd name="T25" fmla="*/ 2147483647 h 518"/>
              <a:gd name="T26" fmla="*/ 2147483647 w 551"/>
              <a:gd name="T27" fmla="*/ 2147483647 h 518"/>
              <a:gd name="T28" fmla="*/ 2147483647 w 551"/>
              <a:gd name="T29" fmla="*/ 2147483647 h 518"/>
              <a:gd name="T30" fmla="*/ 2147483647 w 551"/>
              <a:gd name="T31" fmla="*/ 2147483647 h 518"/>
              <a:gd name="T32" fmla="*/ 2147483647 w 551"/>
              <a:gd name="T33" fmla="*/ 2147483647 h 518"/>
              <a:gd name="T34" fmla="*/ 2147483647 w 551"/>
              <a:gd name="T35" fmla="*/ 2147483647 h 518"/>
              <a:gd name="T36" fmla="*/ 2147483647 w 551"/>
              <a:gd name="T37" fmla="*/ 2147483647 h 518"/>
              <a:gd name="T38" fmla="*/ 2147483647 w 551"/>
              <a:gd name="T39" fmla="*/ 2147483647 h 518"/>
              <a:gd name="T40" fmla="*/ 2147483647 w 551"/>
              <a:gd name="T41" fmla="*/ 2147483647 h 518"/>
              <a:gd name="T42" fmla="*/ 2147483647 w 551"/>
              <a:gd name="T43" fmla="*/ 2147483647 h 518"/>
              <a:gd name="T44" fmla="*/ 2147483647 w 551"/>
              <a:gd name="T45" fmla="*/ 2147483647 h 518"/>
              <a:gd name="T46" fmla="*/ 2147483647 w 551"/>
              <a:gd name="T47" fmla="*/ 2147483647 h 518"/>
              <a:gd name="T48" fmla="*/ 2147483647 w 551"/>
              <a:gd name="T49" fmla="*/ 2147483647 h 518"/>
              <a:gd name="T50" fmla="*/ 2147483647 w 551"/>
              <a:gd name="T51" fmla="*/ 2147483647 h 518"/>
              <a:gd name="T52" fmla="*/ 2147483647 w 551"/>
              <a:gd name="T53" fmla="*/ 2147483647 h 518"/>
              <a:gd name="T54" fmla="*/ 2147483647 w 551"/>
              <a:gd name="T55" fmla="*/ 2147483647 h 518"/>
              <a:gd name="T56" fmla="*/ 2147483647 w 551"/>
              <a:gd name="T57" fmla="*/ 2147483647 h 518"/>
              <a:gd name="T58" fmla="*/ 2147483647 w 551"/>
              <a:gd name="T59" fmla="*/ 2147483647 h 518"/>
              <a:gd name="T60" fmla="*/ 2147483647 w 551"/>
              <a:gd name="T61" fmla="*/ 2147483647 h 518"/>
              <a:gd name="T62" fmla="*/ 2147483647 w 551"/>
              <a:gd name="T63" fmla="*/ 2147483647 h 518"/>
              <a:gd name="T64" fmla="*/ 2147483647 w 551"/>
              <a:gd name="T65" fmla="*/ 2147483647 h 518"/>
              <a:gd name="T66" fmla="*/ 2147483647 w 551"/>
              <a:gd name="T67" fmla="*/ 2147483647 h 518"/>
              <a:gd name="T68" fmla="*/ 2147483647 w 551"/>
              <a:gd name="T69" fmla="*/ 2147483647 h 518"/>
              <a:gd name="T70" fmla="*/ 2147483647 w 551"/>
              <a:gd name="T71" fmla="*/ 2147483647 h 518"/>
              <a:gd name="T72" fmla="*/ 2147483647 w 551"/>
              <a:gd name="T73" fmla="*/ 2147483647 h 518"/>
              <a:gd name="T74" fmla="*/ 2147483647 w 551"/>
              <a:gd name="T75" fmla="*/ 2147483647 h 518"/>
              <a:gd name="T76" fmla="*/ 2147483647 w 551"/>
              <a:gd name="T77" fmla="*/ 2147483647 h 518"/>
              <a:gd name="T78" fmla="*/ 2147483647 w 551"/>
              <a:gd name="T79" fmla="*/ 2147483647 h 518"/>
              <a:gd name="T80" fmla="*/ 2147483647 w 551"/>
              <a:gd name="T81" fmla="*/ 2147483647 h 518"/>
              <a:gd name="T82" fmla="*/ 2147483647 w 551"/>
              <a:gd name="T83" fmla="*/ 2147483647 h 518"/>
              <a:gd name="T84" fmla="*/ 2147483647 w 551"/>
              <a:gd name="T85" fmla="*/ 2147483647 h 518"/>
              <a:gd name="T86" fmla="*/ 2147483647 w 551"/>
              <a:gd name="T87" fmla="*/ 2147483647 h 518"/>
              <a:gd name="T88" fmla="*/ 2147483647 w 551"/>
              <a:gd name="T89" fmla="*/ 2147483647 h 518"/>
              <a:gd name="T90" fmla="*/ 2147483647 w 551"/>
              <a:gd name="T91" fmla="*/ 2147483647 h 518"/>
              <a:gd name="T92" fmla="*/ 2147483647 w 551"/>
              <a:gd name="T93" fmla="*/ 2147483647 h 518"/>
              <a:gd name="T94" fmla="*/ 2147483647 w 551"/>
              <a:gd name="T95" fmla="*/ 2147483647 h 51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551"/>
              <a:gd name="T145" fmla="*/ 0 h 518"/>
              <a:gd name="T146" fmla="*/ 551 w 551"/>
              <a:gd name="T147" fmla="*/ 518 h 51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551" h="518">
                <a:moveTo>
                  <a:pt x="13" y="98"/>
                </a:moveTo>
                <a:lnTo>
                  <a:pt x="11" y="130"/>
                </a:lnTo>
                <a:lnTo>
                  <a:pt x="11" y="150"/>
                </a:lnTo>
                <a:lnTo>
                  <a:pt x="0" y="165"/>
                </a:lnTo>
                <a:lnTo>
                  <a:pt x="22" y="191"/>
                </a:lnTo>
                <a:lnTo>
                  <a:pt x="24" y="198"/>
                </a:lnTo>
                <a:lnTo>
                  <a:pt x="19" y="215"/>
                </a:lnTo>
                <a:lnTo>
                  <a:pt x="20" y="226"/>
                </a:lnTo>
                <a:lnTo>
                  <a:pt x="31" y="241"/>
                </a:lnTo>
                <a:lnTo>
                  <a:pt x="30" y="250"/>
                </a:lnTo>
                <a:lnTo>
                  <a:pt x="28" y="278"/>
                </a:lnTo>
                <a:lnTo>
                  <a:pt x="37" y="297"/>
                </a:lnTo>
                <a:lnTo>
                  <a:pt x="44" y="308"/>
                </a:lnTo>
                <a:lnTo>
                  <a:pt x="39" y="315"/>
                </a:lnTo>
                <a:lnTo>
                  <a:pt x="39" y="326"/>
                </a:lnTo>
                <a:lnTo>
                  <a:pt x="33" y="332"/>
                </a:lnTo>
                <a:lnTo>
                  <a:pt x="33" y="339"/>
                </a:lnTo>
                <a:lnTo>
                  <a:pt x="48" y="341"/>
                </a:lnTo>
                <a:lnTo>
                  <a:pt x="59" y="345"/>
                </a:lnTo>
                <a:lnTo>
                  <a:pt x="63" y="352"/>
                </a:lnTo>
                <a:lnTo>
                  <a:pt x="63" y="365"/>
                </a:lnTo>
                <a:lnTo>
                  <a:pt x="78" y="380"/>
                </a:lnTo>
                <a:lnTo>
                  <a:pt x="92" y="386"/>
                </a:lnTo>
                <a:lnTo>
                  <a:pt x="95" y="399"/>
                </a:lnTo>
                <a:lnTo>
                  <a:pt x="112" y="421"/>
                </a:lnTo>
                <a:lnTo>
                  <a:pt x="127" y="408"/>
                </a:lnTo>
                <a:lnTo>
                  <a:pt x="140" y="404"/>
                </a:lnTo>
                <a:lnTo>
                  <a:pt x="149" y="406"/>
                </a:lnTo>
                <a:lnTo>
                  <a:pt x="175" y="434"/>
                </a:lnTo>
                <a:lnTo>
                  <a:pt x="181" y="436"/>
                </a:lnTo>
                <a:lnTo>
                  <a:pt x="212" y="450"/>
                </a:lnTo>
                <a:lnTo>
                  <a:pt x="219" y="452"/>
                </a:lnTo>
                <a:lnTo>
                  <a:pt x="232" y="449"/>
                </a:lnTo>
                <a:lnTo>
                  <a:pt x="247" y="447"/>
                </a:lnTo>
                <a:lnTo>
                  <a:pt x="260" y="452"/>
                </a:lnTo>
                <a:lnTo>
                  <a:pt x="277" y="467"/>
                </a:lnTo>
                <a:lnTo>
                  <a:pt x="284" y="475"/>
                </a:lnTo>
                <a:lnTo>
                  <a:pt x="292" y="469"/>
                </a:lnTo>
                <a:lnTo>
                  <a:pt x="301" y="467"/>
                </a:lnTo>
                <a:lnTo>
                  <a:pt x="314" y="478"/>
                </a:lnTo>
                <a:lnTo>
                  <a:pt x="329" y="490"/>
                </a:lnTo>
                <a:lnTo>
                  <a:pt x="340" y="498"/>
                </a:lnTo>
                <a:lnTo>
                  <a:pt x="355" y="503"/>
                </a:lnTo>
                <a:lnTo>
                  <a:pt x="362" y="501"/>
                </a:lnTo>
                <a:lnTo>
                  <a:pt x="369" y="494"/>
                </a:lnTo>
                <a:lnTo>
                  <a:pt x="379" y="490"/>
                </a:lnTo>
                <a:lnTo>
                  <a:pt x="397" y="496"/>
                </a:lnTo>
                <a:lnTo>
                  <a:pt x="482" y="518"/>
                </a:lnTo>
                <a:lnTo>
                  <a:pt x="495" y="507"/>
                </a:lnTo>
                <a:lnTo>
                  <a:pt x="486" y="490"/>
                </a:lnTo>
                <a:lnTo>
                  <a:pt x="477" y="462"/>
                </a:lnTo>
                <a:lnTo>
                  <a:pt x="536" y="408"/>
                </a:lnTo>
                <a:lnTo>
                  <a:pt x="547" y="395"/>
                </a:lnTo>
                <a:lnTo>
                  <a:pt x="551" y="374"/>
                </a:lnTo>
                <a:lnTo>
                  <a:pt x="542" y="347"/>
                </a:lnTo>
                <a:lnTo>
                  <a:pt x="532" y="324"/>
                </a:lnTo>
                <a:lnTo>
                  <a:pt x="516" y="298"/>
                </a:lnTo>
                <a:lnTo>
                  <a:pt x="505" y="287"/>
                </a:lnTo>
                <a:lnTo>
                  <a:pt x="503" y="271"/>
                </a:lnTo>
                <a:lnTo>
                  <a:pt x="505" y="254"/>
                </a:lnTo>
                <a:lnTo>
                  <a:pt x="510" y="237"/>
                </a:lnTo>
                <a:lnTo>
                  <a:pt x="503" y="226"/>
                </a:lnTo>
                <a:lnTo>
                  <a:pt x="494" y="219"/>
                </a:lnTo>
                <a:lnTo>
                  <a:pt x="503" y="208"/>
                </a:lnTo>
                <a:lnTo>
                  <a:pt x="518" y="187"/>
                </a:lnTo>
                <a:lnTo>
                  <a:pt x="523" y="182"/>
                </a:lnTo>
                <a:lnTo>
                  <a:pt x="520" y="146"/>
                </a:lnTo>
                <a:lnTo>
                  <a:pt x="514" y="128"/>
                </a:lnTo>
                <a:lnTo>
                  <a:pt x="508" y="109"/>
                </a:lnTo>
                <a:lnTo>
                  <a:pt x="508" y="91"/>
                </a:lnTo>
                <a:lnTo>
                  <a:pt x="497" y="74"/>
                </a:lnTo>
                <a:lnTo>
                  <a:pt x="482" y="59"/>
                </a:lnTo>
                <a:lnTo>
                  <a:pt x="466" y="57"/>
                </a:lnTo>
                <a:lnTo>
                  <a:pt x="418" y="56"/>
                </a:lnTo>
                <a:lnTo>
                  <a:pt x="392" y="54"/>
                </a:lnTo>
                <a:lnTo>
                  <a:pt x="344" y="50"/>
                </a:lnTo>
                <a:lnTo>
                  <a:pt x="325" y="41"/>
                </a:lnTo>
                <a:lnTo>
                  <a:pt x="305" y="39"/>
                </a:lnTo>
                <a:lnTo>
                  <a:pt x="294" y="43"/>
                </a:lnTo>
                <a:lnTo>
                  <a:pt x="281" y="52"/>
                </a:lnTo>
                <a:lnTo>
                  <a:pt x="269" y="48"/>
                </a:lnTo>
                <a:lnTo>
                  <a:pt x="258" y="37"/>
                </a:lnTo>
                <a:lnTo>
                  <a:pt x="245" y="37"/>
                </a:lnTo>
                <a:lnTo>
                  <a:pt x="240" y="32"/>
                </a:lnTo>
                <a:lnTo>
                  <a:pt x="236" y="15"/>
                </a:lnTo>
                <a:lnTo>
                  <a:pt x="219" y="2"/>
                </a:lnTo>
                <a:lnTo>
                  <a:pt x="207" y="0"/>
                </a:lnTo>
                <a:lnTo>
                  <a:pt x="184" y="6"/>
                </a:lnTo>
                <a:lnTo>
                  <a:pt x="166" y="11"/>
                </a:lnTo>
                <a:lnTo>
                  <a:pt x="151" y="20"/>
                </a:lnTo>
                <a:lnTo>
                  <a:pt x="125" y="35"/>
                </a:lnTo>
                <a:lnTo>
                  <a:pt x="99" y="43"/>
                </a:lnTo>
                <a:lnTo>
                  <a:pt x="76" y="52"/>
                </a:lnTo>
                <a:lnTo>
                  <a:pt x="52" y="63"/>
                </a:lnTo>
                <a:lnTo>
                  <a:pt x="39" y="78"/>
                </a:lnTo>
                <a:lnTo>
                  <a:pt x="24" y="91"/>
                </a:lnTo>
                <a:lnTo>
                  <a:pt x="13" y="98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24" name="Freeform 56"/>
          <p:cNvSpPr>
            <a:spLocks/>
          </p:cNvSpPr>
          <p:nvPr/>
        </p:nvSpPr>
        <p:spPr bwMode="auto">
          <a:xfrm>
            <a:off x="4972201" y="3556234"/>
            <a:ext cx="608610" cy="347785"/>
          </a:xfrm>
          <a:custGeom>
            <a:avLst/>
            <a:gdLst>
              <a:gd name="T0" fmla="*/ 2147483647 w 403"/>
              <a:gd name="T1" fmla="*/ 2147483647 h 220"/>
              <a:gd name="T2" fmla="*/ 2147483647 w 403"/>
              <a:gd name="T3" fmla="*/ 2147483647 h 220"/>
              <a:gd name="T4" fmla="*/ 2147483647 w 403"/>
              <a:gd name="T5" fmla="*/ 2147483647 h 220"/>
              <a:gd name="T6" fmla="*/ 2147483647 w 403"/>
              <a:gd name="T7" fmla="*/ 2147483647 h 220"/>
              <a:gd name="T8" fmla="*/ 2147483647 w 403"/>
              <a:gd name="T9" fmla="*/ 2147483647 h 220"/>
              <a:gd name="T10" fmla="*/ 2147483647 w 403"/>
              <a:gd name="T11" fmla="*/ 2147483647 h 220"/>
              <a:gd name="T12" fmla="*/ 2147483647 w 403"/>
              <a:gd name="T13" fmla="*/ 2147483647 h 220"/>
              <a:gd name="T14" fmla="*/ 2147483647 w 403"/>
              <a:gd name="T15" fmla="*/ 2147483647 h 220"/>
              <a:gd name="T16" fmla="*/ 0 w 403"/>
              <a:gd name="T17" fmla="*/ 2147483647 h 220"/>
              <a:gd name="T18" fmla="*/ 2147483647 w 403"/>
              <a:gd name="T19" fmla="*/ 2147483647 h 220"/>
              <a:gd name="T20" fmla="*/ 2147483647 w 403"/>
              <a:gd name="T21" fmla="*/ 2147483647 h 220"/>
              <a:gd name="T22" fmla="*/ 2147483647 w 403"/>
              <a:gd name="T23" fmla="*/ 2147483647 h 220"/>
              <a:gd name="T24" fmla="*/ 2147483647 w 403"/>
              <a:gd name="T25" fmla="*/ 2147483647 h 220"/>
              <a:gd name="T26" fmla="*/ 2147483647 w 403"/>
              <a:gd name="T27" fmla="*/ 0 h 220"/>
              <a:gd name="T28" fmla="*/ 2147483647 w 403"/>
              <a:gd name="T29" fmla="*/ 2147483647 h 220"/>
              <a:gd name="T30" fmla="*/ 2147483647 w 403"/>
              <a:gd name="T31" fmla="*/ 2147483647 h 220"/>
              <a:gd name="T32" fmla="*/ 2147483647 w 403"/>
              <a:gd name="T33" fmla="*/ 2147483647 h 220"/>
              <a:gd name="T34" fmla="*/ 2147483647 w 403"/>
              <a:gd name="T35" fmla="*/ 2147483647 h 220"/>
              <a:gd name="T36" fmla="*/ 2147483647 w 403"/>
              <a:gd name="T37" fmla="*/ 2147483647 h 220"/>
              <a:gd name="T38" fmla="*/ 2147483647 w 403"/>
              <a:gd name="T39" fmla="*/ 2147483647 h 220"/>
              <a:gd name="T40" fmla="*/ 2147483647 w 403"/>
              <a:gd name="T41" fmla="*/ 2147483647 h 220"/>
              <a:gd name="T42" fmla="*/ 2147483647 w 403"/>
              <a:gd name="T43" fmla="*/ 2147483647 h 220"/>
              <a:gd name="T44" fmla="*/ 2147483647 w 403"/>
              <a:gd name="T45" fmla="*/ 2147483647 h 220"/>
              <a:gd name="T46" fmla="*/ 2147483647 w 403"/>
              <a:gd name="T47" fmla="*/ 2147483647 h 220"/>
              <a:gd name="T48" fmla="*/ 2147483647 w 403"/>
              <a:gd name="T49" fmla="*/ 2147483647 h 220"/>
              <a:gd name="T50" fmla="*/ 2147483647 w 403"/>
              <a:gd name="T51" fmla="*/ 2147483647 h 220"/>
              <a:gd name="T52" fmla="*/ 2147483647 w 403"/>
              <a:gd name="T53" fmla="*/ 2147483647 h 220"/>
              <a:gd name="T54" fmla="*/ 2147483647 w 403"/>
              <a:gd name="T55" fmla="*/ 2147483647 h 220"/>
              <a:gd name="T56" fmla="*/ 2147483647 w 403"/>
              <a:gd name="T57" fmla="*/ 2147483647 h 220"/>
              <a:gd name="T58" fmla="*/ 2147483647 w 403"/>
              <a:gd name="T59" fmla="*/ 2147483647 h 220"/>
              <a:gd name="T60" fmla="*/ 2147483647 w 403"/>
              <a:gd name="T61" fmla="*/ 2147483647 h 220"/>
              <a:gd name="T62" fmla="*/ 2147483647 w 403"/>
              <a:gd name="T63" fmla="*/ 2147483647 h 220"/>
              <a:gd name="T64" fmla="*/ 2147483647 w 403"/>
              <a:gd name="T65" fmla="*/ 2147483647 h 220"/>
              <a:gd name="T66" fmla="*/ 2147483647 w 403"/>
              <a:gd name="T67" fmla="*/ 2147483647 h 220"/>
              <a:gd name="T68" fmla="*/ 2147483647 w 403"/>
              <a:gd name="T69" fmla="*/ 2147483647 h 220"/>
              <a:gd name="T70" fmla="*/ 2147483647 w 403"/>
              <a:gd name="T71" fmla="*/ 2147483647 h 220"/>
              <a:gd name="T72" fmla="*/ 2147483647 w 403"/>
              <a:gd name="T73" fmla="*/ 2147483647 h 220"/>
              <a:gd name="T74" fmla="*/ 2147483647 w 403"/>
              <a:gd name="T75" fmla="*/ 2147483647 h 220"/>
              <a:gd name="T76" fmla="*/ 2147483647 w 403"/>
              <a:gd name="T77" fmla="*/ 2147483647 h 220"/>
              <a:gd name="T78" fmla="*/ 2147483647 w 403"/>
              <a:gd name="T79" fmla="*/ 2147483647 h 220"/>
              <a:gd name="T80" fmla="*/ 2147483647 w 403"/>
              <a:gd name="T81" fmla="*/ 2147483647 h 220"/>
              <a:gd name="T82" fmla="*/ 2147483647 w 403"/>
              <a:gd name="T83" fmla="*/ 2147483647 h 220"/>
              <a:gd name="T84" fmla="*/ 2147483647 w 403"/>
              <a:gd name="T85" fmla="*/ 2147483647 h 220"/>
              <a:gd name="T86" fmla="*/ 2147483647 w 403"/>
              <a:gd name="T87" fmla="*/ 2147483647 h 220"/>
              <a:gd name="T88" fmla="*/ 2147483647 w 403"/>
              <a:gd name="T89" fmla="*/ 2147483647 h 220"/>
              <a:gd name="T90" fmla="*/ 2147483647 w 403"/>
              <a:gd name="T91" fmla="*/ 2147483647 h 220"/>
              <a:gd name="T92" fmla="*/ 2147483647 w 403"/>
              <a:gd name="T93" fmla="*/ 2147483647 h 220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03"/>
              <a:gd name="T142" fmla="*/ 0 h 220"/>
              <a:gd name="T143" fmla="*/ 403 w 403"/>
              <a:gd name="T144" fmla="*/ 220 h 220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03" h="220">
                <a:moveTo>
                  <a:pt x="99" y="211"/>
                </a:moveTo>
                <a:lnTo>
                  <a:pt x="96" y="199"/>
                </a:lnTo>
                <a:lnTo>
                  <a:pt x="83" y="192"/>
                </a:lnTo>
                <a:lnTo>
                  <a:pt x="36" y="149"/>
                </a:lnTo>
                <a:lnTo>
                  <a:pt x="33" y="126"/>
                </a:lnTo>
                <a:lnTo>
                  <a:pt x="12" y="123"/>
                </a:lnTo>
                <a:lnTo>
                  <a:pt x="13" y="102"/>
                </a:lnTo>
                <a:lnTo>
                  <a:pt x="6" y="82"/>
                </a:lnTo>
                <a:lnTo>
                  <a:pt x="0" y="71"/>
                </a:lnTo>
                <a:lnTo>
                  <a:pt x="4" y="59"/>
                </a:lnTo>
                <a:lnTo>
                  <a:pt x="19" y="59"/>
                </a:lnTo>
                <a:lnTo>
                  <a:pt x="45" y="53"/>
                </a:lnTo>
                <a:lnTo>
                  <a:pt x="126" y="11"/>
                </a:lnTo>
                <a:lnTo>
                  <a:pt x="143" y="0"/>
                </a:lnTo>
                <a:lnTo>
                  <a:pt x="154" y="13"/>
                </a:lnTo>
                <a:lnTo>
                  <a:pt x="171" y="6"/>
                </a:lnTo>
                <a:lnTo>
                  <a:pt x="187" y="7"/>
                </a:lnTo>
                <a:lnTo>
                  <a:pt x="197" y="14"/>
                </a:lnTo>
                <a:lnTo>
                  <a:pt x="197" y="33"/>
                </a:lnTo>
                <a:lnTo>
                  <a:pt x="227" y="52"/>
                </a:lnTo>
                <a:lnTo>
                  <a:pt x="229" y="65"/>
                </a:lnTo>
                <a:lnTo>
                  <a:pt x="240" y="80"/>
                </a:lnTo>
                <a:lnTo>
                  <a:pt x="248" y="86"/>
                </a:lnTo>
                <a:lnTo>
                  <a:pt x="253" y="80"/>
                </a:lnTo>
                <a:lnTo>
                  <a:pt x="274" y="69"/>
                </a:lnTo>
                <a:lnTo>
                  <a:pt x="283" y="71"/>
                </a:lnTo>
                <a:lnTo>
                  <a:pt x="309" y="100"/>
                </a:lnTo>
                <a:lnTo>
                  <a:pt x="315" y="99"/>
                </a:lnTo>
                <a:lnTo>
                  <a:pt x="342" y="115"/>
                </a:lnTo>
                <a:lnTo>
                  <a:pt x="382" y="113"/>
                </a:lnTo>
                <a:lnTo>
                  <a:pt x="403" y="126"/>
                </a:lnTo>
                <a:lnTo>
                  <a:pt x="359" y="151"/>
                </a:lnTo>
                <a:lnTo>
                  <a:pt x="357" y="181"/>
                </a:lnTo>
                <a:lnTo>
                  <a:pt x="330" y="206"/>
                </a:lnTo>
                <a:lnTo>
                  <a:pt x="301" y="205"/>
                </a:lnTo>
                <a:lnTo>
                  <a:pt x="285" y="212"/>
                </a:lnTo>
                <a:lnTo>
                  <a:pt x="265" y="220"/>
                </a:lnTo>
                <a:lnTo>
                  <a:pt x="240" y="204"/>
                </a:lnTo>
                <a:lnTo>
                  <a:pt x="224" y="212"/>
                </a:lnTo>
                <a:lnTo>
                  <a:pt x="209" y="215"/>
                </a:lnTo>
                <a:lnTo>
                  <a:pt x="197" y="196"/>
                </a:lnTo>
                <a:lnTo>
                  <a:pt x="162" y="197"/>
                </a:lnTo>
                <a:lnTo>
                  <a:pt x="151" y="205"/>
                </a:lnTo>
                <a:lnTo>
                  <a:pt x="143" y="213"/>
                </a:lnTo>
                <a:lnTo>
                  <a:pt x="128" y="213"/>
                </a:lnTo>
                <a:lnTo>
                  <a:pt x="112" y="216"/>
                </a:lnTo>
                <a:lnTo>
                  <a:pt x="99" y="211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25" name="Freeform 57"/>
          <p:cNvSpPr>
            <a:spLocks/>
          </p:cNvSpPr>
          <p:nvPr/>
        </p:nvSpPr>
        <p:spPr bwMode="auto">
          <a:xfrm>
            <a:off x="5032609" y="4202799"/>
            <a:ext cx="549712" cy="564361"/>
          </a:xfrm>
          <a:custGeom>
            <a:avLst/>
            <a:gdLst>
              <a:gd name="T0" fmla="*/ 2147483647 w 364"/>
              <a:gd name="T1" fmla="*/ 2147483647 h 357"/>
              <a:gd name="T2" fmla="*/ 2147483647 w 364"/>
              <a:gd name="T3" fmla="*/ 2147483647 h 357"/>
              <a:gd name="T4" fmla="*/ 2147483647 w 364"/>
              <a:gd name="T5" fmla="*/ 2147483647 h 357"/>
              <a:gd name="T6" fmla="*/ 2147483647 w 364"/>
              <a:gd name="T7" fmla="*/ 2147483647 h 357"/>
              <a:gd name="T8" fmla="*/ 2147483647 w 364"/>
              <a:gd name="T9" fmla="*/ 2147483647 h 357"/>
              <a:gd name="T10" fmla="*/ 2147483647 w 364"/>
              <a:gd name="T11" fmla="*/ 2147483647 h 357"/>
              <a:gd name="T12" fmla="*/ 2147483647 w 364"/>
              <a:gd name="T13" fmla="*/ 2147483647 h 357"/>
              <a:gd name="T14" fmla="*/ 2147483647 w 364"/>
              <a:gd name="T15" fmla="*/ 2147483647 h 357"/>
              <a:gd name="T16" fmla="*/ 2147483647 w 364"/>
              <a:gd name="T17" fmla="*/ 2147483647 h 357"/>
              <a:gd name="T18" fmla="*/ 2147483647 w 364"/>
              <a:gd name="T19" fmla="*/ 2147483647 h 357"/>
              <a:gd name="T20" fmla="*/ 2147483647 w 364"/>
              <a:gd name="T21" fmla="*/ 2147483647 h 357"/>
              <a:gd name="T22" fmla="*/ 2147483647 w 364"/>
              <a:gd name="T23" fmla="*/ 2147483647 h 357"/>
              <a:gd name="T24" fmla="*/ 2147483647 w 364"/>
              <a:gd name="T25" fmla="*/ 2147483647 h 357"/>
              <a:gd name="T26" fmla="*/ 2147483647 w 364"/>
              <a:gd name="T27" fmla="*/ 2147483647 h 357"/>
              <a:gd name="T28" fmla="*/ 2147483647 w 364"/>
              <a:gd name="T29" fmla="*/ 2147483647 h 357"/>
              <a:gd name="T30" fmla="*/ 2147483647 w 364"/>
              <a:gd name="T31" fmla="*/ 2147483647 h 357"/>
              <a:gd name="T32" fmla="*/ 2147483647 w 364"/>
              <a:gd name="T33" fmla="*/ 2147483647 h 357"/>
              <a:gd name="T34" fmla="*/ 2147483647 w 364"/>
              <a:gd name="T35" fmla="*/ 2147483647 h 357"/>
              <a:gd name="T36" fmla="*/ 2147483647 w 364"/>
              <a:gd name="T37" fmla="*/ 2147483647 h 357"/>
              <a:gd name="T38" fmla="*/ 2147483647 w 364"/>
              <a:gd name="T39" fmla="*/ 2147483647 h 357"/>
              <a:gd name="T40" fmla="*/ 2147483647 w 364"/>
              <a:gd name="T41" fmla="*/ 2147483647 h 357"/>
              <a:gd name="T42" fmla="*/ 2147483647 w 364"/>
              <a:gd name="T43" fmla="*/ 2147483647 h 357"/>
              <a:gd name="T44" fmla="*/ 2147483647 w 364"/>
              <a:gd name="T45" fmla="*/ 2147483647 h 357"/>
              <a:gd name="T46" fmla="*/ 2147483647 w 364"/>
              <a:gd name="T47" fmla="*/ 2147483647 h 357"/>
              <a:gd name="T48" fmla="*/ 2147483647 w 364"/>
              <a:gd name="T49" fmla="*/ 2147483647 h 357"/>
              <a:gd name="T50" fmla="*/ 2147483647 w 364"/>
              <a:gd name="T51" fmla="*/ 2147483647 h 357"/>
              <a:gd name="T52" fmla="*/ 2147483647 w 364"/>
              <a:gd name="T53" fmla="*/ 2147483647 h 357"/>
              <a:gd name="T54" fmla="*/ 2147483647 w 364"/>
              <a:gd name="T55" fmla="*/ 2147483647 h 357"/>
              <a:gd name="T56" fmla="*/ 2147483647 w 364"/>
              <a:gd name="T57" fmla="*/ 2147483647 h 357"/>
              <a:gd name="T58" fmla="*/ 2147483647 w 364"/>
              <a:gd name="T59" fmla="*/ 2147483647 h 357"/>
              <a:gd name="T60" fmla="*/ 2147483647 w 364"/>
              <a:gd name="T61" fmla="*/ 2147483647 h 357"/>
              <a:gd name="T62" fmla="*/ 2147483647 w 364"/>
              <a:gd name="T63" fmla="*/ 2147483647 h 357"/>
              <a:gd name="T64" fmla="*/ 2147483647 w 364"/>
              <a:gd name="T65" fmla="*/ 2147483647 h 357"/>
              <a:gd name="T66" fmla="*/ 2147483647 w 364"/>
              <a:gd name="T67" fmla="*/ 2147483647 h 357"/>
              <a:gd name="T68" fmla="*/ 2147483647 w 364"/>
              <a:gd name="T69" fmla="*/ 2147483647 h 357"/>
              <a:gd name="T70" fmla="*/ 2147483647 w 364"/>
              <a:gd name="T71" fmla="*/ 2147483647 h 357"/>
              <a:gd name="T72" fmla="*/ 2147483647 w 364"/>
              <a:gd name="T73" fmla="*/ 2147483647 h 357"/>
              <a:gd name="T74" fmla="*/ 2147483647 w 364"/>
              <a:gd name="T75" fmla="*/ 2147483647 h 357"/>
              <a:gd name="T76" fmla="*/ 2147483647 w 364"/>
              <a:gd name="T77" fmla="*/ 2147483647 h 357"/>
              <a:gd name="T78" fmla="*/ 2147483647 w 364"/>
              <a:gd name="T79" fmla="*/ 0 h 357"/>
              <a:gd name="T80" fmla="*/ 2147483647 w 364"/>
              <a:gd name="T81" fmla="*/ 2147483647 h 357"/>
              <a:gd name="T82" fmla="*/ 2147483647 w 364"/>
              <a:gd name="T83" fmla="*/ 2147483647 h 357"/>
              <a:gd name="T84" fmla="*/ 2147483647 w 364"/>
              <a:gd name="T85" fmla="*/ 2147483647 h 357"/>
              <a:gd name="T86" fmla="*/ 2147483647 w 364"/>
              <a:gd name="T87" fmla="*/ 2147483647 h 357"/>
              <a:gd name="T88" fmla="*/ 0 w 364"/>
              <a:gd name="T89" fmla="*/ 2147483647 h 357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64"/>
              <a:gd name="T136" fmla="*/ 0 h 357"/>
              <a:gd name="T137" fmla="*/ 364 w 364"/>
              <a:gd name="T138" fmla="*/ 357 h 357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64" h="357">
                <a:moveTo>
                  <a:pt x="0" y="80"/>
                </a:moveTo>
                <a:lnTo>
                  <a:pt x="7" y="102"/>
                </a:lnTo>
                <a:lnTo>
                  <a:pt x="15" y="119"/>
                </a:lnTo>
                <a:lnTo>
                  <a:pt x="22" y="130"/>
                </a:lnTo>
                <a:lnTo>
                  <a:pt x="31" y="132"/>
                </a:lnTo>
                <a:lnTo>
                  <a:pt x="41" y="126"/>
                </a:lnTo>
                <a:lnTo>
                  <a:pt x="46" y="115"/>
                </a:lnTo>
                <a:lnTo>
                  <a:pt x="56" y="98"/>
                </a:lnTo>
                <a:lnTo>
                  <a:pt x="69" y="108"/>
                </a:lnTo>
                <a:lnTo>
                  <a:pt x="82" y="111"/>
                </a:lnTo>
                <a:lnTo>
                  <a:pt x="91" y="117"/>
                </a:lnTo>
                <a:lnTo>
                  <a:pt x="89" y="135"/>
                </a:lnTo>
                <a:lnTo>
                  <a:pt x="89" y="147"/>
                </a:lnTo>
                <a:lnTo>
                  <a:pt x="102" y="167"/>
                </a:lnTo>
                <a:lnTo>
                  <a:pt x="117" y="184"/>
                </a:lnTo>
                <a:lnTo>
                  <a:pt x="115" y="189"/>
                </a:lnTo>
                <a:lnTo>
                  <a:pt x="98" y="189"/>
                </a:lnTo>
                <a:lnTo>
                  <a:pt x="106" y="199"/>
                </a:lnTo>
                <a:lnTo>
                  <a:pt x="156" y="256"/>
                </a:lnTo>
                <a:lnTo>
                  <a:pt x="161" y="260"/>
                </a:lnTo>
                <a:lnTo>
                  <a:pt x="176" y="260"/>
                </a:lnTo>
                <a:lnTo>
                  <a:pt x="188" y="263"/>
                </a:lnTo>
                <a:lnTo>
                  <a:pt x="210" y="273"/>
                </a:lnTo>
                <a:lnTo>
                  <a:pt x="229" y="291"/>
                </a:lnTo>
                <a:lnTo>
                  <a:pt x="233" y="299"/>
                </a:lnTo>
                <a:lnTo>
                  <a:pt x="240" y="314"/>
                </a:lnTo>
                <a:lnTo>
                  <a:pt x="246" y="313"/>
                </a:lnTo>
                <a:lnTo>
                  <a:pt x="251" y="313"/>
                </a:lnTo>
                <a:lnTo>
                  <a:pt x="266" y="319"/>
                </a:lnTo>
                <a:lnTo>
                  <a:pt x="275" y="326"/>
                </a:lnTo>
                <a:lnTo>
                  <a:pt x="303" y="357"/>
                </a:lnTo>
                <a:lnTo>
                  <a:pt x="291" y="325"/>
                </a:lnTo>
                <a:lnTo>
                  <a:pt x="284" y="313"/>
                </a:lnTo>
                <a:lnTo>
                  <a:pt x="290" y="301"/>
                </a:lnTo>
                <a:lnTo>
                  <a:pt x="286" y="291"/>
                </a:lnTo>
                <a:lnTo>
                  <a:pt x="272" y="275"/>
                </a:lnTo>
                <a:lnTo>
                  <a:pt x="246" y="245"/>
                </a:lnTo>
                <a:lnTo>
                  <a:pt x="229" y="232"/>
                </a:lnTo>
                <a:lnTo>
                  <a:pt x="223" y="226"/>
                </a:lnTo>
                <a:lnTo>
                  <a:pt x="214" y="228"/>
                </a:lnTo>
                <a:lnTo>
                  <a:pt x="201" y="217"/>
                </a:lnTo>
                <a:lnTo>
                  <a:pt x="199" y="217"/>
                </a:lnTo>
                <a:lnTo>
                  <a:pt x="192" y="210"/>
                </a:lnTo>
                <a:lnTo>
                  <a:pt x="188" y="197"/>
                </a:lnTo>
                <a:lnTo>
                  <a:pt x="184" y="184"/>
                </a:lnTo>
                <a:lnTo>
                  <a:pt x="169" y="165"/>
                </a:lnTo>
                <a:lnTo>
                  <a:pt x="139" y="134"/>
                </a:lnTo>
                <a:lnTo>
                  <a:pt x="137" y="126"/>
                </a:lnTo>
                <a:lnTo>
                  <a:pt x="139" y="122"/>
                </a:lnTo>
                <a:lnTo>
                  <a:pt x="154" y="119"/>
                </a:lnTo>
                <a:lnTo>
                  <a:pt x="196" y="132"/>
                </a:lnTo>
                <a:lnTo>
                  <a:pt x="223" y="102"/>
                </a:lnTo>
                <a:lnTo>
                  <a:pt x="246" y="121"/>
                </a:lnTo>
                <a:lnTo>
                  <a:pt x="255" y="122"/>
                </a:lnTo>
                <a:lnTo>
                  <a:pt x="260" y="130"/>
                </a:lnTo>
                <a:lnTo>
                  <a:pt x="268" y="122"/>
                </a:lnTo>
                <a:lnTo>
                  <a:pt x="283" y="122"/>
                </a:lnTo>
                <a:lnTo>
                  <a:pt x="296" y="124"/>
                </a:lnTo>
                <a:lnTo>
                  <a:pt x="314" y="115"/>
                </a:lnTo>
                <a:lnTo>
                  <a:pt x="333" y="122"/>
                </a:lnTo>
                <a:lnTo>
                  <a:pt x="344" y="132"/>
                </a:lnTo>
                <a:lnTo>
                  <a:pt x="357" y="135"/>
                </a:lnTo>
                <a:lnTo>
                  <a:pt x="358" y="126"/>
                </a:lnTo>
                <a:lnTo>
                  <a:pt x="364" y="111"/>
                </a:lnTo>
                <a:lnTo>
                  <a:pt x="357" y="104"/>
                </a:lnTo>
                <a:lnTo>
                  <a:pt x="345" y="91"/>
                </a:lnTo>
                <a:lnTo>
                  <a:pt x="344" y="78"/>
                </a:lnTo>
                <a:lnTo>
                  <a:pt x="344" y="69"/>
                </a:lnTo>
                <a:lnTo>
                  <a:pt x="345" y="58"/>
                </a:lnTo>
                <a:lnTo>
                  <a:pt x="329" y="54"/>
                </a:lnTo>
                <a:lnTo>
                  <a:pt x="321" y="52"/>
                </a:lnTo>
                <a:lnTo>
                  <a:pt x="313" y="58"/>
                </a:lnTo>
                <a:lnTo>
                  <a:pt x="303" y="65"/>
                </a:lnTo>
                <a:lnTo>
                  <a:pt x="294" y="65"/>
                </a:lnTo>
                <a:lnTo>
                  <a:pt x="279" y="50"/>
                </a:lnTo>
                <a:lnTo>
                  <a:pt x="266" y="43"/>
                </a:lnTo>
                <a:lnTo>
                  <a:pt x="253" y="45"/>
                </a:lnTo>
                <a:lnTo>
                  <a:pt x="242" y="33"/>
                </a:lnTo>
                <a:lnTo>
                  <a:pt x="212" y="2"/>
                </a:lnTo>
                <a:lnTo>
                  <a:pt x="199" y="0"/>
                </a:lnTo>
                <a:lnTo>
                  <a:pt x="178" y="26"/>
                </a:lnTo>
                <a:lnTo>
                  <a:pt x="157" y="24"/>
                </a:lnTo>
                <a:lnTo>
                  <a:pt x="148" y="33"/>
                </a:lnTo>
                <a:lnTo>
                  <a:pt x="145" y="45"/>
                </a:lnTo>
                <a:lnTo>
                  <a:pt x="106" y="87"/>
                </a:lnTo>
                <a:lnTo>
                  <a:pt x="80" y="80"/>
                </a:lnTo>
                <a:lnTo>
                  <a:pt x="54" y="74"/>
                </a:lnTo>
                <a:lnTo>
                  <a:pt x="41" y="80"/>
                </a:lnTo>
                <a:lnTo>
                  <a:pt x="24" y="87"/>
                </a:lnTo>
                <a:lnTo>
                  <a:pt x="0" y="80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grpSp>
        <p:nvGrpSpPr>
          <p:cNvPr id="26" name="Group 58"/>
          <p:cNvGrpSpPr>
            <a:grpSpLocks/>
          </p:cNvGrpSpPr>
          <p:nvPr/>
        </p:nvGrpSpPr>
        <p:grpSpPr bwMode="auto">
          <a:xfrm>
            <a:off x="5674443" y="4833555"/>
            <a:ext cx="884976" cy="965894"/>
            <a:chOff x="2546" y="3453"/>
            <a:chExt cx="586" cy="611"/>
          </a:xfrm>
          <a:solidFill>
            <a:schemeClr val="accent5"/>
          </a:solidFill>
        </p:grpSpPr>
        <p:sp>
          <p:nvSpPr>
            <p:cNvPr id="51" name="Freeform 59"/>
            <p:cNvSpPr>
              <a:spLocks/>
            </p:cNvSpPr>
            <p:nvPr/>
          </p:nvSpPr>
          <p:spPr bwMode="auto">
            <a:xfrm>
              <a:off x="2559" y="3773"/>
              <a:ext cx="24" cy="25"/>
            </a:xfrm>
            <a:custGeom>
              <a:avLst/>
              <a:gdLst>
                <a:gd name="T0" fmla="*/ 18 w 24"/>
                <a:gd name="T1" fmla="*/ 0 h 25"/>
                <a:gd name="T2" fmla="*/ 24 w 24"/>
                <a:gd name="T3" fmla="*/ 7 h 25"/>
                <a:gd name="T4" fmla="*/ 22 w 24"/>
                <a:gd name="T5" fmla="*/ 16 h 25"/>
                <a:gd name="T6" fmla="*/ 24 w 24"/>
                <a:gd name="T7" fmla="*/ 23 h 25"/>
                <a:gd name="T8" fmla="*/ 18 w 24"/>
                <a:gd name="T9" fmla="*/ 25 h 25"/>
                <a:gd name="T10" fmla="*/ 7 w 24"/>
                <a:gd name="T11" fmla="*/ 23 h 25"/>
                <a:gd name="T12" fmla="*/ 0 w 24"/>
                <a:gd name="T13" fmla="*/ 14 h 25"/>
                <a:gd name="T14" fmla="*/ 18 w 24"/>
                <a:gd name="T15" fmla="*/ 0 h 2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"/>
                <a:gd name="T25" fmla="*/ 0 h 25"/>
                <a:gd name="T26" fmla="*/ 24 w 24"/>
                <a:gd name="T27" fmla="*/ 25 h 2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" h="25">
                  <a:moveTo>
                    <a:pt x="18" y="0"/>
                  </a:moveTo>
                  <a:lnTo>
                    <a:pt x="24" y="7"/>
                  </a:lnTo>
                  <a:lnTo>
                    <a:pt x="22" y="16"/>
                  </a:lnTo>
                  <a:lnTo>
                    <a:pt x="24" y="23"/>
                  </a:lnTo>
                  <a:lnTo>
                    <a:pt x="18" y="25"/>
                  </a:lnTo>
                  <a:lnTo>
                    <a:pt x="7" y="23"/>
                  </a:lnTo>
                  <a:lnTo>
                    <a:pt x="0" y="14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  <p:sp>
          <p:nvSpPr>
            <p:cNvPr id="52" name="Freeform 60"/>
            <p:cNvSpPr>
              <a:spLocks/>
            </p:cNvSpPr>
            <p:nvPr/>
          </p:nvSpPr>
          <p:spPr bwMode="auto">
            <a:xfrm>
              <a:off x="2608" y="3783"/>
              <a:ext cx="184" cy="163"/>
            </a:xfrm>
            <a:custGeom>
              <a:avLst/>
              <a:gdLst>
                <a:gd name="T0" fmla="*/ 26 w 184"/>
                <a:gd name="T1" fmla="*/ 7 h 163"/>
                <a:gd name="T2" fmla="*/ 17 w 184"/>
                <a:gd name="T3" fmla="*/ 11 h 163"/>
                <a:gd name="T4" fmla="*/ 20 w 184"/>
                <a:gd name="T5" fmla="*/ 20 h 163"/>
                <a:gd name="T6" fmla="*/ 11 w 184"/>
                <a:gd name="T7" fmla="*/ 31 h 163"/>
                <a:gd name="T8" fmla="*/ 4 w 184"/>
                <a:gd name="T9" fmla="*/ 30 h 163"/>
                <a:gd name="T10" fmla="*/ 0 w 184"/>
                <a:gd name="T11" fmla="*/ 35 h 163"/>
                <a:gd name="T12" fmla="*/ 2 w 184"/>
                <a:gd name="T13" fmla="*/ 46 h 163"/>
                <a:gd name="T14" fmla="*/ 32 w 184"/>
                <a:gd name="T15" fmla="*/ 57 h 163"/>
                <a:gd name="T16" fmla="*/ 39 w 184"/>
                <a:gd name="T17" fmla="*/ 82 h 163"/>
                <a:gd name="T18" fmla="*/ 48 w 184"/>
                <a:gd name="T19" fmla="*/ 113 h 163"/>
                <a:gd name="T20" fmla="*/ 59 w 184"/>
                <a:gd name="T21" fmla="*/ 130 h 163"/>
                <a:gd name="T22" fmla="*/ 72 w 184"/>
                <a:gd name="T23" fmla="*/ 119 h 163"/>
                <a:gd name="T24" fmla="*/ 89 w 184"/>
                <a:gd name="T25" fmla="*/ 141 h 163"/>
                <a:gd name="T26" fmla="*/ 106 w 184"/>
                <a:gd name="T27" fmla="*/ 163 h 163"/>
                <a:gd name="T28" fmla="*/ 113 w 184"/>
                <a:gd name="T29" fmla="*/ 146 h 163"/>
                <a:gd name="T30" fmla="*/ 108 w 184"/>
                <a:gd name="T31" fmla="*/ 135 h 163"/>
                <a:gd name="T32" fmla="*/ 115 w 184"/>
                <a:gd name="T33" fmla="*/ 130 h 163"/>
                <a:gd name="T34" fmla="*/ 141 w 184"/>
                <a:gd name="T35" fmla="*/ 150 h 163"/>
                <a:gd name="T36" fmla="*/ 149 w 184"/>
                <a:gd name="T37" fmla="*/ 144 h 163"/>
                <a:gd name="T38" fmla="*/ 151 w 184"/>
                <a:gd name="T39" fmla="*/ 137 h 163"/>
                <a:gd name="T40" fmla="*/ 138 w 184"/>
                <a:gd name="T41" fmla="*/ 111 h 163"/>
                <a:gd name="T42" fmla="*/ 138 w 184"/>
                <a:gd name="T43" fmla="*/ 106 h 163"/>
                <a:gd name="T44" fmla="*/ 126 w 184"/>
                <a:gd name="T45" fmla="*/ 85 h 163"/>
                <a:gd name="T46" fmla="*/ 121 w 184"/>
                <a:gd name="T47" fmla="*/ 70 h 163"/>
                <a:gd name="T48" fmla="*/ 126 w 184"/>
                <a:gd name="T49" fmla="*/ 69 h 163"/>
                <a:gd name="T50" fmla="*/ 141 w 184"/>
                <a:gd name="T51" fmla="*/ 72 h 163"/>
                <a:gd name="T52" fmla="*/ 158 w 184"/>
                <a:gd name="T53" fmla="*/ 87 h 163"/>
                <a:gd name="T54" fmla="*/ 167 w 184"/>
                <a:gd name="T55" fmla="*/ 76 h 163"/>
                <a:gd name="T56" fmla="*/ 182 w 184"/>
                <a:gd name="T57" fmla="*/ 78 h 163"/>
                <a:gd name="T58" fmla="*/ 184 w 184"/>
                <a:gd name="T59" fmla="*/ 74 h 163"/>
                <a:gd name="T60" fmla="*/ 165 w 184"/>
                <a:gd name="T61" fmla="*/ 50 h 163"/>
                <a:gd name="T62" fmla="*/ 151 w 184"/>
                <a:gd name="T63" fmla="*/ 52 h 163"/>
                <a:gd name="T64" fmla="*/ 147 w 184"/>
                <a:gd name="T65" fmla="*/ 44 h 163"/>
                <a:gd name="T66" fmla="*/ 138 w 184"/>
                <a:gd name="T67" fmla="*/ 26 h 163"/>
                <a:gd name="T68" fmla="*/ 130 w 184"/>
                <a:gd name="T69" fmla="*/ 33 h 163"/>
                <a:gd name="T70" fmla="*/ 112 w 184"/>
                <a:gd name="T71" fmla="*/ 26 h 163"/>
                <a:gd name="T72" fmla="*/ 100 w 184"/>
                <a:gd name="T73" fmla="*/ 7 h 163"/>
                <a:gd name="T74" fmla="*/ 78 w 184"/>
                <a:gd name="T75" fmla="*/ 9 h 163"/>
                <a:gd name="T76" fmla="*/ 61 w 184"/>
                <a:gd name="T77" fmla="*/ 11 h 163"/>
                <a:gd name="T78" fmla="*/ 50 w 184"/>
                <a:gd name="T79" fmla="*/ 0 h 163"/>
                <a:gd name="T80" fmla="*/ 41 w 184"/>
                <a:gd name="T81" fmla="*/ 6 h 163"/>
                <a:gd name="T82" fmla="*/ 26 w 184"/>
                <a:gd name="T83" fmla="*/ 7 h 16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4"/>
                <a:gd name="T127" fmla="*/ 0 h 163"/>
                <a:gd name="T128" fmla="*/ 184 w 184"/>
                <a:gd name="T129" fmla="*/ 163 h 16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4" h="163">
                  <a:moveTo>
                    <a:pt x="26" y="7"/>
                  </a:moveTo>
                  <a:lnTo>
                    <a:pt x="17" y="11"/>
                  </a:lnTo>
                  <a:lnTo>
                    <a:pt x="20" y="20"/>
                  </a:lnTo>
                  <a:lnTo>
                    <a:pt x="11" y="31"/>
                  </a:lnTo>
                  <a:lnTo>
                    <a:pt x="4" y="30"/>
                  </a:lnTo>
                  <a:lnTo>
                    <a:pt x="0" y="35"/>
                  </a:lnTo>
                  <a:lnTo>
                    <a:pt x="2" y="46"/>
                  </a:lnTo>
                  <a:lnTo>
                    <a:pt x="32" y="57"/>
                  </a:lnTo>
                  <a:lnTo>
                    <a:pt x="39" y="82"/>
                  </a:lnTo>
                  <a:lnTo>
                    <a:pt x="48" y="113"/>
                  </a:lnTo>
                  <a:lnTo>
                    <a:pt x="59" y="130"/>
                  </a:lnTo>
                  <a:lnTo>
                    <a:pt x="72" y="119"/>
                  </a:lnTo>
                  <a:lnTo>
                    <a:pt x="89" y="141"/>
                  </a:lnTo>
                  <a:lnTo>
                    <a:pt x="106" y="163"/>
                  </a:lnTo>
                  <a:lnTo>
                    <a:pt x="113" y="146"/>
                  </a:lnTo>
                  <a:lnTo>
                    <a:pt x="108" y="135"/>
                  </a:lnTo>
                  <a:lnTo>
                    <a:pt x="115" y="130"/>
                  </a:lnTo>
                  <a:lnTo>
                    <a:pt x="141" y="150"/>
                  </a:lnTo>
                  <a:lnTo>
                    <a:pt x="149" y="144"/>
                  </a:lnTo>
                  <a:lnTo>
                    <a:pt x="151" y="137"/>
                  </a:lnTo>
                  <a:lnTo>
                    <a:pt x="138" y="111"/>
                  </a:lnTo>
                  <a:lnTo>
                    <a:pt x="138" y="106"/>
                  </a:lnTo>
                  <a:lnTo>
                    <a:pt x="126" y="85"/>
                  </a:lnTo>
                  <a:lnTo>
                    <a:pt x="121" y="70"/>
                  </a:lnTo>
                  <a:lnTo>
                    <a:pt x="126" y="69"/>
                  </a:lnTo>
                  <a:lnTo>
                    <a:pt x="141" y="72"/>
                  </a:lnTo>
                  <a:lnTo>
                    <a:pt x="158" y="87"/>
                  </a:lnTo>
                  <a:lnTo>
                    <a:pt x="167" y="76"/>
                  </a:lnTo>
                  <a:lnTo>
                    <a:pt x="182" y="78"/>
                  </a:lnTo>
                  <a:lnTo>
                    <a:pt x="184" y="74"/>
                  </a:lnTo>
                  <a:lnTo>
                    <a:pt x="165" y="50"/>
                  </a:lnTo>
                  <a:lnTo>
                    <a:pt x="151" y="52"/>
                  </a:lnTo>
                  <a:lnTo>
                    <a:pt x="147" y="44"/>
                  </a:lnTo>
                  <a:lnTo>
                    <a:pt x="138" y="26"/>
                  </a:lnTo>
                  <a:lnTo>
                    <a:pt x="130" y="33"/>
                  </a:lnTo>
                  <a:lnTo>
                    <a:pt x="112" y="26"/>
                  </a:lnTo>
                  <a:lnTo>
                    <a:pt x="100" y="7"/>
                  </a:lnTo>
                  <a:lnTo>
                    <a:pt x="78" y="9"/>
                  </a:lnTo>
                  <a:lnTo>
                    <a:pt x="61" y="11"/>
                  </a:lnTo>
                  <a:lnTo>
                    <a:pt x="50" y="0"/>
                  </a:lnTo>
                  <a:lnTo>
                    <a:pt x="41" y="6"/>
                  </a:lnTo>
                  <a:lnTo>
                    <a:pt x="26" y="7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  <p:sp>
          <p:nvSpPr>
            <p:cNvPr id="53" name="Freeform 61"/>
            <p:cNvSpPr>
              <a:spLocks/>
            </p:cNvSpPr>
            <p:nvPr/>
          </p:nvSpPr>
          <p:spPr bwMode="auto">
            <a:xfrm>
              <a:off x="2546" y="3453"/>
              <a:ext cx="430" cy="386"/>
            </a:xfrm>
            <a:custGeom>
              <a:avLst/>
              <a:gdLst>
                <a:gd name="T0" fmla="*/ 78 w 430"/>
                <a:gd name="T1" fmla="*/ 102 h 386"/>
                <a:gd name="T2" fmla="*/ 55 w 430"/>
                <a:gd name="T3" fmla="*/ 167 h 386"/>
                <a:gd name="T4" fmla="*/ 44 w 430"/>
                <a:gd name="T5" fmla="*/ 182 h 386"/>
                <a:gd name="T6" fmla="*/ 24 w 430"/>
                <a:gd name="T7" fmla="*/ 200 h 386"/>
                <a:gd name="T8" fmla="*/ 0 w 430"/>
                <a:gd name="T9" fmla="*/ 204 h 386"/>
                <a:gd name="T10" fmla="*/ 31 w 430"/>
                <a:gd name="T11" fmla="*/ 260 h 386"/>
                <a:gd name="T12" fmla="*/ 57 w 430"/>
                <a:gd name="T13" fmla="*/ 260 h 386"/>
                <a:gd name="T14" fmla="*/ 48 w 430"/>
                <a:gd name="T15" fmla="*/ 278 h 386"/>
                <a:gd name="T16" fmla="*/ 57 w 430"/>
                <a:gd name="T17" fmla="*/ 308 h 386"/>
                <a:gd name="T18" fmla="*/ 76 w 430"/>
                <a:gd name="T19" fmla="*/ 330 h 386"/>
                <a:gd name="T20" fmla="*/ 91 w 430"/>
                <a:gd name="T21" fmla="*/ 317 h 386"/>
                <a:gd name="T22" fmla="*/ 107 w 430"/>
                <a:gd name="T23" fmla="*/ 319 h 386"/>
                <a:gd name="T24" fmla="*/ 159 w 430"/>
                <a:gd name="T25" fmla="*/ 325 h 386"/>
                <a:gd name="T26" fmla="*/ 190 w 430"/>
                <a:gd name="T27" fmla="*/ 341 h 386"/>
                <a:gd name="T28" fmla="*/ 207 w 430"/>
                <a:gd name="T29" fmla="*/ 362 h 386"/>
                <a:gd name="T30" fmla="*/ 229 w 430"/>
                <a:gd name="T31" fmla="*/ 353 h 386"/>
                <a:gd name="T32" fmla="*/ 271 w 430"/>
                <a:gd name="T33" fmla="*/ 386 h 386"/>
                <a:gd name="T34" fmla="*/ 278 w 430"/>
                <a:gd name="T35" fmla="*/ 367 h 386"/>
                <a:gd name="T36" fmla="*/ 277 w 430"/>
                <a:gd name="T37" fmla="*/ 336 h 386"/>
                <a:gd name="T38" fmla="*/ 259 w 430"/>
                <a:gd name="T39" fmla="*/ 323 h 386"/>
                <a:gd name="T40" fmla="*/ 215 w 430"/>
                <a:gd name="T41" fmla="*/ 295 h 386"/>
                <a:gd name="T42" fmla="*/ 189 w 430"/>
                <a:gd name="T43" fmla="*/ 286 h 386"/>
                <a:gd name="T44" fmla="*/ 179 w 430"/>
                <a:gd name="T45" fmla="*/ 273 h 386"/>
                <a:gd name="T46" fmla="*/ 194 w 430"/>
                <a:gd name="T47" fmla="*/ 258 h 386"/>
                <a:gd name="T48" fmla="*/ 183 w 430"/>
                <a:gd name="T49" fmla="*/ 236 h 386"/>
                <a:gd name="T50" fmla="*/ 202 w 430"/>
                <a:gd name="T51" fmla="*/ 245 h 386"/>
                <a:gd name="T52" fmla="*/ 215 w 430"/>
                <a:gd name="T53" fmla="*/ 238 h 386"/>
                <a:gd name="T54" fmla="*/ 190 w 430"/>
                <a:gd name="T55" fmla="*/ 202 h 386"/>
                <a:gd name="T56" fmla="*/ 170 w 430"/>
                <a:gd name="T57" fmla="*/ 160 h 386"/>
                <a:gd name="T58" fmla="*/ 165 w 430"/>
                <a:gd name="T59" fmla="*/ 134 h 386"/>
                <a:gd name="T60" fmla="*/ 176 w 430"/>
                <a:gd name="T61" fmla="*/ 117 h 386"/>
                <a:gd name="T62" fmla="*/ 185 w 430"/>
                <a:gd name="T63" fmla="*/ 139 h 386"/>
                <a:gd name="T64" fmla="*/ 190 w 430"/>
                <a:gd name="T65" fmla="*/ 147 h 386"/>
                <a:gd name="T66" fmla="*/ 227 w 430"/>
                <a:gd name="T67" fmla="*/ 176 h 386"/>
                <a:gd name="T68" fmla="*/ 231 w 430"/>
                <a:gd name="T69" fmla="*/ 156 h 386"/>
                <a:gd name="T70" fmla="*/ 257 w 430"/>
                <a:gd name="T71" fmla="*/ 176 h 386"/>
                <a:gd name="T72" fmla="*/ 246 w 430"/>
                <a:gd name="T73" fmla="*/ 152 h 386"/>
                <a:gd name="T74" fmla="*/ 257 w 430"/>
                <a:gd name="T75" fmla="*/ 141 h 386"/>
                <a:gd name="T76" fmla="*/ 288 w 430"/>
                <a:gd name="T77" fmla="*/ 148 h 386"/>
                <a:gd name="T78" fmla="*/ 275 w 430"/>
                <a:gd name="T79" fmla="*/ 130 h 386"/>
                <a:gd name="T80" fmla="*/ 246 w 430"/>
                <a:gd name="T81" fmla="*/ 113 h 386"/>
                <a:gd name="T82" fmla="*/ 248 w 430"/>
                <a:gd name="T83" fmla="*/ 98 h 386"/>
                <a:gd name="T84" fmla="*/ 299 w 430"/>
                <a:gd name="T85" fmla="*/ 87 h 386"/>
                <a:gd name="T86" fmla="*/ 350 w 430"/>
                <a:gd name="T87" fmla="*/ 82 h 386"/>
                <a:gd name="T88" fmla="*/ 378 w 430"/>
                <a:gd name="T89" fmla="*/ 87 h 386"/>
                <a:gd name="T90" fmla="*/ 406 w 430"/>
                <a:gd name="T91" fmla="*/ 76 h 386"/>
                <a:gd name="T92" fmla="*/ 428 w 430"/>
                <a:gd name="T93" fmla="*/ 48 h 386"/>
                <a:gd name="T94" fmla="*/ 428 w 430"/>
                <a:gd name="T95" fmla="*/ 6 h 386"/>
                <a:gd name="T96" fmla="*/ 408 w 430"/>
                <a:gd name="T97" fmla="*/ 0 h 386"/>
                <a:gd name="T98" fmla="*/ 402 w 430"/>
                <a:gd name="T99" fmla="*/ 20 h 386"/>
                <a:gd name="T100" fmla="*/ 389 w 430"/>
                <a:gd name="T101" fmla="*/ 35 h 386"/>
                <a:gd name="T102" fmla="*/ 371 w 430"/>
                <a:gd name="T103" fmla="*/ 45 h 386"/>
                <a:gd name="T104" fmla="*/ 338 w 430"/>
                <a:gd name="T105" fmla="*/ 33 h 386"/>
                <a:gd name="T106" fmla="*/ 306 w 430"/>
                <a:gd name="T107" fmla="*/ 20 h 386"/>
                <a:gd name="T108" fmla="*/ 271 w 430"/>
                <a:gd name="T109" fmla="*/ 45 h 386"/>
                <a:gd name="T110" fmla="*/ 231 w 430"/>
                <a:gd name="T111" fmla="*/ 56 h 386"/>
                <a:gd name="T112" fmla="*/ 202 w 430"/>
                <a:gd name="T113" fmla="*/ 61 h 386"/>
                <a:gd name="T114" fmla="*/ 183 w 430"/>
                <a:gd name="T115" fmla="*/ 78 h 386"/>
                <a:gd name="T116" fmla="*/ 153 w 430"/>
                <a:gd name="T117" fmla="*/ 82 h 386"/>
                <a:gd name="T118" fmla="*/ 126 w 430"/>
                <a:gd name="T119" fmla="*/ 97 h 386"/>
                <a:gd name="T120" fmla="*/ 98 w 430"/>
                <a:gd name="T121" fmla="*/ 97 h 38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30"/>
                <a:gd name="T184" fmla="*/ 0 h 386"/>
                <a:gd name="T185" fmla="*/ 430 w 430"/>
                <a:gd name="T186" fmla="*/ 386 h 38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30" h="386">
                  <a:moveTo>
                    <a:pt x="87" y="95"/>
                  </a:moveTo>
                  <a:lnTo>
                    <a:pt x="78" y="102"/>
                  </a:lnTo>
                  <a:lnTo>
                    <a:pt x="68" y="135"/>
                  </a:lnTo>
                  <a:lnTo>
                    <a:pt x="55" y="167"/>
                  </a:lnTo>
                  <a:lnTo>
                    <a:pt x="50" y="171"/>
                  </a:lnTo>
                  <a:lnTo>
                    <a:pt x="44" y="182"/>
                  </a:lnTo>
                  <a:lnTo>
                    <a:pt x="37" y="193"/>
                  </a:lnTo>
                  <a:lnTo>
                    <a:pt x="24" y="200"/>
                  </a:lnTo>
                  <a:lnTo>
                    <a:pt x="13" y="204"/>
                  </a:lnTo>
                  <a:lnTo>
                    <a:pt x="0" y="204"/>
                  </a:lnTo>
                  <a:lnTo>
                    <a:pt x="17" y="241"/>
                  </a:lnTo>
                  <a:lnTo>
                    <a:pt x="31" y="260"/>
                  </a:lnTo>
                  <a:lnTo>
                    <a:pt x="44" y="260"/>
                  </a:lnTo>
                  <a:lnTo>
                    <a:pt x="57" y="260"/>
                  </a:lnTo>
                  <a:lnTo>
                    <a:pt x="61" y="269"/>
                  </a:lnTo>
                  <a:lnTo>
                    <a:pt x="48" y="278"/>
                  </a:lnTo>
                  <a:lnTo>
                    <a:pt x="48" y="290"/>
                  </a:lnTo>
                  <a:lnTo>
                    <a:pt x="57" y="308"/>
                  </a:lnTo>
                  <a:lnTo>
                    <a:pt x="68" y="323"/>
                  </a:lnTo>
                  <a:lnTo>
                    <a:pt x="76" y="330"/>
                  </a:lnTo>
                  <a:lnTo>
                    <a:pt x="80" y="319"/>
                  </a:lnTo>
                  <a:lnTo>
                    <a:pt x="91" y="317"/>
                  </a:lnTo>
                  <a:lnTo>
                    <a:pt x="104" y="328"/>
                  </a:lnTo>
                  <a:lnTo>
                    <a:pt x="107" y="319"/>
                  </a:lnTo>
                  <a:lnTo>
                    <a:pt x="128" y="321"/>
                  </a:lnTo>
                  <a:lnTo>
                    <a:pt x="159" y="325"/>
                  </a:lnTo>
                  <a:lnTo>
                    <a:pt x="181" y="332"/>
                  </a:lnTo>
                  <a:lnTo>
                    <a:pt x="190" y="341"/>
                  </a:lnTo>
                  <a:lnTo>
                    <a:pt x="200" y="354"/>
                  </a:lnTo>
                  <a:lnTo>
                    <a:pt x="207" y="362"/>
                  </a:lnTo>
                  <a:lnTo>
                    <a:pt x="216" y="354"/>
                  </a:lnTo>
                  <a:lnTo>
                    <a:pt x="229" y="353"/>
                  </a:lnTo>
                  <a:lnTo>
                    <a:pt x="248" y="366"/>
                  </a:lnTo>
                  <a:lnTo>
                    <a:pt x="271" y="386"/>
                  </a:lnTo>
                  <a:lnTo>
                    <a:pt x="277" y="382"/>
                  </a:lnTo>
                  <a:lnTo>
                    <a:pt x="278" y="367"/>
                  </a:lnTo>
                  <a:lnTo>
                    <a:pt x="278" y="351"/>
                  </a:lnTo>
                  <a:lnTo>
                    <a:pt x="277" y="336"/>
                  </a:lnTo>
                  <a:lnTo>
                    <a:pt x="266" y="319"/>
                  </a:lnTo>
                  <a:lnTo>
                    <a:pt x="259" y="323"/>
                  </a:lnTo>
                  <a:lnTo>
                    <a:pt x="242" y="315"/>
                  </a:lnTo>
                  <a:lnTo>
                    <a:pt x="215" y="295"/>
                  </a:lnTo>
                  <a:lnTo>
                    <a:pt x="207" y="288"/>
                  </a:lnTo>
                  <a:lnTo>
                    <a:pt x="189" y="286"/>
                  </a:lnTo>
                  <a:lnTo>
                    <a:pt x="179" y="280"/>
                  </a:lnTo>
                  <a:lnTo>
                    <a:pt x="179" y="273"/>
                  </a:lnTo>
                  <a:lnTo>
                    <a:pt x="190" y="262"/>
                  </a:lnTo>
                  <a:lnTo>
                    <a:pt x="194" y="258"/>
                  </a:lnTo>
                  <a:lnTo>
                    <a:pt x="187" y="249"/>
                  </a:lnTo>
                  <a:lnTo>
                    <a:pt x="183" y="236"/>
                  </a:lnTo>
                  <a:lnTo>
                    <a:pt x="187" y="230"/>
                  </a:lnTo>
                  <a:lnTo>
                    <a:pt x="202" y="245"/>
                  </a:lnTo>
                  <a:lnTo>
                    <a:pt x="215" y="251"/>
                  </a:lnTo>
                  <a:lnTo>
                    <a:pt x="215" y="238"/>
                  </a:lnTo>
                  <a:lnTo>
                    <a:pt x="207" y="223"/>
                  </a:lnTo>
                  <a:lnTo>
                    <a:pt x="190" y="202"/>
                  </a:lnTo>
                  <a:lnTo>
                    <a:pt x="172" y="174"/>
                  </a:lnTo>
                  <a:lnTo>
                    <a:pt x="170" y="160"/>
                  </a:lnTo>
                  <a:lnTo>
                    <a:pt x="168" y="147"/>
                  </a:lnTo>
                  <a:lnTo>
                    <a:pt x="165" y="134"/>
                  </a:lnTo>
                  <a:lnTo>
                    <a:pt x="163" y="121"/>
                  </a:lnTo>
                  <a:lnTo>
                    <a:pt x="176" y="117"/>
                  </a:lnTo>
                  <a:lnTo>
                    <a:pt x="174" y="126"/>
                  </a:lnTo>
                  <a:lnTo>
                    <a:pt x="185" y="139"/>
                  </a:lnTo>
                  <a:lnTo>
                    <a:pt x="192" y="139"/>
                  </a:lnTo>
                  <a:lnTo>
                    <a:pt x="190" y="147"/>
                  </a:lnTo>
                  <a:lnTo>
                    <a:pt x="226" y="182"/>
                  </a:lnTo>
                  <a:lnTo>
                    <a:pt x="227" y="176"/>
                  </a:lnTo>
                  <a:lnTo>
                    <a:pt x="220" y="160"/>
                  </a:lnTo>
                  <a:lnTo>
                    <a:pt x="231" y="156"/>
                  </a:lnTo>
                  <a:lnTo>
                    <a:pt x="248" y="163"/>
                  </a:lnTo>
                  <a:lnTo>
                    <a:pt x="257" y="176"/>
                  </a:lnTo>
                  <a:lnTo>
                    <a:pt x="259" y="167"/>
                  </a:lnTo>
                  <a:lnTo>
                    <a:pt x="246" y="152"/>
                  </a:lnTo>
                  <a:lnTo>
                    <a:pt x="248" y="145"/>
                  </a:lnTo>
                  <a:lnTo>
                    <a:pt x="257" y="141"/>
                  </a:lnTo>
                  <a:lnTo>
                    <a:pt x="282" y="152"/>
                  </a:lnTo>
                  <a:lnTo>
                    <a:pt x="288" y="148"/>
                  </a:lnTo>
                  <a:lnTo>
                    <a:pt x="286" y="137"/>
                  </a:lnTo>
                  <a:lnTo>
                    <a:pt x="275" y="130"/>
                  </a:lnTo>
                  <a:lnTo>
                    <a:pt x="257" y="122"/>
                  </a:lnTo>
                  <a:lnTo>
                    <a:pt x="246" y="113"/>
                  </a:lnTo>
                  <a:lnTo>
                    <a:pt x="244" y="106"/>
                  </a:lnTo>
                  <a:lnTo>
                    <a:pt x="248" y="98"/>
                  </a:lnTo>
                  <a:lnTo>
                    <a:pt x="273" y="95"/>
                  </a:lnTo>
                  <a:lnTo>
                    <a:pt x="299" y="87"/>
                  </a:lnTo>
                  <a:lnTo>
                    <a:pt x="317" y="89"/>
                  </a:lnTo>
                  <a:lnTo>
                    <a:pt x="350" y="82"/>
                  </a:lnTo>
                  <a:lnTo>
                    <a:pt x="356" y="78"/>
                  </a:lnTo>
                  <a:lnTo>
                    <a:pt x="378" y="87"/>
                  </a:lnTo>
                  <a:lnTo>
                    <a:pt x="397" y="97"/>
                  </a:lnTo>
                  <a:lnTo>
                    <a:pt x="406" y="76"/>
                  </a:lnTo>
                  <a:lnTo>
                    <a:pt x="423" y="54"/>
                  </a:lnTo>
                  <a:lnTo>
                    <a:pt x="428" y="48"/>
                  </a:lnTo>
                  <a:lnTo>
                    <a:pt x="430" y="9"/>
                  </a:lnTo>
                  <a:lnTo>
                    <a:pt x="428" y="6"/>
                  </a:lnTo>
                  <a:lnTo>
                    <a:pt x="419" y="0"/>
                  </a:lnTo>
                  <a:lnTo>
                    <a:pt x="408" y="0"/>
                  </a:lnTo>
                  <a:lnTo>
                    <a:pt x="402" y="6"/>
                  </a:lnTo>
                  <a:lnTo>
                    <a:pt x="402" y="20"/>
                  </a:lnTo>
                  <a:lnTo>
                    <a:pt x="404" y="32"/>
                  </a:lnTo>
                  <a:lnTo>
                    <a:pt x="389" y="35"/>
                  </a:lnTo>
                  <a:lnTo>
                    <a:pt x="378" y="43"/>
                  </a:lnTo>
                  <a:lnTo>
                    <a:pt x="371" y="45"/>
                  </a:lnTo>
                  <a:lnTo>
                    <a:pt x="347" y="39"/>
                  </a:lnTo>
                  <a:lnTo>
                    <a:pt x="338" y="33"/>
                  </a:lnTo>
                  <a:lnTo>
                    <a:pt x="325" y="41"/>
                  </a:lnTo>
                  <a:lnTo>
                    <a:pt x="306" y="20"/>
                  </a:lnTo>
                  <a:lnTo>
                    <a:pt x="286" y="35"/>
                  </a:lnTo>
                  <a:lnTo>
                    <a:pt x="271" y="45"/>
                  </a:lnTo>
                  <a:lnTo>
                    <a:pt x="255" y="52"/>
                  </a:lnTo>
                  <a:lnTo>
                    <a:pt x="231" y="56"/>
                  </a:lnTo>
                  <a:lnTo>
                    <a:pt x="215" y="61"/>
                  </a:lnTo>
                  <a:lnTo>
                    <a:pt x="202" y="61"/>
                  </a:lnTo>
                  <a:lnTo>
                    <a:pt x="196" y="63"/>
                  </a:lnTo>
                  <a:lnTo>
                    <a:pt x="183" y="78"/>
                  </a:lnTo>
                  <a:lnTo>
                    <a:pt x="172" y="78"/>
                  </a:lnTo>
                  <a:lnTo>
                    <a:pt x="153" y="82"/>
                  </a:lnTo>
                  <a:lnTo>
                    <a:pt x="135" y="80"/>
                  </a:lnTo>
                  <a:lnTo>
                    <a:pt x="126" y="97"/>
                  </a:lnTo>
                  <a:lnTo>
                    <a:pt x="111" y="98"/>
                  </a:lnTo>
                  <a:lnTo>
                    <a:pt x="98" y="97"/>
                  </a:lnTo>
                  <a:lnTo>
                    <a:pt x="87" y="95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  <p:sp>
          <p:nvSpPr>
            <p:cNvPr id="54" name="Freeform 62"/>
            <p:cNvSpPr>
              <a:spLocks/>
            </p:cNvSpPr>
            <p:nvPr/>
          </p:nvSpPr>
          <p:spPr bwMode="auto">
            <a:xfrm>
              <a:off x="2760" y="3718"/>
              <a:ext cx="107" cy="87"/>
            </a:xfrm>
            <a:custGeom>
              <a:avLst/>
              <a:gdLst>
                <a:gd name="T0" fmla="*/ 9 w 107"/>
                <a:gd name="T1" fmla="*/ 0 h 87"/>
                <a:gd name="T2" fmla="*/ 0 w 107"/>
                <a:gd name="T3" fmla="*/ 7 h 87"/>
                <a:gd name="T4" fmla="*/ 11 w 107"/>
                <a:gd name="T5" fmla="*/ 26 h 87"/>
                <a:gd name="T6" fmla="*/ 24 w 107"/>
                <a:gd name="T7" fmla="*/ 30 h 87"/>
                <a:gd name="T8" fmla="*/ 39 w 107"/>
                <a:gd name="T9" fmla="*/ 46 h 87"/>
                <a:gd name="T10" fmla="*/ 52 w 107"/>
                <a:gd name="T11" fmla="*/ 54 h 87"/>
                <a:gd name="T12" fmla="*/ 74 w 107"/>
                <a:gd name="T13" fmla="*/ 70 h 87"/>
                <a:gd name="T14" fmla="*/ 87 w 107"/>
                <a:gd name="T15" fmla="*/ 76 h 87"/>
                <a:gd name="T16" fmla="*/ 103 w 107"/>
                <a:gd name="T17" fmla="*/ 87 h 87"/>
                <a:gd name="T18" fmla="*/ 107 w 107"/>
                <a:gd name="T19" fmla="*/ 81 h 87"/>
                <a:gd name="T20" fmla="*/ 74 w 107"/>
                <a:gd name="T21" fmla="*/ 56 h 87"/>
                <a:gd name="T22" fmla="*/ 72 w 107"/>
                <a:gd name="T23" fmla="*/ 44 h 87"/>
                <a:gd name="T24" fmla="*/ 68 w 107"/>
                <a:gd name="T25" fmla="*/ 33 h 87"/>
                <a:gd name="T26" fmla="*/ 54 w 107"/>
                <a:gd name="T27" fmla="*/ 20 h 87"/>
                <a:gd name="T28" fmla="*/ 50 w 107"/>
                <a:gd name="T29" fmla="*/ 22 h 87"/>
                <a:gd name="T30" fmla="*/ 32 w 107"/>
                <a:gd name="T31" fmla="*/ 9 h 87"/>
                <a:gd name="T32" fmla="*/ 22 w 107"/>
                <a:gd name="T33" fmla="*/ 4 h 87"/>
                <a:gd name="T34" fmla="*/ 9 w 107"/>
                <a:gd name="T35" fmla="*/ 0 h 8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7"/>
                <a:gd name="T55" fmla="*/ 0 h 87"/>
                <a:gd name="T56" fmla="*/ 107 w 107"/>
                <a:gd name="T57" fmla="*/ 87 h 8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7" h="87">
                  <a:moveTo>
                    <a:pt x="9" y="0"/>
                  </a:moveTo>
                  <a:lnTo>
                    <a:pt x="0" y="7"/>
                  </a:lnTo>
                  <a:lnTo>
                    <a:pt x="11" y="26"/>
                  </a:lnTo>
                  <a:lnTo>
                    <a:pt x="24" y="30"/>
                  </a:lnTo>
                  <a:lnTo>
                    <a:pt x="39" y="46"/>
                  </a:lnTo>
                  <a:lnTo>
                    <a:pt x="52" y="54"/>
                  </a:lnTo>
                  <a:lnTo>
                    <a:pt x="74" y="70"/>
                  </a:lnTo>
                  <a:lnTo>
                    <a:pt x="87" y="76"/>
                  </a:lnTo>
                  <a:lnTo>
                    <a:pt x="103" y="87"/>
                  </a:lnTo>
                  <a:lnTo>
                    <a:pt x="107" y="81"/>
                  </a:lnTo>
                  <a:lnTo>
                    <a:pt x="74" y="56"/>
                  </a:lnTo>
                  <a:lnTo>
                    <a:pt x="72" y="44"/>
                  </a:lnTo>
                  <a:lnTo>
                    <a:pt x="68" y="33"/>
                  </a:lnTo>
                  <a:lnTo>
                    <a:pt x="54" y="20"/>
                  </a:lnTo>
                  <a:lnTo>
                    <a:pt x="50" y="22"/>
                  </a:lnTo>
                  <a:lnTo>
                    <a:pt x="32" y="9"/>
                  </a:lnTo>
                  <a:lnTo>
                    <a:pt x="22" y="4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  <p:sp>
          <p:nvSpPr>
            <p:cNvPr id="55" name="Freeform 63"/>
            <p:cNvSpPr>
              <a:spLocks/>
            </p:cNvSpPr>
            <p:nvPr/>
          </p:nvSpPr>
          <p:spPr bwMode="auto">
            <a:xfrm>
              <a:off x="2794" y="4010"/>
              <a:ext cx="201" cy="54"/>
            </a:xfrm>
            <a:custGeom>
              <a:avLst/>
              <a:gdLst>
                <a:gd name="T0" fmla="*/ 42 w 201"/>
                <a:gd name="T1" fmla="*/ 11 h 54"/>
                <a:gd name="T2" fmla="*/ 57 w 201"/>
                <a:gd name="T3" fmla="*/ 4 h 54"/>
                <a:gd name="T4" fmla="*/ 64 w 201"/>
                <a:gd name="T5" fmla="*/ 11 h 54"/>
                <a:gd name="T6" fmla="*/ 70 w 201"/>
                <a:gd name="T7" fmla="*/ 13 h 54"/>
                <a:gd name="T8" fmla="*/ 81 w 201"/>
                <a:gd name="T9" fmla="*/ 7 h 54"/>
                <a:gd name="T10" fmla="*/ 88 w 201"/>
                <a:gd name="T11" fmla="*/ 4 h 54"/>
                <a:gd name="T12" fmla="*/ 120 w 201"/>
                <a:gd name="T13" fmla="*/ 7 h 54"/>
                <a:gd name="T14" fmla="*/ 151 w 201"/>
                <a:gd name="T15" fmla="*/ 6 h 54"/>
                <a:gd name="T16" fmla="*/ 160 w 201"/>
                <a:gd name="T17" fmla="*/ 15 h 54"/>
                <a:gd name="T18" fmla="*/ 160 w 201"/>
                <a:gd name="T19" fmla="*/ 20 h 54"/>
                <a:gd name="T20" fmla="*/ 182 w 201"/>
                <a:gd name="T21" fmla="*/ 17 h 54"/>
                <a:gd name="T22" fmla="*/ 194 w 201"/>
                <a:gd name="T23" fmla="*/ 19 h 54"/>
                <a:gd name="T24" fmla="*/ 201 w 201"/>
                <a:gd name="T25" fmla="*/ 26 h 54"/>
                <a:gd name="T26" fmla="*/ 194 w 201"/>
                <a:gd name="T27" fmla="*/ 35 h 54"/>
                <a:gd name="T28" fmla="*/ 175 w 201"/>
                <a:gd name="T29" fmla="*/ 34 h 54"/>
                <a:gd name="T30" fmla="*/ 162 w 201"/>
                <a:gd name="T31" fmla="*/ 41 h 54"/>
                <a:gd name="T32" fmla="*/ 140 w 201"/>
                <a:gd name="T33" fmla="*/ 41 h 54"/>
                <a:gd name="T34" fmla="*/ 118 w 201"/>
                <a:gd name="T35" fmla="*/ 50 h 54"/>
                <a:gd name="T36" fmla="*/ 99 w 201"/>
                <a:gd name="T37" fmla="*/ 54 h 54"/>
                <a:gd name="T38" fmla="*/ 84 w 201"/>
                <a:gd name="T39" fmla="*/ 45 h 54"/>
                <a:gd name="T40" fmla="*/ 64 w 201"/>
                <a:gd name="T41" fmla="*/ 34 h 54"/>
                <a:gd name="T42" fmla="*/ 44 w 201"/>
                <a:gd name="T43" fmla="*/ 34 h 54"/>
                <a:gd name="T44" fmla="*/ 17 w 201"/>
                <a:gd name="T45" fmla="*/ 28 h 54"/>
                <a:gd name="T46" fmla="*/ 7 w 201"/>
                <a:gd name="T47" fmla="*/ 20 h 54"/>
                <a:gd name="T48" fmla="*/ 0 w 201"/>
                <a:gd name="T49" fmla="*/ 6 h 54"/>
                <a:gd name="T50" fmla="*/ 4 w 201"/>
                <a:gd name="T51" fmla="*/ 0 h 54"/>
                <a:gd name="T52" fmla="*/ 27 w 201"/>
                <a:gd name="T53" fmla="*/ 4 h 54"/>
                <a:gd name="T54" fmla="*/ 42 w 201"/>
                <a:gd name="T55" fmla="*/ 11 h 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01"/>
                <a:gd name="T85" fmla="*/ 0 h 54"/>
                <a:gd name="T86" fmla="*/ 201 w 201"/>
                <a:gd name="T87" fmla="*/ 54 h 5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01" h="54">
                  <a:moveTo>
                    <a:pt x="42" y="11"/>
                  </a:moveTo>
                  <a:lnTo>
                    <a:pt x="57" y="4"/>
                  </a:lnTo>
                  <a:lnTo>
                    <a:pt x="64" y="11"/>
                  </a:lnTo>
                  <a:lnTo>
                    <a:pt x="70" y="13"/>
                  </a:lnTo>
                  <a:lnTo>
                    <a:pt x="81" y="7"/>
                  </a:lnTo>
                  <a:lnTo>
                    <a:pt x="88" y="4"/>
                  </a:lnTo>
                  <a:lnTo>
                    <a:pt x="120" y="7"/>
                  </a:lnTo>
                  <a:lnTo>
                    <a:pt x="151" y="6"/>
                  </a:lnTo>
                  <a:lnTo>
                    <a:pt x="160" y="15"/>
                  </a:lnTo>
                  <a:lnTo>
                    <a:pt x="160" y="20"/>
                  </a:lnTo>
                  <a:lnTo>
                    <a:pt x="182" y="17"/>
                  </a:lnTo>
                  <a:lnTo>
                    <a:pt x="194" y="19"/>
                  </a:lnTo>
                  <a:lnTo>
                    <a:pt x="201" y="26"/>
                  </a:lnTo>
                  <a:lnTo>
                    <a:pt x="194" y="35"/>
                  </a:lnTo>
                  <a:lnTo>
                    <a:pt x="175" y="34"/>
                  </a:lnTo>
                  <a:lnTo>
                    <a:pt x="162" y="41"/>
                  </a:lnTo>
                  <a:lnTo>
                    <a:pt x="140" y="41"/>
                  </a:lnTo>
                  <a:lnTo>
                    <a:pt x="118" y="50"/>
                  </a:lnTo>
                  <a:lnTo>
                    <a:pt x="99" y="54"/>
                  </a:lnTo>
                  <a:lnTo>
                    <a:pt x="84" y="45"/>
                  </a:lnTo>
                  <a:lnTo>
                    <a:pt x="64" y="34"/>
                  </a:lnTo>
                  <a:lnTo>
                    <a:pt x="44" y="34"/>
                  </a:lnTo>
                  <a:lnTo>
                    <a:pt x="17" y="28"/>
                  </a:lnTo>
                  <a:lnTo>
                    <a:pt x="7" y="20"/>
                  </a:lnTo>
                  <a:lnTo>
                    <a:pt x="0" y="6"/>
                  </a:lnTo>
                  <a:lnTo>
                    <a:pt x="4" y="0"/>
                  </a:lnTo>
                  <a:lnTo>
                    <a:pt x="27" y="4"/>
                  </a:lnTo>
                  <a:lnTo>
                    <a:pt x="42" y="11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  <p:sp>
          <p:nvSpPr>
            <p:cNvPr id="56" name="Freeform 64"/>
            <p:cNvSpPr>
              <a:spLocks/>
            </p:cNvSpPr>
            <p:nvPr/>
          </p:nvSpPr>
          <p:spPr bwMode="auto">
            <a:xfrm>
              <a:off x="2880" y="3615"/>
              <a:ext cx="30" cy="28"/>
            </a:xfrm>
            <a:custGeom>
              <a:avLst/>
              <a:gdLst>
                <a:gd name="T0" fmla="*/ 30 w 30"/>
                <a:gd name="T1" fmla="*/ 0 h 28"/>
                <a:gd name="T2" fmla="*/ 11 w 30"/>
                <a:gd name="T3" fmla="*/ 0 h 28"/>
                <a:gd name="T4" fmla="*/ 2 w 30"/>
                <a:gd name="T5" fmla="*/ 6 h 28"/>
                <a:gd name="T6" fmla="*/ 0 w 30"/>
                <a:gd name="T7" fmla="*/ 15 h 28"/>
                <a:gd name="T8" fmla="*/ 0 w 30"/>
                <a:gd name="T9" fmla="*/ 26 h 28"/>
                <a:gd name="T10" fmla="*/ 9 w 30"/>
                <a:gd name="T11" fmla="*/ 28 h 28"/>
                <a:gd name="T12" fmla="*/ 26 w 30"/>
                <a:gd name="T13" fmla="*/ 17 h 28"/>
                <a:gd name="T14" fmla="*/ 30 w 30"/>
                <a:gd name="T15" fmla="*/ 0 h 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0"/>
                <a:gd name="T25" fmla="*/ 0 h 28"/>
                <a:gd name="T26" fmla="*/ 30 w 30"/>
                <a:gd name="T27" fmla="*/ 28 h 2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0" h="28">
                  <a:moveTo>
                    <a:pt x="30" y="0"/>
                  </a:moveTo>
                  <a:lnTo>
                    <a:pt x="11" y="0"/>
                  </a:lnTo>
                  <a:lnTo>
                    <a:pt x="2" y="6"/>
                  </a:lnTo>
                  <a:lnTo>
                    <a:pt x="0" y="15"/>
                  </a:lnTo>
                  <a:lnTo>
                    <a:pt x="0" y="26"/>
                  </a:lnTo>
                  <a:lnTo>
                    <a:pt x="9" y="28"/>
                  </a:lnTo>
                  <a:lnTo>
                    <a:pt x="26" y="17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  <p:sp>
          <p:nvSpPr>
            <p:cNvPr id="57" name="Freeform 65"/>
            <p:cNvSpPr>
              <a:spLocks/>
            </p:cNvSpPr>
            <p:nvPr/>
          </p:nvSpPr>
          <p:spPr bwMode="auto">
            <a:xfrm>
              <a:off x="3084" y="3878"/>
              <a:ext cx="41" cy="22"/>
            </a:xfrm>
            <a:custGeom>
              <a:avLst/>
              <a:gdLst>
                <a:gd name="T0" fmla="*/ 41 w 41"/>
                <a:gd name="T1" fmla="*/ 6 h 22"/>
                <a:gd name="T2" fmla="*/ 22 w 41"/>
                <a:gd name="T3" fmla="*/ 22 h 22"/>
                <a:gd name="T4" fmla="*/ 9 w 41"/>
                <a:gd name="T5" fmla="*/ 22 h 22"/>
                <a:gd name="T6" fmla="*/ 0 w 41"/>
                <a:gd name="T7" fmla="*/ 15 h 22"/>
                <a:gd name="T8" fmla="*/ 6 w 41"/>
                <a:gd name="T9" fmla="*/ 2 h 22"/>
                <a:gd name="T10" fmla="*/ 26 w 41"/>
                <a:gd name="T11" fmla="*/ 0 h 22"/>
                <a:gd name="T12" fmla="*/ 41 w 41"/>
                <a:gd name="T13" fmla="*/ 6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22"/>
                <a:gd name="T23" fmla="*/ 41 w 41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22">
                  <a:moveTo>
                    <a:pt x="41" y="6"/>
                  </a:moveTo>
                  <a:lnTo>
                    <a:pt x="22" y="22"/>
                  </a:lnTo>
                  <a:lnTo>
                    <a:pt x="9" y="22"/>
                  </a:lnTo>
                  <a:lnTo>
                    <a:pt x="0" y="15"/>
                  </a:lnTo>
                  <a:lnTo>
                    <a:pt x="6" y="2"/>
                  </a:lnTo>
                  <a:lnTo>
                    <a:pt x="26" y="0"/>
                  </a:lnTo>
                  <a:lnTo>
                    <a:pt x="41" y="6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  <p:sp>
          <p:nvSpPr>
            <p:cNvPr id="58" name="Freeform 66"/>
            <p:cNvSpPr>
              <a:spLocks/>
            </p:cNvSpPr>
            <p:nvPr/>
          </p:nvSpPr>
          <p:spPr bwMode="auto">
            <a:xfrm>
              <a:off x="3090" y="3928"/>
              <a:ext cx="42" cy="34"/>
            </a:xfrm>
            <a:custGeom>
              <a:avLst/>
              <a:gdLst>
                <a:gd name="T0" fmla="*/ 42 w 42"/>
                <a:gd name="T1" fmla="*/ 0 h 34"/>
                <a:gd name="T2" fmla="*/ 42 w 42"/>
                <a:gd name="T3" fmla="*/ 11 h 34"/>
                <a:gd name="T4" fmla="*/ 16 w 42"/>
                <a:gd name="T5" fmla="*/ 29 h 34"/>
                <a:gd name="T6" fmla="*/ 5 w 42"/>
                <a:gd name="T7" fmla="*/ 34 h 34"/>
                <a:gd name="T8" fmla="*/ 0 w 42"/>
                <a:gd name="T9" fmla="*/ 32 h 34"/>
                <a:gd name="T10" fmla="*/ 4 w 42"/>
                <a:gd name="T11" fmla="*/ 20 h 34"/>
                <a:gd name="T12" fmla="*/ 22 w 42"/>
                <a:gd name="T13" fmla="*/ 6 h 34"/>
                <a:gd name="T14" fmla="*/ 42 w 42"/>
                <a:gd name="T15" fmla="*/ 0 h 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34"/>
                <a:gd name="T26" fmla="*/ 42 w 42"/>
                <a:gd name="T27" fmla="*/ 34 h 3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34">
                  <a:moveTo>
                    <a:pt x="42" y="0"/>
                  </a:moveTo>
                  <a:lnTo>
                    <a:pt x="42" y="11"/>
                  </a:lnTo>
                  <a:lnTo>
                    <a:pt x="16" y="29"/>
                  </a:lnTo>
                  <a:lnTo>
                    <a:pt x="5" y="34"/>
                  </a:lnTo>
                  <a:lnTo>
                    <a:pt x="0" y="32"/>
                  </a:lnTo>
                  <a:lnTo>
                    <a:pt x="4" y="20"/>
                  </a:lnTo>
                  <a:lnTo>
                    <a:pt x="22" y="6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  <p:sp>
          <p:nvSpPr>
            <p:cNvPr id="59" name="Freeform 67"/>
            <p:cNvSpPr>
              <a:spLocks/>
            </p:cNvSpPr>
            <p:nvPr/>
          </p:nvSpPr>
          <p:spPr bwMode="auto">
            <a:xfrm>
              <a:off x="2936" y="3663"/>
              <a:ext cx="52" cy="37"/>
            </a:xfrm>
            <a:custGeom>
              <a:avLst/>
              <a:gdLst>
                <a:gd name="T0" fmla="*/ 28 w 52"/>
                <a:gd name="T1" fmla="*/ 0 h 37"/>
                <a:gd name="T2" fmla="*/ 52 w 52"/>
                <a:gd name="T3" fmla="*/ 26 h 37"/>
                <a:gd name="T4" fmla="*/ 48 w 52"/>
                <a:gd name="T5" fmla="*/ 33 h 37"/>
                <a:gd name="T6" fmla="*/ 35 w 52"/>
                <a:gd name="T7" fmla="*/ 37 h 37"/>
                <a:gd name="T8" fmla="*/ 33 w 52"/>
                <a:gd name="T9" fmla="*/ 28 h 37"/>
                <a:gd name="T10" fmla="*/ 28 w 52"/>
                <a:gd name="T11" fmla="*/ 24 h 37"/>
                <a:gd name="T12" fmla="*/ 20 w 52"/>
                <a:gd name="T13" fmla="*/ 28 h 37"/>
                <a:gd name="T14" fmla="*/ 11 w 52"/>
                <a:gd name="T15" fmla="*/ 22 h 37"/>
                <a:gd name="T16" fmla="*/ 7 w 52"/>
                <a:gd name="T17" fmla="*/ 17 h 37"/>
                <a:gd name="T18" fmla="*/ 13 w 52"/>
                <a:gd name="T19" fmla="*/ 13 h 37"/>
                <a:gd name="T20" fmla="*/ 2 w 52"/>
                <a:gd name="T21" fmla="*/ 19 h 37"/>
                <a:gd name="T22" fmla="*/ 0 w 52"/>
                <a:gd name="T23" fmla="*/ 13 h 37"/>
                <a:gd name="T24" fmla="*/ 15 w 52"/>
                <a:gd name="T25" fmla="*/ 7 h 37"/>
                <a:gd name="T26" fmla="*/ 28 w 52"/>
                <a:gd name="T27" fmla="*/ 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2"/>
                <a:gd name="T43" fmla="*/ 0 h 37"/>
                <a:gd name="T44" fmla="*/ 52 w 52"/>
                <a:gd name="T45" fmla="*/ 37 h 3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2" h="37">
                  <a:moveTo>
                    <a:pt x="28" y="0"/>
                  </a:moveTo>
                  <a:lnTo>
                    <a:pt x="52" y="26"/>
                  </a:lnTo>
                  <a:lnTo>
                    <a:pt x="48" y="33"/>
                  </a:lnTo>
                  <a:lnTo>
                    <a:pt x="35" y="37"/>
                  </a:lnTo>
                  <a:lnTo>
                    <a:pt x="33" y="28"/>
                  </a:lnTo>
                  <a:lnTo>
                    <a:pt x="28" y="24"/>
                  </a:lnTo>
                  <a:lnTo>
                    <a:pt x="20" y="28"/>
                  </a:lnTo>
                  <a:lnTo>
                    <a:pt x="11" y="22"/>
                  </a:lnTo>
                  <a:lnTo>
                    <a:pt x="7" y="17"/>
                  </a:lnTo>
                  <a:lnTo>
                    <a:pt x="13" y="1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15" y="7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</p:grpSp>
      <p:grpSp>
        <p:nvGrpSpPr>
          <p:cNvPr id="27" name="Group 68"/>
          <p:cNvGrpSpPr>
            <a:grpSpLocks/>
          </p:cNvGrpSpPr>
          <p:nvPr/>
        </p:nvGrpSpPr>
        <p:grpSpPr bwMode="auto">
          <a:xfrm>
            <a:off x="3469556" y="3385504"/>
            <a:ext cx="1153790" cy="1432243"/>
            <a:chOff x="1086" y="2537"/>
            <a:chExt cx="764" cy="906"/>
          </a:xfrm>
          <a:solidFill>
            <a:schemeClr val="accent5"/>
          </a:solidFill>
        </p:grpSpPr>
        <p:sp>
          <p:nvSpPr>
            <p:cNvPr id="49" name="Freeform 69"/>
            <p:cNvSpPr>
              <a:spLocks/>
            </p:cNvSpPr>
            <p:nvPr/>
          </p:nvSpPr>
          <p:spPr bwMode="auto">
            <a:xfrm>
              <a:off x="1782" y="3321"/>
              <a:ext cx="68" cy="122"/>
            </a:xfrm>
            <a:custGeom>
              <a:avLst/>
              <a:gdLst>
                <a:gd name="T0" fmla="*/ 68 w 68"/>
                <a:gd name="T1" fmla="*/ 0 h 122"/>
                <a:gd name="T2" fmla="*/ 46 w 68"/>
                <a:gd name="T3" fmla="*/ 26 h 122"/>
                <a:gd name="T4" fmla="*/ 20 w 68"/>
                <a:gd name="T5" fmla="*/ 26 h 122"/>
                <a:gd name="T6" fmla="*/ 0 w 68"/>
                <a:gd name="T7" fmla="*/ 41 h 122"/>
                <a:gd name="T8" fmla="*/ 4 w 68"/>
                <a:gd name="T9" fmla="*/ 62 h 122"/>
                <a:gd name="T10" fmla="*/ 4 w 68"/>
                <a:gd name="T11" fmla="*/ 96 h 122"/>
                <a:gd name="T12" fmla="*/ 20 w 68"/>
                <a:gd name="T13" fmla="*/ 122 h 122"/>
                <a:gd name="T14" fmla="*/ 38 w 68"/>
                <a:gd name="T15" fmla="*/ 115 h 122"/>
                <a:gd name="T16" fmla="*/ 42 w 68"/>
                <a:gd name="T17" fmla="*/ 100 h 122"/>
                <a:gd name="T18" fmla="*/ 61 w 68"/>
                <a:gd name="T19" fmla="*/ 66 h 122"/>
                <a:gd name="T20" fmla="*/ 61 w 68"/>
                <a:gd name="T21" fmla="*/ 48 h 122"/>
                <a:gd name="T22" fmla="*/ 68 w 68"/>
                <a:gd name="T23" fmla="*/ 0 h 1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8"/>
                <a:gd name="T37" fmla="*/ 0 h 122"/>
                <a:gd name="T38" fmla="*/ 68 w 68"/>
                <a:gd name="T39" fmla="*/ 122 h 1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8" h="122">
                  <a:moveTo>
                    <a:pt x="68" y="0"/>
                  </a:moveTo>
                  <a:lnTo>
                    <a:pt x="46" y="26"/>
                  </a:lnTo>
                  <a:lnTo>
                    <a:pt x="20" y="26"/>
                  </a:lnTo>
                  <a:lnTo>
                    <a:pt x="0" y="41"/>
                  </a:lnTo>
                  <a:lnTo>
                    <a:pt x="4" y="62"/>
                  </a:lnTo>
                  <a:lnTo>
                    <a:pt x="4" y="96"/>
                  </a:lnTo>
                  <a:lnTo>
                    <a:pt x="20" y="122"/>
                  </a:lnTo>
                  <a:lnTo>
                    <a:pt x="38" y="115"/>
                  </a:lnTo>
                  <a:lnTo>
                    <a:pt x="42" y="100"/>
                  </a:lnTo>
                  <a:lnTo>
                    <a:pt x="61" y="66"/>
                  </a:lnTo>
                  <a:lnTo>
                    <a:pt x="61" y="48"/>
                  </a:lnTo>
                  <a:lnTo>
                    <a:pt x="68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  <p:sp>
          <p:nvSpPr>
            <p:cNvPr id="50" name="Freeform 70"/>
            <p:cNvSpPr>
              <a:spLocks/>
            </p:cNvSpPr>
            <p:nvPr/>
          </p:nvSpPr>
          <p:spPr bwMode="auto">
            <a:xfrm>
              <a:off x="1086" y="2537"/>
              <a:ext cx="764" cy="746"/>
            </a:xfrm>
            <a:custGeom>
              <a:avLst/>
              <a:gdLst>
                <a:gd name="T0" fmla="*/ 11 w 764"/>
                <a:gd name="T1" fmla="*/ 145 h 746"/>
                <a:gd name="T2" fmla="*/ 13 w 764"/>
                <a:gd name="T3" fmla="*/ 174 h 746"/>
                <a:gd name="T4" fmla="*/ 74 w 764"/>
                <a:gd name="T5" fmla="*/ 221 h 746"/>
                <a:gd name="T6" fmla="*/ 122 w 764"/>
                <a:gd name="T7" fmla="*/ 250 h 746"/>
                <a:gd name="T8" fmla="*/ 117 w 764"/>
                <a:gd name="T9" fmla="*/ 290 h 746"/>
                <a:gd name="T10" fmla="*/ 145 w 764"/>
                <a:gd name="T11" fmla="*/ 349 h 746"/>
                <a:gd name="T12" fmla="*/ 158 w 764"/>
                <a:gd name="T13" fmla="*/ 429 h 746"/>
                <a:gd name="T14" fmla="*/ 132 w 764"/>
                <a:gd name="T15" fmla="*/ 429 h 746"/>
                <a:gd name="T16" fmla="*/ 115 w 764"/>
                <a:gd name="T17" fmla="*/ 470 h 746"/>
                <a:gd name="T18" fmla="*/ 98 w 764"/>
                <a:gd name="T19" fmla="*/ 511 h 746"/>
                <a:gd name="T20" fmla="*/ 57 w 764"/>
                <a:gd name="T21" fmla="*/ 583 h 746"/>
                <a:gd name="T22" fmla="*/ 59 w 764"/>
                <a:gd name="T23" fmla="*/ 618 h 746"/>
                <a:gd name="T24" fmla="*/ 161 w 764"/>
                <a:gd name="T25" fmla="*/ 685 h 746"/>
                <a:gd name="T26" fmla="*/ 249 w 764"/>
                <a:gd name="T27" fmla="*/ 726 h 746"/>
                <a:gd name="T28" fmla="*/ 325 w 764"/>
                <a:gd name="T29" fmla="*/ 746 h 746"/>
                <a:gd name="T30" fmla="*/ 353 w 764"/>
                <a:gd name="T31" fmla="*/ 689 h 746"/>
                <a:gd name="T32" fmla="*/ 422 w 764"/>
                <a:gd name="T33" fmla="*/ 664 h 746"/>
                <a:gd name="T34" fmla="*/ 472 w 764"/>
                <a:gd name="T35" fmla="*/ 690 h 746"/>
                <a:gd name="T36" fmla="*/ 541 w 764"/>
                <a:gd name="T37" fmla="*/ 726 h 746"/>
                <a:gd name="T38" fmla="*/ 604 w 764"/>
                <a:gd name="T39" fmla="*/ 711 h 746"/>
                <a:gd name="T40" fmla="*/ 650 w 764"/>
                <a:gd name="T41" fmla="*/ 663 h 746"/>
                <a:gd name="T42" fmla="*/ 622 w 764"/>
                <a:gd name="T43" fmla="*/ 642 h 746"/>
                <a:gd name="T44" fmla="*/ 617 w 764"/>
                <a:gd name="T45" fmla="*/ 574 h 746"/>
                <a:gd name="T46" fmla="*/ 635 w 764"/>
                <a:gd name="T47" fmla="*/ 511 h 746"/>
                <a:gd name="T48" fmla="*/ 635 w 764"/>
                <a:gd name="T49" fmla="*/ 453 h 746"/>
                <a:gd name="T50" fmla="*/ 602 w 764"/>
                <a:gd name="T51" fmla="*/ 455 h 746"/>
                <a:gd name="T52" fmla="*/ 587 w 764"/>
                <a:gd name="T53" fmla="*/ 446 h 746"/>
                <a:gd name="T54" fmla="*/ 622 w 764"/>
                <a:gd name="T55" fmla="*/ 405 h 746"/>
                <a:gd name="T56" fmla="*/ 676 w 764"/>
                <a:gd name="T57" fmla="*/ 353 h 746"/>
                <a:gd name="T58" fmla="*/ 705 w 764"/>
                <a:gd name="T59" fmla="*/ 327 h 746"/>
                <a:gd name="T60" fmla="*/ 727 w 764"/>
                <a:gd name="T61" fmla="*/ 277 h 746"/>
                <a:gd name="T62" fmla="*/ 764 w 764"/>
                <a:gd name="T63" fmla="*/ 234 h 746"/>
                <a:gd name="T64" fmla="*/ 720 w 764"/>
                <a:gd name="T65" fmla="*/ 213 h 746"/>
                <a:gd name="T66" fmla="*/ 667 w 764"/>
                <a:gd name="T67" fmla="*/ 195 h 746"/>
                <a:gd name="T68" fmla="*/ 631 w 764"/>
                <a:gd name="T69" fmla="*/ 163 h 746"/>
                <a:gd name="T70" fmla="*/ 581 w 764"/>
                <a:gd name="T71" fmla="*/ 119 h 746"/>
                <a:gd name="T72" fmla="*/ 539 w 764"/>
                <a:gd name="T73" fmla="*/ 76 h 746"/>
                <a:gd name="T74" fmla="*/ 509 w 764"/>
                <a:gd name="T75" fmla="*/ 30 h 746"/>
                <a:gd name="T76" fmla="*/ 444 w 764"/>
                <a:gd name="T77" fmla="*/ 2 h 746"/>
                <a:gd name="T78" fmla="*/ 416 w 764"/>
                <a:gd name="T79" fmla="*/ 35 h 746"/>
                <a:gd name="T80" fmla="*/ 318 w 764"/>
                <a:gd name="T81" fmla="*/ 87 h 746"/>
                <a:gd name="T82" fmla="*/ 266 w 764"/>
                <a:gd name="T83" fmla="*/ 104 h 746"/>
                <a:gd name="T84" fmla="*/ 220 w 764"/>
                <a:gd name="T85" fmla="*/ 78 h 746"/>
                <a:gd name="T86" fmla="*/ 199 w 764"/>
                <a:gd name="T87" fmla="*/ 56 h 746"/>
                <a:gd name="T88" fmla="*/ 205 w 764"/>
                <a:gd name="T89" fmla="*/ 83 h 746"/>
                <a:gd name="T90" fmla="*/ 198 w 764"/>
                <a:gd name="T91" fmla="*/ 113 h 746"/>
                <a:gd name="T92" fmla="*/ 182 w 764"/>
                <a:gd name="T93" fmla="*/ 137 h 746"/>
                <a:gd name="T94" fmla="*/ 141 w 764"/>
                <a:gd name="T95" fmla="*/ 126 h 746"/>
                <a:gd name="T96" fmla="*/ 93 w 764"/>
                <a:gd name="T97" fmla="*/ 96 h 746"/>
                <a:gd name="T98" fmla="*/ 59 w 764"/>
                <a:gd name="T99" fmla="*/ 108 h 74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64"/>
                <a:gd name="T151" fmla="*/ 0 h 746"/>
                <a:gd name="T152" fmla="*/ 764 w 764"/>
                <a:gd name="T153" fmla="*/ 746 h 74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64" h="746">
                  <a:moveTo>
                    <a:pt x="13" y="106"/>
                  </a:moveTo>
                  <a:lnTo>
                    <a:pt x="20" y="124"/>
                  </a:lnTo>
                  <a:lnTo>
                    <a:pt x="13" y="139"/>
                  </a:lnTo>
                  <a:lnTo>
                    <a:pt x="11" y="145"/>
                  </a:lnTo>
                  <a:lnTo>
                    <a:pt x="0" y="141"/>
                  </a:lnTo>
                  <a:lnTo>
                    <a:pt x="4" y="150"/>
                  </a:lnTo>
                  <a:lnTo>
                    <a:pt x="4" y="159"/>
                  </a:lnTo>
                  <a:lnTo>
                    <a:pt x="13" y="174"/>
                  </a:lnTo>
                  <a:lnTo>
                    <a:pt x="30" y="169"/>
                  </a:lnTo>
                  <a:lnTo>
                    <a:pt x="52" y="193"/>
                  </a:lnTo>
                  <a:lnTo>
                    <a:pt x="61" y="209"/>
                  </a:lnTo>
                  <a:lnTo>
                    <a:pt x="74" y="221"/>
                  </a:lnTo>
                  <a:lnTo>
                    <a:pt x="91" y="221"/>
                  </a:lnTo>
                  <a:lnTo>
                    <a:pt x="98" y="235"/>
                  </a:lnTo>
                  <a:lnTo>
                    <a:pt x="113" y="248"/>
                  </a:lnTo>
                  <a:lnTo>
                    <a:pt x="122" y="250"/>
                  </a:lnTo>
                  <a:lnTo>
                    <a:pt x="124" y="256"/>
                  </a:lnTo>
                  <a:lnTo>
                    <a:pt x="119" y="268"/>
                  </a:lnTo>
                  <a:lnTo>
                    <a:pt x="119" y="279"/>
                  </a:lnTo>
                  <a:lnTo>
                    <a:pt x="117" y="290"/>
                  </a:lnTo>
                  <a:lnTo>
                    <a:pt x="113" y="309"/>
                  </a:lnTo>
                  <a:lnTo>
                    <a:pt x="128" y="327"/>
                  </a:lnTo>
                  <a:lnTo>
                    <a:pt x="145" y="340"/>
                  </a:lnTo>
                  <a:lnTo>
                    <a:pt x="145" y="349"/>
                  </a:lnTo>
                  <a:lnTo>
                    <a:pt x="143" y="381"/>
                  </a:lnTo>
                  <a:lnTo>
                    <a:pt x="139" y="407"/>
                  </a:lnTo>
                  <a:lnTo>
                    <a:pt x="143" y="418"/>
                  </a:lnTo>
                  <a:lnTo>
                    <a:pt x="158" y="429"/>
                  </a:lnTo>
                  <a:lnTo>
                    <a:pt x="158" y="451"/>
                  </a:lnTo>
                  <a:lnTo>
                    <a:pt x="158" y="466"/>
                  </a:lnTo>
                  <a:lnTo>
                    <a:pt x="141" y="444"/>
                  </a:lnTo>
                  <a:lnTo>
                    <a:pt x="132" y="429"/>
                  </a:lnTo>
                  <a:lnTo>
                    <a:pt x="126" y="433"/>
                  </a:lnTo>
                  <a:lnTo>
                    <a:pt x="130" y="444"/>
                  </a:lnTo>
                  <a:lnTo>
                    <a:pt x="124" y="457"/>
                  </a:lnTo>
                  <a:lnTo>
                    <a:pt x="115" y="470"/>
                  </a:lnTo>
                  <a:lnTo>
                    <a:pt x="109" y="479"/>
                  </a:lnTo>
                  <a:lnTo>
                    <a:pt x="117" y="488"/>
                  </a:lnTo>
                  <a:lnTo>
                    <a:pt x="111" y="498"/>
                  </a:lnTo>
                  <a:lnTo>
                    <a:pt x="98" y="511"/>
                  </a:lnTo>
                  <a:lnTo>
                    <a:pt x="96" y="522"/>
                  </a:lnTo>
                  <a:lnTo>
                    <a:pt x="89" y="535"/>
                  </a:lnTo>
                  <a:lnTo>
                    <a:pt x="69" y="559"/>
                  </a:lnTo>
                  <a:lnTo>
                    <a:pt x="57" y="583"/>
                  </a:lnTo>
                  <a:lnTo>
                    <a:pt x="57" y="587"/>
                  </a:lnTo>
                  <a:lnTo>
                    <a:pt x="63" y="594"/>
                  </a:lnTo>
                  <a:lnTo>
                    <a:pt x="56" y="605"/>
                  </a:lnTo>
                  <a:lnTo>
                    <a:pt x="59" y="618"/>
                  </a:lnTo>
                  <a:lnTo>
                    <a:pt x="70" y="635"/>
                  </a:lnTo>
                  <a:lnTo>
                    <a:pt x="117" y="661"/>
                  </a:lnTo>
                  <a:lnTo>
                    <a:pt x="150" y="689"/>
                  </a:lnTo>
                  <a:lnTo>
                    <a:pt x="161" y="685"/>
                  </a:lnTo>
                  <a:lnTo>
                    <a:pt x="178" y="679"/>
                  </a:lnTo>
                  <a:lnTo>
                    <a:pt x="236" y="703"/>
                  </a:lnTo>
                  <a:lnTo>
                    <a:pt x="244" y="711"/>
                  </a:lnTo>
                  <a:lnTo>
                    <a:pt x="249" y="726"/>
                  </a:lnTo>
                  <a:lnTo>
                    <a:pt x="259" y="731"/>
                  </a:lnTo>
                  <a:lnTo>
                    <a:pt x="272" y="733"/>
                  </a:lnTo>
                  <a:lnTo>
                    <a:pt x="292" y="744"/>
                  </a:lnTo>
                  <a:lnTo>
                    <a:pt x="325" y="746"/>
                  </a:lnTo>
                  <a:lnTo>
                    <a:pt x="335" y="733"/>
                  </a:lnTo>
                  <a:lnTo>
                    <a:pt x="338" y="718"/>
                  </a:lnTo>
                  <a:lnTo>
                    <a:pt x="338" y="702"/>
                  </a:lnTo>
                  <a:lnTo>
                    <a:pt x="353" y="689"/>
                  </a:lnTo>
                  <a:lnTo>
                    <a:pt x="381" y="674"/>
                  </a:lnTo>
                  <a:lnTo>
                    <a:pt x="394" y="672"/>
                  </a:lnTo>
                  <a:lnTo>
                    <a:pt x="409" y="664"/>
                  </a:lnTo>
                  <a:lnTo>
                    <a:pt x="422" y="664"/>
                  </a:lnTo>
                  <a:lnTo>
                    <a:pt x="437" y="674"/>
                  </a:lnTo>
                  <a:lnTo>
                    <a:pt x="448" y="687"/>
                  </a:lnTo>
                  <a:lnTo>
                    <a:pt x="461" y="687"/>
                  </a:lnTo>
                  <a:lnTo>
                    <a:pt x="472" y="690"/>
                  </a:lnTo>
                  <a:lnTo>
                    <a:pt x="494" y="692"/>
                  </a:lnTo>
                  <a:lnTo>
                    <a:pt x="509" y="711"/>
                  </a:lnTo>
                  <a:lnTo>
                    <a:pt x="522" y="720"/>
                  </a:lnTo>
                  <a:lnTo>
                    <a:pt x="541" y="726"/>
                  </a:lnTo>
                  <a:lnTo>
                    <a:pt x="557" y="735"/>
                  </a:lnTo>
                  <a:lnTo>
                    <a:pt x="566" y="737"/>
                  </a:lnTo>
                  <a:lnTo>
                    <a:pt x="589" y="714"/>
                  </a:lnTo>
                  <a:lnTo>
                    <a:pt x="604" y="711"/>
                  </a:lnTo>
                  <a:lnTo>
                    <a:pt x="615" y="702"/>
                  </a:lnTo>
                  <a:lnTo>
                    <a:pt x="631" y="690"/>
                  </a:lnTo>
                  <a:lnTo>
                    <a:pt x="652" y="689"/>
                  </a:lnTo>
                  <a:lnTo>
                    <a:pt x="650" y="663"/>
                  </a:lnTo>
                  <a:lnTo>
                    <a:pt x="646" y="655"/>
                  </a:lnTo>
                  <a:lnTo>
                    <a:pt x="637" y="642"/>
                  </a:lnTo>
                  <a:lnTo>
                    <a:pt x="630" y="644"/>
                  </a:lnTo>
                  <a:lnTo>
                    <a:pt x="622" y="642"/>
                  </a:lnTo>
                  <a:lnTo>
                    <a:pt x="615" y="631"/>
                  </a:lnTo>
                  <a:lnTo>
                    <a:pt x="613" y="605"/>
                  </a:lnTo>
                  <a:lnTo>
                    <a:pt x="628" y="588"/>
                  </a:lnTo>
                  <a:lnTo>
                    <a:pt x="617" y="574"/>
                  </a:lnTo>
                  <a:lnTo>
                    <a:pt x="617" y="568"/>
                  </a:lnTo>
                  <a:lnTo>
                    <a:pt x="639" y="546"/>
                  </a:lnTo>
                  <a:lnTo>
                    <a:pt x="639" y="538"/>
                  </a:lnTo>
                  <a:lnTo>
                    <a:pt x="635" y="511"/>
                  </a:lnTo>
                  <a:lnTo>
                    <a:pt x="648" y="498"/>
                  </a:lnTo>
                  <a:lnTo>
                    <a:pt x="637" y="483"/>
                  </a:lnTo>
                  <a:lnTo>
                    <a:pt x="637" y="472"/>
                  </a:lnTo>
                  <a:lnTo>
                    <a:pt x="635" y="453"/>
                  </a:lnTo>
                  <a:lnTo>
                    <a:pt x="630" y="448"/>
                  </a:lnTo>
                  <a:lnTo>
                    <a:pt x="617" y="448"/>
                  </a:lnTo>
                  <a:lnTo>
                    <a:pt x="605" y="451"/>
                  </a:lnTo>
                  <a:lnTo>
                    <a:pt x="602" y="455"/>
                  </a:lnTo>
                  <a:lnTo>
                    <a:pt x="594" y="462"/>
                  </a:lnTo>
                  <a:lnTo>
                    <a:pt x="583" y="466"/>
                  </a:lnTo>
                  <a:lnTo>
                    <a:pt x="579" y="455"/>
                  </a:lnTo>
                  <a:lnTo>
                    <a:pt x="587" y="446"/>
                  </a:lnTo>
                  <a:lnTo>
                    <a:pt x="591" y="438"/>
                  </a:lnTo>
                  <a:lnTo>
                    <a:pt x="591" y="429"/>
                  </a:lnTo>
                  <a:lnTo>
                    <a:pt x="611" y="409"/>
                  </a:lnTo>
                  <a:lnTo>
                    <a:pt x="622" y="405"/>
                  </a:lnTo>
                  <a:lnTo>
                    <a:pt x="624" y="390"/>
                  </a:lnTo>
                  <a:lnTo>
                    <a:pt x="635" y="377"/>
                  </a:lnTo>
                  <a:lnTo>
                    <a:pt x="667" y="353"/>
                  </a:lnTo>
                  <a:lnTo>
                    <a:pt x="676" y="353"/>
                  </a:lnTo>
                  <a:lnTo>
                    <a:pt x="680" y="344"/>
                  </a:lnTo>
                  <a:lnTo>
                    <a:pt x="691" y="333"/>
                  </a:lnTo>
                  <a:lnTo>
                    <a:pt x="700" y="333"/>
                  </a:lnTo>
                  <a:lnTo>
                    <a:pt x="705" y="327"/>
                  </a:lnTo>
                  <a:lnTo>
                    <a:pt x="710" y="323"/>
                  </a:lnTo>
                  <a:lnTo>
                    <a:pt x="718" y="310"/>
                  </a:lnTo>
                  <a:lnTo>
                    <a:pt x="725" y="290"/>
                  </a:lnTo>
                  <a:lnTo>
                    <a:pt x="727" y="277"/>
                  </a:lnTo>
                  <a:lnTo>
                    <a:pt x="727" y="266"/>
                  </a:lnTo>
                  <a:lnTo>
                    <a:pt x="738" y="252"/>
                  </a:lnTo>
                  <a:lnTo>
                    <a:pt x="755" y="243"/>
                  </a:lnTo>
                  <a:lnTo>
                    <a:pt x="764" y="234"/>
                  </a:lnTo>
                  <a:lnTo>
                    <a:pt x="764" y="230"/>
                  </a:lnTo>
                  <a:lnTo>
                    <a:pt x="749" y="219"/>
                  </a:lnTo>
                  <a:lnTo>
                    <a:pt x="742" y="215"/>
                  </a:lnTo>
                  <a:lnTo>
                    <a:pt x="720" y="213"/>
                  </a:lnTo>
                  <a:lnTo>
                    <a:pt x="694" y="209"/>
                  </a:lnTo>
                  <a:lnTo>
                    <a:pt x="685" y="208"/>
                  </a:lnTo>
                  <a:lnTo>
                    <a:pt x="676" y="204"/>
                  </a:lnTo>
                  <a:lnTo>
                    <a:pt x="667" y="195"/>
                  </a:lnTo>
                  <a:lnTo>
                    <a:pt x="659" y="180"/>
                  </a:lnTo>
                  <a:lnTo>
                    <a:pt x="652" y="171"/>
                  </a:lnTo>
                  <a:lnTo>
                    <a:pt x="642" y="167"/>
                  </a:lnTo>
                  <a:lnTo>
                    <a:pt x="631" y="163"/>
                  </a:lnTo>
                  <a:lnTo>
                    <a:pt x="626" y="161"/>
                  </a:lnTo>
                  <a:lnTo>
                    <a:pt x="611" y="148"/>
                  </a:lnTo>
                  <a:lnTo>
                    <a:pt x="592" y="133"/>
                  </a:lnTo>
                  <a:lnTo>
                    <a:pt x="581" y="119"/>
                  </a:lnTo>
                  <a:lnTo>
                    <a:pt x="568" y="115"/>
                  </a:lnTo>
                  <a:lnTo>
                    <a:pt x="561" y="109"/>
                  </a:lnTo>
                  <a:lnTo>
                    <a:pt x="555" y="95"/>
                  </a:lnTo>
                  <a:lnTo>
                    <a:pt x="539" y="76"/>
                  </a:lnTo>
                  <a:lnTo>
                    <a:pt x="535" y="63"/>
                  </a:lnTo>
                  <a:lnTo>
                    <a:pt x="522" y="50"/>
                  </a:lnTo>
                  <a:lnTo>
                    <a:pt x="516" y="39"/>
                  </a:lnTo>
                  <a:lnTo>
                    <a:pt x="509" y="30"/>
                  </a:lnTo>
                  <a:lnTo>
                    <a:pt x="496" y="20"/>
                  </a:lnTo>
                  <a:lnTo>
                    <a:pt x="483" y="6"/>
                  </a:lnTo>
                  <a:lnTo>
                    <a:pt x="472" y="0"/>
                  </a:lnTo>
                  <a:lnTo>
                    <a:pt x="444" y="2"/>
                  </a:lnTo>
                  <a:lnTo>
                    <a:pt x="433" y="2"/>
                  </a:lnTo>
                  <a:lnTo>
                    <a:pt x="418" y="13"/>
                  </a:lnTo>
                  <a:lnTo>
                    <a:pt x="427" y="22"/>
                  </a:lnTo>
                  <a:lnTo>
                    <a:pt x="416" y="35"/>
                  </a:lnTo>
                  <a:lnTo>
                    <a:pt x="388" y="70"/>
                  </a:lnTo>
                  <a:lnTo>
                    <a:pt x="374" y="78"/>
                  </a:lnTo>
                  <a:lnTo>
                    <a:pt x="335" y="82"/>
                  </a:lnTo>
                  <a:lnTo>
                    <a:pt x="318" y="87"/>
                  </a:lnTo>
                  <a:lnTo>
                    <a:pt x="309" y="96"/>
                  </a:lnTo>
                  <a:lnTo>
                    <a:pt x="305" y="104"/>
                  </a:lnTo>
                  <a:lnTo>
                    <a:pt x="290" y="100"/>
                  </a:lnTo>
                  <a:lnTo>
                    <a:pt x="266" y="104"/>
                  </a:lnTo>
                  <a:lnTo>
                    <a:pt x="251" y="102"/>
                  </a:lnTo>
                  <a:lnTo>
                    <a:pt x="238" y="93"/>
                  </a:lnTo>
                  <a:lnTo>
                    <a:pt x="229" y="82"/>
                  </a:lnTo>
                  <a:lnTo>
                    <a:pt x="220" y="78"/>
                  </a:lnTo>
                  <a:lnTo>
                    <a:pt x="227" y="69"/>
                  </a:lnTo>
                  <a:lnTo>
                    <a:pt x="216" y="59"/>
                  </a:lnTo>
                  <a:lnTo>
                    <a:pt x="207" y="57"/>
                  </a:lnTo>
                  <a:lnTo>
                    <a:pt x="199" y="56"/>
                  </a:lnTo>
                  <a:lnTo>
                    <a:pt x="198" y="59"/>
                  </a:lnTo>
                  <a:lnTo>
                    <a:pt x="205" y="67"/>
                  </a:lnTo>
                  <a:lnTo>
                    <a:pt x="201" y="72"/>
                  </a:lnTo>
                  <a:lnTo>
                    <a:pt x="205" y="83"/>
                  </a:lnTo>
                  <a:lnTo>
                    <a:pt x="207" y="96"/>
                  </a:lnTo>
                  <a:lnTo>
                    <a:pt x="207" y="106"/>
                  </a:lnTo>
                  <a:lnTo>
                    <a:pt x="205" y="108"/>
                  </a:lnTo>
                  <a:lnTo>
                    <a:pt x="198" y="113"/>
                  </a:lnTo>
                  <a:lnTo>
                    <a:pt x="196" y="122"/>
                  </a:lnTo>
                  <a:lnTo>
                    <a:pt x="196" y="132"/>
                  </a:lnTo>
                  <a:lnTo>
                    <a:pt x="194" y="139"/>
                  </a:lnTo>
                  <a:lnTo>
                    <a:pt x="182" y="137"/>
                  </a:lnTo>
                  <a:lnTo>
                    <a:pt x="169" y="130"/>
                  </a:lnTo>
                  <a:lnTo>
                    <a:pt x="161" y="137"/>
                  </a:lnTo>
                  <a:lnTo>
                    <a:pt x="148" y="128"/>
                  </a:lnTo>
                  <a:lnTo>
                    <a:pt x="141" y="126"/>
                  </a:lnTo>
                  <a:lnTo>
                    <a:pt x="132" y="133"/>
                  </a:lnTo>
                  <a:lnTo>
                    <a:pt x="124" y="132"/>
                  </a:lnTo>
                  <a:lnTo>
                    <a:pt x="124" y="126"/>
                  </a:lnTo>
                  <a:lnTo>
                    <a:pt x="93" y="96"/>
                  </a:lnTo>
                  <a:lnTo>
                    <a:pt x="85" y="95"/>
                  </a:lnTo>
                  <a:lnTo>
                    <a:pt x="80" y="100"/>
                  </a:lnTo>
                  <a:lnTo>
                    <a:pt x="67" y="106"/>
                  </a:lnTo>
                  <a:lnTo>
                    <a:pt x="59" y="108"/>
                  </a:lnTo>
                  <a:lnTo>
                    <a:pt x="50" y="98"/>
                  </a:lnTo>
                  <a:lnTo>
                    <a:pt x="28" y="98"/>
                  </a:lnTo>
                  <a:lnTo>
                    <a:pt x="13" y="106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</p:grpSp>
      <p:grpSp>
        <p:nvGrpSpPr>
          <p:cNvPr id="28" name="Group 72"/>
          <p:cNvGrpSpPr>
            <a:grpSpLocks/>
          </p:cNvGrpSpPr>
          <p:nvPr/>
        </p:nvGrpSpPr>
        <p:grpSpPr bwMode="auto">
          <a:xfrm>
            <a:off x="3481637" y="2182483"/>
            <a:ext cx="682609" cy="1191955"/>
            <a:chOff x="1094" y="1776"/>
            <a:chExt cx="452" cy="754"/>
          </a:xfrm>
          <a:solidFill>
            <a:schemeClr val="accent5"/>
          </a:solidFill>
        </p:grpSpPr>
        <p:sp>
          <p:nvSpPr>
            <p:cNvPr id="43" name="Freeform 73"/>
            <p:cNvSpPr>
              <a:spLocks/>
            </p:cNvSpPr>
            <p:nvPr/>
          </p:nvSpPr>
          <p:spPr bwMode="auto">
            <a:xfrm>
              <a:off x="1094" y="1785"/>
              <a:ext cx="452" cy="745"/>
            </a:xfrm>
            <a:custGeom>
              <a:avLst/>
              <a:gdLst>
                <a:gd name="T0" fmla="*/ 147 w 452"/>
                <a:gd name="T1" fmla="*/ 515 h 745"/>
                <a:gd name="T2" fmla="*/ 97 w 452"/>
                <a:gd name="T3" fmla="*/ 549 h 745"/>
                <a:gd name="T4" fmla="*/ 84 w 452"/>
                <a:gd name="T5" fmla="*/ 580 h 745"/>
                <a:gd name="T6" fmla="*/ 113 w 452"/>
                <a:gd name="T7" fmla="*/ 597 h 745"/>
                <a:gd name="T8" fmla="*/ 137 w 452"/>
                <a:gd name="T9" fmla="*/ 608 h 745"/>
                <a:gd name="T10" fmla="*/ 181 w 452"/>
                <a:gd name="T11" fmla="*/ 617 h 745"/>
                <a:gd name="T12" fmla="*/ 152 w 452"/>
                <a:gd name="T13" fmla="*/ 651 h 745"/>
                <a:gd name="T14" fmla="*/ 87 w 452"/>
                <a:gd name="T15" fmla="*/ 632 h 745"/>
                <a:gd name="T16" fmla="*/ 41 w 452"/>
                <a:gd name="T17" fmla="*/ 671 h 745"/>
                <a:gd name="T18" fmla="*/ 2 w 452"/>
                <a:gd name="T19" fmla="*/ 691 h 745"/>
                <a:gd name="T20" fmla="*/ 22 w 452"/>
                <a:gd name="T21" fmla="*/ 708 h 745"/>
                <a:gd name="T22" fmla="*/ 59 w 452"/>
                <a:gd name="T23" fmla="*/ 702 h 745"/>
                <a:gd name="T24" fmla="*/ 110 w 452"/>
                <a:gd name="T25" fmla="*/ 723 h 745"/>
                <a:gd name="T26" fmla="*/ 148 w 452"/>
                <a:gd name="T27" fmla="*/ 689 h 745"/>
                <a:gd name="T28" fmla="*/ 183 w 452"/>
                <a:gd name="T29" fmla="*/ 710 h 745"/>
                <a:gd name="T30" fmla="*/ 231 w 452"/>
                <a:gd name="T31" fmla="*/ 717 h 745"/>
                <a:gd name="T32" fmla="*/ 266 w 452"/>
                <a:gd name="T33" fmla="*/ 714 h 745"/>
                <a:gd name="T34" fmla="*/ 315 w 452"/>
                <a:gd name="T35" fmla="*/ 734 h 745"/>
                <a:gd name="T36" fmla="*/ 357 w 452"/>
                <a:gd name="T37" fmla="*/ 738 h 745"/>
                <a:gd name="T38" fmla="*/ 398 w 452"/>
                <a:gd name="T39" fmla="*/ 723 h 745"/>
                <a:gd name="T40" fmla="*/ 381 w 452"/>
                <a:gd name="T41" fmla="*/ 689 h 745"/>
                <a:gd name="T42" fmla="*/ 383 w 452"/>
                <a:gd name="T43" fmla="*/ 667 h 745"/>
                <a:gd name="T44" fmla="*/ 437 w 452"/>
                <a:gd name="T45" fmla="*/ 632 h 745"/>
                <a:gd name="T46" fmla="*/ 452 w 452"/>
                <a:gd name="T47" fmla="*/ 584 h 745"/>
                <a:gd name="T48" fmla="*/ 413 w 452"/>
                <a:gd name="T49" fmla="*/ 558 h 745"/>
                <a:gd name="T50" fmla="*/ 385 w 452"/>
                <a:gd name="T51" fmla="*/ 556 h 745"/>
                <a:gd name="T52" fmla="*/ 394 w 452"/>
                <a:gd name="T53" fmla="*/ 510 h 745"/>
                <a:gd name="T54" fmla="*/ 394 w 452"/>
                <a:gd name="T55" fmla="*/ 447 h 745"/>
                <a:gd name="T56" fmla="*/ 354 w 452"/>
                <a:gd name="T57" fmla="*/ 374 h 745"/>
                <a:gd name="T58" fmla="*/ 354 w 452"/>
                <a:gd name="T59" fmla="*/ 317 h 745"/>
                <a:gd name="T60" fmla="*/ 341 w 452"/>
                <a:gd name="T61" fmla="*/ 272 h 745"/>
                <a:gd name="T62" fmla="*/ 298 w 452"/>
                <a:gd name="T63" fmla="*/ 248 h 745"/>
                <a:gd name="T64" fmla="*/ 294 w 452"/>
                <a:gd name="T65" fmla="*/ 230 h 745"/>
                <a:gd name="T66" fmla="*/ 331 w 452"/>
                <a:gd name="T67" fmla="*/ 235 h 745"/>
                <a:gd name="T68" fmla="*/ 389 w 452"/>
                <a:gd name="T69" fmla="*/ 165 h 745"/>
                <a:gd name="T70" fmla="*/ 385 w 452"/>
                <a:gd name="T71" fmla="*/ 120 h 745"/>
                <a:gd name="T72" fmla="*/ 331 w 452"/>
                <a:gd name="T73" fmla="*/ 98 h 745"/>
                <a:gd name="T74" fmla="*/ 302 w 452"/>
                <a:gd name="T75" fmla="*/ 100 h 745"/>
                <a:gd name="T76" fmla="*/ 318 w 452"/>
                <a:gd name="T77" fmla="*/ 72 h 745"/>
                <a:gd name="T78" fmla="*/ 376 w 452"/>
                <a:gd name="T79" fmla="*/ 37 h 745"/>
                <a:gd name="T80" fmla="*/ 339 w 452"/>
                <a:gd name="T81" fmla="*/ 13 h 745"/>
                <a:gd name="T82" fmla="*/ 278 w 452"/>
                <a:gd name="T83" fmla="*/ 22 h 745"/>
                <a:gd name="T84" fmla="*/ 250 w 452"/>
                <a:gd name="T85" fmla="*/ 48 h 745"/>
                <a:gd name="T86" fmla="*/ 231 w 452"/>
                <a:gd name="T87" fmla="*/ 83 h 745"/>
                <a:gd name="T88" fmla="*/ 183 w 452"/>
                <a:gd name="T89" fmla="*/ 143 h 745"/>
                <a:gd name="T90" fmla="*/ 214 w 452"/>
                <a:gd name="T91" fmla="*/ 155 h 745"/>
                <a:gd name="T92" fmla="*/ 169 w 452"/>
                <a:gd name="T93" fmla="*/ 230 h 745"/>
                <a:gd name="T94" fmla="*/ 185 w 452"/>
                <a:gd name="T95" fmla="*/ 241 h 745"/>
                <a:gd name="T96" fmla="*/ 213 w 452"/>
                <a:gd name="T97" fmla="*/ 257 h 745"/>
                <a:gd name="T98" fmla="*/ 181 w 452"/>
                <a:gd name="T99" fmla="*/ 302 h 745"/>
                <a:gd name="T100" fmla="*/ 226 w 452"/>
                <a:gd name="T101" fmla="*/ 331 h 745"/>
                <a:gd name="T102" fmla="*/ 253 w 452"/>
                <a:gd name="T103" fmla="*/ 341 h 745"/>
                <a:gd name="T104" fmla="*/ 244 w 452"/>
                <a:gd name="T105" fmla="*/ 405 h 745"/>
                <a:gd name="T106" fmla="*/ 242 w 452"/>
                <a:gd name="T107" fmla="*/ 449 h 745"/>
                <a:gd name="T108" fmla="*/ 222 w 452"/>
                <a:gd name="T109" fmla="*/ 469 h 74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52"/>
                <a:gd name="T166" fmla="*/ 0 h 745"/>
                <a:gd name="T167" fmla="*/ 452 w 452"/>
                <a:gd name="T168" fmla="*/ 745 h 74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52" h="745">
                  <a:moveTo>
                    <a:pt x="135" y="478"/>
                  </a:moveTo>
                  <a:lnTo>
                    <a:pt x="156" y="497"/>
                  </a:lnTo>
                  <a:lnTo>
                    <a:pt x="147" y="515"/>
                  </a:lnTo>
                  <a:lnTo>
                    <a:pt x="134" y="530"/>
                  </a:lnTo>
                  <a:lnTo>
                    <a:pt x="113" y="540"/>
                  </a:lnTo>
                  <a:lnTo>
                    <a:pt x="97" y="549"/>
                  </a:lnTo>
                  <a:lnTo>
                    <a:pt x="80" y="551"/>
                  </a:lnTo>
                  <a:lnTo>
                    <a:pt x="71" y="558"/>
                  </a:lnTo>
                  <a:lnTo>
                    <a:pt x="84" y="580"/>
                  </a:lnTo>
                  <a:lnTo>
                    <a:pt x="104" y="580"/>
                  </a:lnTo>
                  <a:lnTo>
                    <a:pt x="113" y="582"/>
                  </a:lnTo>
                  <a:lnTo>
                    <a:pt x="113" y="597"/>
                  </a:lnTo>
                  <a:lnTo>
                    <a:pt x="124" y="597"/>
                  </a:lnTo>
                  <a:lnTo>
                    <a:pt x="132" y="593"/>
                  </a:lnTo>
                  <a:lnTo>
                    <a:pt x="137" y="608"/>
                  </a:lnTo>
                  <a:lnTo>
                    <a:pt x="148" y="621"/>
                  </a:lnTo>
                  <a:lnTo>
                    <a:pt x="167" y="621"/>
                  </a:lnTo>
                  <a:lnTo>
                    <a:pt x="181" y="617"/>
                  </a:lnTo>
                  <a:lnTo>
                    <a:pt x="192" y="621"/>
                  </a:lnTo>
                  <a:lnTo>
                    <a:pt x="163" y="645"/>
                  </a:lnTo>
                  <a:lnTo>
                    <a:pt x="152" y="651"/>
                  </a:lnTo>
                  <a:lnTo>
                    <a:pt x="137" y="645"/>
                  </a:lnTo>
                  <a:lnTo>
                    <a:pt x="104" y="632"/>
                  </a:lnTo>
                  <a:lnTo>
                    <a:pt x="87" y="632"/>
                  </a:lnTo>
                  <a:lnTo>
                    <a:pt x="72" y="645"/>
                  </a:lnTo>
                  <a:lnTo>
                    <a:pt x="52" y="662"/>
                  </a:lnTo>
                  <a:lnTo>
                    <a:pt x="41" y="671"/>
                  </a:lnTo>
                  <a:lnTo>
                    <a:pt x="28" y="675"/>
                  </a:lnTo>
                  <a:lnTo>
                    <a:pt x="13" y="682"/>
                  </a:lnTo>
                  <a:lnTo>
                    <a:pt x="2" y="691"/>
                  </a:lnTo>
                  <a:lnTo>
                    <a:pt x="0" y="697"/>
                  </a:lnTo>
                  <a:lnTo>
                    <a:pt x="13" y="699"/>
                  </a:lnTo>
                  <a:lnTo>
                    <a:pt x="22" y="708"/>
                  </a:lnTo>
                  <a:lnTo>
                    <a:pt x="35" y="714"/>
                  </a:lnTo>
                  <a:lnTo>
                    <a:pt x="48" y="708"/>
                  </a:lnTo>
                  <a:lnTo>
                    <a:pt x="59" y="702"/>
                  </a:lnTo>
                  <a:lnTo>
                    <a:pt x="72" y="704"/>
                  </a:lnTo>
                  <a:lnTo>
                    <a:pt x="91" y="715"/>
                  </a:lnTo>
                  <a:lnTo>
                    <a:pt x="110" y="723"/>
                  </a:lnTo>
                  <a:lnTo>
                    <a:pt x="122" y="715"/>
                  </a:lnTo>
                  <a:lnTo>
                    <a:pt x="128" y="701"/>
                  </a:lnTo>
                  <a:lnTo>
                    <a:pt x="148" y="689"/>
                  </a:lnTo>
                  <a:lnTo>
                    <a:pt x="161" y="689"/>
                  </a:lnTo>
                  <a:lnTo>
                    <a:pt x="173" y="702"/>
                  </a:lnTo>
                  <a:lnTo>
                    <a:pt x="183" y="710"/>
                  </a:lnTo>
                  <a:lnTo>
                    <a:pt x="198" y="710"/>
                  </a:lnTo>
                  <a:lnTo>
                    <a:pt x="218" y="712"/>
                  </a:lnTo>
                  <a:lnTo>
                    <a:pt x="231" y="717"/>
                  </a:lnTo>
                  <a:lnTo>
                    <a:pt x="244" y="708"/>
                  </a:lnTo>
                  <a:lnTo>
                    <a:pt x="255" y="708"/>
                  </a:lnTo>
                  <a:lnTo>
                    <a:pt x="266" y="714"/>
                  </a:lnTo>
                  <a:lnTo>
                    <a:pt x="279" y="728"/>
                  </a:lnTo>
                  <a:lnTo>
                    <a:pt x="296" y="730"/>
                  </a:lnTo>
                  <a:lnTo>
                    <a:pt x="315" y="734"/>
                  </a:lnTo>
                  <a:lnTo>
                    <a:pt x="328" y="741"/>
                  </a:lnTo>
                  <a:lnTo>
                    <a:pt x="344" y="745"/>
                  </a:lnTo>
                  <a:lnTo>
                    <a:pt x="357" y="738"/>
                  </a:lnTo>
                  <a:lnTo>
                    <a:pt x="374" y="728"/>
                  </a:lnTo>
                  <a:lnTo>
                    <a:pt x="385" y="726"/>
                  </a:lnTo>
                  <a:lnTo>
                    <a:pt x="398" y="723"/>
                  </a:lnTo>
                  <a:lnTo>
                    <a:pt x="411" y="712"/>
                  </a:lnTo>
                  <a:lnTo>
                    <a:pt x="402" y="701"/>
                  </a:lnTo>
                  <a:lnTo>
                    <a:pt x="381" y="689"/>
                  </a:lnTo>
                  <a:lnTo>
                    <a:pt x="374" y="682"/>
                  </a:lnTo>
                  <a:lnTo>
                    <a:pt x="374" y="675"/>
                  </a:lnTo>
                  <a:lnTo>
                    <a:pt x="383" y="667"/>
                  </a:lnTo>
                  <a:lnTo>
                    <a:pt x="398" y="665"/>
                  </a:lnTo>
                  <a:lnTo>
                    <a:pt x="413" y="658"/>
                  </a:lnTo>
                  <a:lnTo>
                    <a:pt x="437" y="632"/>
                  </a:lnTo>
                  <a:lnTo>
                    <a:pt x="448" y="619"/>
                  </a:lnTo>
                  <a:lnTo>
                    <a:pt x="452" y="597"/>
                  </a:lnTo>
                  <a:lnTo>
                    <a:pt x="452" y="584"/>
                  </a:lnTo>
                  <a:lnTo>
                    <a:pt x="441" y="575"/>
                  </a:lnTo>
                  <a:lnTo>
                    <a:pt x="426" y="564"/>
                  </a:lnTo>
                  <a:lnTo>
                    <a:pt x="413" y="558"/>
                  </a:lnTo>
                  <a:lnTo>
                    <a:pt x="398" y="560"/>
                  </a:lnTo>
                  <a:lnTo>
                    <a:pt x="389" y="565"/>
                  </a:lnTo>
                  <a:lnTo>
                    <a:pt x="385" y="556"/>
                  </a:lnTo>
                  <a:lnTo>
                    <a:pt x="393" y="541"/>
                  </a:lnTo>
                  <a:lnTo>
                    <a:pt x="396" y="530"/>
                  </a:lnTo>
                  <a:lnTo>
                    <a:pt x="394" y="510"/>
                  </a:lnTo>
                  <a:lnTo>
                    <a:pt x="393" y="482"/>
                  </a:lnTo>
                  <a:lnTo>
                    <a:pt x="398" y="460"/>
                  </a:lnTo>
                  <a:lnTo>
                    <a:pt x="394" y="447"/>
                  </a:lnTo>
                  <a:lnTo>
                    <a:pt x="385" y="431"/>
                  </a:lnTo>
                  <a:lnTo>
                    <a:pt x="363" y="392"/>
                  </a:lnTo>
                  <a:lnTo>
                    <a:pt x="354" y="374"/>
                  </a:lnTo>
                  <a:lnTo>
                    <a:pt x="350" y="352"/>
                  </a:lnTo>
                  <a:lnTo>
                    <a:pt x="348" y="339"/>
                  </a:lnTo>
                  <a:lnTo>
                    <a:pt x="354" y="317"/>
                  </a:lnTo>
                  <a:lnTo>
                    <a:pt x="354" y="300"/>
                  </a:lnTo>
                  <a:lnTo>
                    <a:pt x="350" y="281"/>
                  </a:lnTo>
                  <a:lnTo>
                    <a:pt x="341" y="272"/>
                  </a:lnTo>
                  <a:lnTo>
                    <a:pt x="324" y="255"/>
                  </a:lnTo>
                  <a:lnTo>
                    <a:pt x="311" y="250"/>
                  </a:lnTo>
                  <a:lnTo>
                    <a:pt x="298" y="248"/>
                  </a:lnTo>
                  <a:lnTo>
                    <a:pt x="289" y="246"/>
                  </a:lnTo>
                  <a:lnTo>
                    <a:pt x="289" y="237"/>
                  </a:lnTo>
                  <a:lnTo>
                    <a:pt x="294" y="230"/>
                  </a:lnTo>
                  <a:lnTo>
                    <a:pt x="309" y="228"/>
                  </a:lnTo>
                  <a:lnTo>
                    <a:pt x="322" y="233"/>
                  </a:lnTo>
                  <a:lnTo>
                    <a:pt x="331" y="235"/>
                  </a:lnTo>
                  <a:lnTo>
                    <a:pt x="337" y="226"/>
                  </a:lnTo>
                  <a:lnTo>
                    <a:pt x="335" y="215"/>
                  </a:lnTo>
                  <a:lnTo>
                    <a:pt x="389" y="165"/>
                  </a:lnTo>
                  <a:lnTo>
                    <a:pt x="398" y="154"/>
                  </a:lnTo>
                  <a:lnTo>
                    <a:pt x="398" y="131"/>
                  </a:lnTo>
                  <a:lnTo>
                    <a:pt x="385" y="120"/>
                  </a:lnTo>
                  <a:lnTo>
                    <a:pt x="370" y="118"/>
                  </a:lnTo>
                  <a:lnTo>
                    <a:pt x="357" y="98"/>
                  </a:lnTo>
                  <a:lnTo>
                    <a:pt x="331" y="98"/>
                  </a:lnTo>
                  <a:lnTo>
                    <a:pt x="307" y="102"/>
                  </a:lnTo>
                  <a:lnTo>
                    <a:pt x="302" y="100"/>
                  </a:lnTo>
                  <a:lnTo>
                    <a:pt x="296" y="91"/>
                  </a:lnTo>
                  <a:lnTo>
                    <a:pt x="307" y="83"/>
                  </a:lnTo>
                  <a:lnTo>
                    <a:pt x="318" y="72"/>
                  </a:lnTo>
                  <a:lnTo>
                    <a:pt x="341" y="52"/>
                  </a:lnTo>
                  <a:lnTo>
                    <a:pt x="359" y="50"/>
                  </a:lnTo>
                  <a:lnTo>
                    <a:pt x="376" y="37"/>
                  </a:lnTo>
                  <a:lnTo>
                    <a:pt x="393" y="24"/>
                  </a:lnTo>
                  <a:lnTo>
                    <a:pt x="355" y="15"/>
                  </a:lnTo>
                  <a:lnTo>
                    <a:pt x="339" y="13"/>
                  </a:lnTo>
                  <a:lnTo>
                    <a:pt x="320" y="11"/>
                  </a:lnTo>
                  <a:lnTo>
                    <a:pt x="298" y="0"/>
                  </a:lnTo>
                  <a:lnTo>
                    <a:pt x="278" y="22"/>
                  </a:lnTo>
                  <a:lnTo>
                    <a:pt x="279" y="33"/>
                  </a:lnTo>
                  <a:lnTo>
                    <a:pt x="268" y="37"/>
                  </a:lnTo>
                  <a:lnTo>
                    <a:pt x="250" y="48"/>
                  </a:lnTo>
                  <a:lnTo>
                    <a:pt x="233" y="54"/>
                  </a:lnTo>
                  <a:lnTo>
                    <a:pt x="233" y="70"/>
                  </a:lnTo>
                  <a:lnTo>
                    <a:pt x="231" y="83"/>
                  </a:lnTo>
                  <a:lnTo>
                    <a:pt x="216" y="104"/>
                  </a:lnTo>
                  <a:lnTo>
                    <a:pt x="192" y="130"/>
                  </a:lnTo>
                  <a:lnTo>
                    <a:pt x="183" y="143"/>
                  </a:lnTo>
                  <a:lnTo>
                    <a:pt x="188" y="152"/>
                  </a:lnTo>
                  <a:lnTo>
                    <a:pt x="213" y="150"/>
                  </a:lnTo>
                  <a:lnTo>
                    <a:pt x="214" y="155"/>
                  </a:lnTo>
                  <a:lnTo>
                    <a:pt x="214" y="165"/>
                  </a:lnTo>
                  <a:lnTo>
                    <a:pt x="181" y="207"/>
                  </a:lnTo>
                  <a:lnTo>
                    <a:pt x="169" y="230"/>
                  </a:lnTo>
                  <a:lnTo>
                    <a:pt x="161" y="250"/>
                  </a:lnTo>
                  <a:lnTo>
                    <a:pt x="169" y="259"/>
                  </a:lnTo>
                  <a:lnTo>
                    <a:pt x="185" y="241"/>
                  </a:lnTo>
                  <a:lnTo>
                    <a:pt x="200" y="220"/>
                  </a:lnTo>
                  <a:lnTo>
                    <a:pt x="211" y="226"/>
                  </a:lnTo>
                  <a:lnTo>
                    <a:pt x="213" y="257"/>
                  </a:lnTo>
                  <a:lnTo>
                    <a:pt x="214" y="278"/>
                  </a:lnTo>
                  <a:lnTo>
                    <a:pt x="194" y="289"/>
                  </a:lnTo>
                  <a:lnTo>
                    <a:pt x="181" y="302"/>
                  </a:lnTo>
                  <a:lnTo>
                    <a:pt x="176" y="313"/>
                  </a:lnTo>
                  <a:lnTo>
                    <a:pt x="203" y="335"/>
                  </a:lnTo>
                  <a:lnTo>
                    <a:pt x="226" y="331"/>
                  </a:lnTo>
                  <a:lnTo>
                    <a:pt x="231" y="344"/>
                  </a:lnTo>
                  <a:lnTo>
                    <a:pt x="255" y="329"/>
                  </a:lnTo>
                  <a:lnTo>
                    <a:pt x="253" y="341"/>
                  </a:lnTo>
                  <a:lnTo>
                    <a:pt x="233" y="365"/>
                  </a:lnTo>
                  <a:lnTo>
                    <a:pt x="242" y="391"/>
                  </a:lnTo>
                  <a:lnTo>
                    <a:pt x="244" y="405"/>
                  </a:lnTo>
                  <a:lnTo>
                    <a:pt x="265" y="407"/>
                  </a:lnTo>
                  <a:lnTo>
                    <a:pt x="266" y="420"/>
                  </a:lnTo>
                  <a:lnTo>
                    <a:pt x="242" y="449"/>
                  </a:lnTo>
                  <a:lnTo>
                    <a:pt x="233" y="445"/>
                  </a:lnTo>
                  <a:lnTo>
                    <a:pt x="224" y="454"/>
                  </a:lnTo>
                  <a:lnTo>
                    <a:pt x="222" y="469"/>
                  </a:lnTo>
                  <a:lnTo>
                    <a:pt x="198" y="456"/>
                  </a:lnTo>
                  <a:lnTo>
                    <a:pt x="135" y="478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  <p:sp>
          <p:nvSpPr>
            <p:cNvPr id="44" name="Freeform 74"/>
            <p:cNvSpPr>
              <a:spLocks/>
            </p:cNvSpPr>
            <p:nvPr/>
          </p:nvSpPr>
          <p:spPr bwMode="auto">
            <a:xfrm>
              <a:off x="1257" y="2146"/>
              <a:ext cx="38" cy="27"/>
            </a:xfrm>
            <a:custGeom>
              <a:avLst/>
              <a:gdLst>
                <a:gd name="T0" fmla="*/ 20 w 38"/>
                <a:gd name="T1" fmla="*/ 0 h 27"/>
                <a:gd name="T2" fmla="*/ 36 w 38"/>
                <a:gd name="T3" fmla="*/ 2 h 27"/>
                <a:gd name="T4" fmla="*/ 38 w 38"/>
                <a:gd name="T5" fmla="*/ 12 h 27"/>
                <a:gd name="T6" fmla="*/ 21 w 38"/>
                <a:gd name="T7" fmla="*/ 23 h 27"/>
                <a:gd name="T8" fmla="*/ 2 w 38"/>
                <a:gd name="T9" fmla="*/ 27 h 27"/>
                <a:gd name="T10" fmla="*/ 0 w 38"/>
                <a:gd name="T11" fmla="*/ 15 h 27"/>
                <a:gd name="T12" fmla="*/ 20 w 38"/>
                <a:gd name="T13" fmla="*/ 0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"/>
                <a:gd name="T22" fmla="*/ 0 h 27"/>
                <a:gd name="T23" fmla="*/ 38 w 38"/>
                <a:gd name="T24" fmla="*/ 27 h 2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" h="27">
                  <a:moveTo>
                    <a:pt x="20" y="0"/>
                  </a:moveTo>
                  <a:lnTo>
                    <a:pt x="36" y="2"/>
                  </a:lnTo>
                  <a:lnTo>
                    <a:pt x="38" y="12"/>
                  </a:lnTo>
                  <a:lnTo>
                    <a:pt x="21" y="23"/>
                  </a:lnTo>
                  <a:lnTo>
                    <a:pt x="2" y="27"/>
                  </a:lnTo>
                  <a:lnTo>
                    <a:pt x="0" y="15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  <p:sp>
          <p:nvSpPr>
            <p:cNvPr id="45" name="Freeform 75"/>
            <p:cNvSpPr>
              <a:spLocks/>
            </p:cNvSpPr>
            <p:nvPr/>
          </p:nvSpPr>
          <p:spPr bwMode="auto">
            <a:xfrm>
              <a:off x="1231" y="1971"/>
              <a:ext cx="37" cy="27"/>
            </a:xfrm>
            <a:custGeom>
              <a:avLst/>
              <a:gdLst>
                <a:gd name="T0" fmla="*/ 31 w 37"/>
                <a:gd name="T1" fmla="*/ 0 h 27"/>
                <a:gd name="T2" fmla="*/ 37 w 37"/>
                <a:gd name="T3" fmla="*/ 13 h 27"/>
                <a:gd name="T4" fmla="*/ 19 w 37"/>
                <a:gd name="T5" fmla="*/ 23 h 27"/>
                <a:gd name="T6" fmla="*/ 4 w 37"/>
                <a:gd name="T7" fmla="*/ 27 h 27"/>
                <a:gd name="T8" fmla="*/ 0 w 37"/>
                <a:gd name="T9" fmla="*/ 14 h 27"/>
                <a:gd name="T10" fmla="*/ 7 w 37"/>
                <a:gd name="T11" fmla="*/ 5 h 27"/>
                <a:gd name="T12" fmla="*/ 31 w 37"/>
                <a:gd name="T13" fmla="*/ 0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27"/>
                <a:gd name="T23" fmla="*/ 37 w 37"/>
                <a:gd name="T24" fmla="*/ 27 h 2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27">
                  <a:moveTo>
                    <a:pt x="31" y="0"/>
                  </a:moveTo>
                  <a:lnTo>
                    <a:pt x="37" y="13"/>
                  </a:lnTo>
                  <a:lnTo>
                    <a:pt x="19" y="23"/>
                  </a:lnTo>
                  <a:lnTo>
                    <a:pt x="4" y="27"/>
                  </a:lnTo>
                  <a:lnTo>
                    <a:pt x="0" y="14"/>
                  </a:lnTo>
                  <a:lnTo>
                    <a:pt x="7" y="5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  <p:sp>
          <p:nvSpPr>
            <p:cNvPr id="46" name="Freeform 76"/>
            <p:cNvSpPr>
              <a:spLocks/>
            </p:cNvSpPr>
            <p:nvPr/>
          </p:nvSpPr>
          <p:spPr bwMode="auto">
            <a:xfrm>
              <a:off x="1286" y="1835"/>
              <a:ext cx="20" cy="52"/>
            </a:xfrm>
            <a:custGeom>
              <a:avLst/>
              <a:gdLst>
                <a:gd name="T0" fmla="*/ 9 w 20"/>
                <a:gd name="T1" fmla="*/ 52 h 52"/>
                <a:gd name="T2" fmla="*/ 20 w 20"/>
                <a:gd name="T3" fmla="*/ 39 h 52"/>
                <a:gd name="T4" fmla="*/ 16 w 20"/>
                <a:gd name="T5" fmla="*/ 22 h 52"/>
                <a:gd name="T6" fmla="*/ 13 w 20"/>
                <a:gd name="T7" fmla="*/ 13 h 52"/>
                <a:gd name="T8" fmla="*/ 9 w 20"/>
                <a:gd name="T9" fmla="*/ 0 h 52"/>
                <a:gd name="T10" fmla="*/ 0 w 20"/>
                <a:gd name="T11" fmla="*/ 6 h 52"/>
                <a:gd name="T12" fmla="*/ 5 w 20"/>
                <a:gd name="T13" fmla="*/ 24 h 52"/>
                <a:gd name="T14" fmla="*/ 9 w 20"/>
                <a:gd name="T15" fmla="*/ 52 h 5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52"/>
                <a:gd name="T26" fmla="*/ 20 w 20"/>
                <a:gd name="T27" fmla="*/ 52 h 5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52">
                  <a:moveTo>
                    <a:pt x="9" y="52"/>
                  </a:moveTo>
                  <a:lnTo>
                    <a:pt x="20" y="39"/>
                  </a:lnTo>
                  <a:lnTo>
                    <a:pt x="16" y="22"/>
                  </a:lnTo>
                  <a:lnTo>
                    <a:pt x="13" y="13"/>
                  </a:lnTo>
                  <a:lnTo>
                    <a:pt x="9" y="0"/>
                  </a:lnTo>
                  <a:lnTo>
                    <a:pt x="0" y="6"/>
                  </a:lnTo>
                  <a:lnTo>
                    <a:pt x="5" y="24"/>
                  </a:lnTo>
                  <a:lnTo>
                    <a:pt x="9" y="52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  <p:sp>
          <p:nvSpPr>
            <p:cNvPr id="47" name="Freeform 77"/>
            <p:cNvSpPr>
              <a:spLocks/>
            </p:cNvSpPr>
            <p:nvPr/>
          </p:nvSpPr>
          <p:spPr bwMode="auto">
            <a:xfrm>
              <a:off x="1138" y="2038"/>
              <a:ext cx="97" cy="99"/>
            </a:xfrm>
            <a:custGeom>
              <a:avLst/>
              <a:gdLst>
                <a:gd name="T0" fmla="*/ 34 w 97"/>
                <a:gd name="T1" fmla="*/ 0 h 99"/>
                <a:gd name="T2" fmla="*/ 56 w 97"/>
                <a:gd name="T3" fmla="*/ 0 h 99"/>
                <a:gd name="T4" fmla="*/ 73 w 97"/>
                <a:gd name="T5" fmla="*/ 4 h 99"/>
                <a:gd name="T6" fmla="*/ 84 w 97"/>
                <a:gd name="T7" fmla="*/ 20 h 99"/>
                <a:gd name="T8" fmla="*/ 95 w 97"/>
                <a:gd name="T9" fmla="*/ 46 h 99"/>
                <a:gd name="T10" fmla="*/ 97 w 97"/>
                <a:gd name="T11" fmla="*/ 68 h 99"/>
                <a:gd name="T12" fmla="*/ 86 w 97"/>
                <a:gd name="T13" fmla="*/ 79 h 99"/>
                <a:gd name="T14" fmla="*/ 82 w 97"/>
                <a:gd name="T15" fmla="*/ 94 h 99"/>
                <a:gd name="T16" fmla="*/ 71 w 97"/>
                <a:gd name="T17" fmla="*/ 99 h 99"/>
                <a:gd name="T18" fmla="*/ 60 w 97"/>
                <a:gd name="T19" fmla="*/ 86 h 99"/>
                <a:gd name="T20" fmla="*/ 50 w 97"/>
                <a:gd name="T21" fmla="*/ 62 h 99"/>
                <a:gd name="T22" fmla="*/ 43 w 97"/>
                <a:gd name="T23" fmla="*/ 53 h 99"/>
                <a:gd name="T24" fmla="*/ 24 w 97"/>
                <a:gd name="T25" fmla="*/ 51 h 99"/>
                <a:gd name="T26" fmla="*/ 0 w 97"/>
                <a:gd name="T27" fmla="*/ 26 h 99"/>
                <a:gd name="T28" fmla="*/ 34 w 97"/>
                <a:gd name="T29" fmla="*/ 0 h 9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7"/>
                <a:gd name="T46" fmla="*/ 0 h 99"/>
                <a:gd name="T47" fmla="*/ 97 w 97"/>
                <a:gd name="T48" fmla="*/ 99 h 9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7" h="99">
                  <a:moveTo>
                    <a:pt x="34" y="0"/>
                  </a:moveTo>
                  <a:lnTo>
                    <a:pt x="56" y="0"/>
                  </a:lnTo>
                  <a:lnTo>
                    <a:pt x="73" y="4"/>
                  </a:lnTo>
                  <a:lnTo>
                    <a:pt x="84" y="20"/>
                  </a:lnTo>
                  <a:lnTo>
                    <a:pt x="95" y="46"/>
                  </a:lnTo>
                  <a:lnTo>
                    <a:pt x="97" y="68"/>
                  </a:lnTo>
                  <a:lnTo>
                    <a:pt x="86" y="79"/>
                  </a:lnTo>
                  <a:lnTo>
                    <a:pt x="82" y="94"/>
                  </a:lnTo>
                  <a:lnTo>
                    <a:pt x="71" y="99"/>
                  </a:lnTo>
                  <a:lnTo>
                    <a:pt x="60" y="86"/>
                  </a:lnTo>
                  <a:lnTo>
                    <a:pt x="50" y="62"/>
                  </a:lnTo>
                  <a:lnTo>
                    <a:pt x="43" y="53"/>
                  </a:lnTo>
                  <a:lnTo>
                    <a:pt x="24" y="51"/>
                  </a:lnTo>
                  <a:lnTo>
                    <a:pt x="0" y="26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  <p:sp>
          <p:nvSpPr>
            <p:cNvPr id="48" name="Freeform 78"/>
            <p:cNvSpPr>
              <a:spLocks/>
            </p:cNvSpPr>
            <p:nvPr/>
          </p:nvSpPr>
          <p:spPr bwMode="auto">
            <a:xfrm>
              <a:off x="1282" y="1776"/>
              <a:ext cx="50" cy="37"/>
            </a:xfrm>
            <a:custGeom>
              <a:avLst/>
              <a:gdLst>
                <a:gd name="T0" fmla="*/ 44 w 50"/>
                <a:gd name="T1" fmla="*/ 0 h 37"/>
                <a:gd name="T2" fmla="*/ 50 w 50"/>
                <a:gd name="T3" fmla="*/ 9 h 37"/>
                <a:gd name="T4" fmla="*/ 31 w 50"/>
                <a:gd name="T5" fmla="*/ 20 h 37"/>
                <a:gd name="T6" fmla="*/ 13 w 50"/>
                <a:gd name="T7" fmla="*/ 37 h 37"/>
                <a:gd name="T8" fmla="*/ 2 w 50"/>
                <a:gd name="T9" fmla="*/ 33 h 37"/>
                <a:gd name="T10" fmla="*/ 0 w 50"/>
                <a:gd name="T11" fmla="*/ 13 h 37"/>
                <a:gd name="T12" fmla="*/ 0 w 50"/>
                <a:gd name="T13" fmla="*/ 6 h 37"/>
                <a:gd name="T14" fmla="*/ 30 w 50"/>
                <a:gd name="T15" fmla="*/ 0 h 37"/>
                <a:gd name="T16" fmla="*/ 44 w 50"/>
                <a:gd name="T17" fmla="*/ 0 h 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0"/>
                <a:gd name="T28" fmla="*/ 0 h 37"/>
                <a:gd name="T29" fmla="*/ 50 w 50"/>
                <a:gd name="T30" fmla="*/ 37 h 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0" h="37">
                  <a:moveTo>
                    <a:pt x="44" y="0"/>
                  </a:moveTo>
                  <a:lnTo>
                    <a:pt x="50" y="9"/>
                  </a:lnTo>
                  <a:lnTo>
                    <a:pt x="31" y="20"/>
                  </a:lnTo>
                  <a:lnTo>
                    <a:pt x="13" y="37"/>
                  </a:lnTo>
                  <a:lnTo>
                    <a:pt x="2" y="33"/>
                  </a:lnTo>
                  <a:lnTo>
                    <a:pt x="0" y="13"/>
                  </a:lnTo>
                  <a:lnTo>
                    <a:pt x="0" y="6"/>
                  </a:lnTo>
                  <a:lnTo>
                    <a:pt x="30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  <a:cs typeface="ＭＳ Ｐゴシック" charset="0"/>
              </a:endParaRPr>
            </a:p>
          </p:txBody>
        </p:sp>
      </p:grpSp>
      <p:sp>
        <p:nvSpPr>
          <p:cNvPr id="29" name="Freeform 106"/>
          <p:cNvSpPr>
            <a:spLocks/>
          </p:cNvSpPr>
          <p:nvPr/>
        </p:nvSpPr>
        <p:spPr bwMode="auto">
          <a:xfrm>
            <a:off x="5370894" y="3760163"/>
            <a:ext cx="531589" cy="248193"/>
          </a:xfrm>
          <a:custGeom>
            <a:avLst/>
            <a:gdLst>
              <a:gd name="T0" fmla="*/ 2147483647 w 352"/>
              <a:gd name="T1" fmla="*/ 2147483647 h 157"/>
              <a:gd name="T2" fmla="*/ 2147483647 w 352"/>
              <a:gd name="T3" fmla="*/ 0 h 157"/>
              <a:gd name="T4" fmla="*/ 2147483647 w 352"/>
              <a:gd name="T5" fmla="*/ 0 h 157"/>
              <a:gd name="T6" fmla="*/ 2147483647 w 352"/>
              <a:gd name="T7" fmla="*/ 2147483647 h 157"/>
              <a:gd name="T8" fmla="*/ 2147483647 w 352"/>
              <a:gd name="T9" fmla="*/ 2147483647 h 157"/>
              <a:gd name="T10" fmla="*/ 2147483647 w 352"/>
              <a:gd name="T11" fmla="*/ 2147483647 h 157"/>
              <a:gd name="T12" fmla="*/ 2147483647 w 352"/>
              <a:gd name="T13" fmla="*/ 2147483647 h 157"/>
              <a:gd name="T14" fmla="*/ 2147483647 w 352"/>
              <a:gd name="T15" fmla="*/ 2147483647 h 157"/>
              <a:gd name="T16" fmla="*/ 2147483647 w 352"/>
              <a:gd name="T17" fmla="*/ 2147483647 h 157"/>
              <a:gd name="T18" fmla="*/ 2147483647 w 352"/>
              <a:gd name="T19" fmla="*/ 2147483647 h 157"/>
              <a:gd name="T20" fmla="*/ 2147483647 w 352"/>
              <a:gd name="T21" fmla="*/ 2147483647 h 157"/>
              <a:gd name="T22" fmla="*/ 2147483647 w 352"/>
              <a:gd name="T23" fmla="*/ 2147483647 h 157"/>
              <a:gd name="T24" fmla="*/ 2147483647 w 352"/>
              <a:gd name="T25" fmla="*/ 2147483647 h 157"/>
              <a:gd name="T26" fmla="*/ 2147483647 w 352"/>
              <a:gd name="T27" fmla="*/ 2147483647 h 157"/>
              <a:gd name="T28" fmla="*/ 2147483647 w 352"/>
              <a:gd name="T29" fmla="*/ 2147483647 h 157"/>
              <a:gd name="T30" fmla="*/ 2147483647 w 352"/>
              <a:gd name="T31" fmla="*/ 2147483647 h 157"/>
              <a:gd name="T32" fmla="*/ 2147483647 w 352"/>
              <a:gd name="T33" fmla="*/ 2147483647 h 157"/>
              <a:gd name="T34" fmla="*/ 2147483647 w 352"/>
              <a:gd name="T35" fmla="*/ 2147483647 h 157"/>
              <a:gd name="T36" fmla="*/ 2147483647 w 352"/>
              <a:gd name="T37" fmla="*/ 2147483647 h 157"/>
              <a:gd name="T38" fmla="*/ 2147483647 w 352"/>
              <a:gd name="T39" fmla="*/ 2147483647 h 157"/>
              <a:gd name="T40" fmla="*/ 2147483647 w 352"/>
              <a:gd name="T41" fmla="*/ 2147483647 h 157"/>
              <a:gd name="T42" fmla="*/ 2147483647 w 352"/>
              <a:gd name="T43" fmla="*/ 2147483647 h 157"/>
              <a:gd name="T44" fmla="*/ 2147483647 w 352"/>
              <a:gd name="T45" fmla="*/ 2147483647 h 157"/>
              <a:gd name="T46" fmla="*/ 2147483647 w 352"/>
              <a:gd name="T47" fmla="*/ 2147483647 h 157"/>
              <a:gd name="T48" fmla="*/ 2147483647 w 352"/>
              <a:gd name="T49" fmla="*/ 2147483647 h 157"/>
              <a:gd name="T50" fmla="*/ 2147483647 w 352"/>
              <a:gd name="T51" fmla="*/ 2147483647 h 157"/>
              <a:gd name="T52" fmla="*/ 2147483647 w 352"/>
              <a:gd name="T53" fmla="*/ 2147483647 h 157"/>
              <a:gd name="T54" fmla="*/ 2147483647 w 352"/>
              <a:gd name="T55" fmla="*/ 2147483647 h 157"/>
              <a:gd name="T56" fmla="*/ 2147483647 w 352"/>
              <a:gd name="T57" fmla="*/ 2147483647 h 157"/>
              <a:gd name="T58" fmla="*/ 2147483647 w 352"/>
              <a:gd name="T59" fmla="*/ 2147483647 h 157"/>
              <a:gd name="T60" fmla="*/ 2147483647 w 352"/>
              <a:gd name="T61" fmla="*/ 2147483647 h 157"/>
              <a:gd name="T62" fmla="*/ 2147483647 w 352"/>
              <a:gd name="T63" fmla="*/ 2147483647 h 157"/>
              <a:gd name="T64" fmla="*/ 2147483647 w 352"/>
              <a:gd name="T65" fmla="*/ 2147483647 h 157"/>
              <a:gd name="T66" fmla="*/ 2147483647 w 352"/>
              <a:gd name="T67" fmla="*/ 2147483647 h 157"/>
              <a:gd name="T68" fmla="*/ 2147483647 w 352"/>
              <a:gd name="T69" fmla="*/ 2147483647 h 157"/>
              <a:gd name="T70" fmla="*/ 2147483647 w 352"/>
              <a:gd name="T71" fmla="*/ 2147483647 h 157"/>
              <a:gd name="T72" fmla="*/ 2147483647 w 352"/>
              <a:gd name="T73" fmla="*/ 2147483647 h 157"/>
              <a:gd name="T74" fmla="*/ 0 w 352"/>
              <a:gd name="T75" fmla="*/ 2147483647 h 157"/>
              <a:gd name="T76" fmla="*/ 0 w 352"/>
              <a:gd name="T77" fmla="*/ 2147483647 h 157"/>
              <a:gd name="T78" fmla="*/ 2147483647 w 352"/>
              <a:gd name="T79" fmla="*/ 2147483647 h 157"/>
              <a:gd name="T80" fmla="*/ 2147483647 w 352"/>
              <a:gd name="T81" fmla="*/ 2147483647 h 157"/>
              <a:gd name="T82" fmla="*/ 2147483647 w 352"/>
              <a:gd name="T83" fmla="*/ 2147483647 h 157"/>
              <a:gd name="T84" fmla="*/ 2147483647 w 352"/>
              <a:gd name="T85" fmla="*/ 2147483647 h 157"/>
              <a:gd name="T86" fmla="*/ 2147483647 w 352"/>
              <a:gd name="T87" fmla="*/ 2147483647 h 15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2"/>
              <a:gd name="T133" fmla="*/ 0 h 157"/>
              <a:gd name="T134" fmla="*/ 352 w 352"/>
              <a:gd name="T135" fmla="*/ 157 h 157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2" h="157">
                <a:moveTo>
                  <a:pt x="120" y="8"/>
                </a:moveTo>
                <a:lnTo>
                  <a:pt x="132" y="0"/>
                </a:lnTo>
                <a:lnTo>
                  <a:pt x="146" y="0"/>
                </a:lnTo>
                <a:lnTo>
                  <a:pt x="152" y="11"/>
                </a:lnTo>
                <a:lnTo>
                  <a:pt x="165" y="2"/>
                </a:lnTo>
                <a:lnTo>
                  <a:pt x="178" y="6"/>
                </a:lnTo>
                <a:lnTo>
                  <a:pt x="198" y="27"/>
                </a:lnTo>
                <a:lnTo>
                  <a:pt x="220" y="36"/>
                </a:lnTo>
                <a:lnTo>
                  <a:pt x="228" y="38"/>
                </a:lnTo>
                <a:lnTo>
                  <a:pt x="239" y="29"/>
                </a:lnTo>
                <a:lnTo>
                  <a:pt x="250" y="25"/>
                </a:lnTo>
                <a:lnTo>
                  <a:pt x="280" y="33"/>
                </a:lnTo>
                <a:lnTo>
                  <a:pt x="320" y="42"/>
                </a:lnTo>
                <a:lnTo>
                  <a:pt x="352" y="51"/>
                </a:lnTo>
                <a:lnTo>
                  <a:pt x="341" y="64"/>
                </a:lnTo>
                <a:lnTo>
                  <a:pt x="320" y="85"/>
                </a:lnTo>
                <a:lnTo>
                  <a:pt x="315" y="92"/>
                </a:lnTo>
                <a:lnTo>
                  <a:pt x="317" y="107"/>
                </a:lnTo>
                <a:lnTo>
                  <a:pt x="302" y="107"/>
                </a:lnTo>
                <a:lnTo>
                  <a:pt x="287" y="96"/>
                </a:lnTo>
                <a:lnTo>
                  <a:pt x="272" y="92"/>
                </a:lnTo>
                <a:lnTo>
                  <a:pt x="233" y="101"/>
                </a:lnTo>
                <a:lnTo>
                  <a:pt x="223" y="110"/>
                </a:lnTo>
                <a:lnTo>
                  <a:pt x="212" y="124"/>
                </a:lnTo>
                <a:lnTo>
                  <a:pt x="191" y="137"/>
                </a:lnTo>
                <a:lnTo>
                  <a:pt x="179" y="137"/>
                </a:lnTo>
                <a:lnTo>
                  <a:pt x="166" y="126"/>
                </a:lnTo>
                <a:lnTo>
                  <a:pt x="155" y="126"/>
                </a:lnTo>
                <a:lnTo>
                  <a:pt x="115" y="145"/>
                </a:lnTo>
                <a:lnTo>
                  <a:pt x="96" y="155"/>
                </a:lnTo>
                <a:lnTo>
                  <a:pt x="82" y="157"/>
                </a:lnTo>
                <a:lnTo>
                  <a:pt x="50" y="155"/>
                </a:lnTo>
                <a:lnTo>
                  <a:pt x="37" y="155"/>
                </a:lnTo>
                <a:lnTo>
                  <a:pt x="27" y="140"/>
                </a:lnTo>
                <a:lnTo>
                  <a:pt x="22" y="135"/>
                </a:lnTo>
                <a:lnTo>
                  <a:pt x="11" y="129"/>
                </a:lnTo>
                <a:lnTo>
                  <a:pt x="5" y="122"/>
                </a:lnTo>
                <a:lnTo>
                  <a:pt x="0" y="107"/>
                </a:lnTo>
                <a:lnTo>
                  <a:pt x="0" y="90"/>
                </a:lnTo>
                <a:lnTo>
                  <a:pt x="34" y="76"/>
                </a:lnTo>
                <a:lnTo>
                  <a:pt x="72" y="76"/>
                </a:lnTo>
                <a:lnTo>
                  <a:pt x="95" y="55"/>
                </a:lnTo>
                <a:lnTo>
                  <a:pt x="98" y="19"/>
                </a:lnTo>
                <a:lnTo>
                  <a:pt x="120" y="8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30" name="Freeform 107"/>
          <p:cNvSpPr>
            <a:spLocks/>
          </p:cNvSpPr>
          <p:nvPr/>
        </p:nvSpPr>
        <p:spPr bwMode="auto">
          <a:xfrm>
            <a:off x="5239506" y="4364045"/>
            <a:ext cx="359427" cy="349366"/>
          </a:xfrm>
          <a:custGeom>
            <a:avLst/>
            <a:gdLst>
              <a:gd name="T0" fmla="*/ 2147483647 w 238"/>
              <a:gd name="T1" fmla="*/ 2147483647 h 221"/>
              <a:gd name="T2" fmla="*/ 2147483647 w 238"/>
              <a:gd name="T3" fmla="*/ 2147483647 h 221"/>
              <a:gd name="T4" fmla="*/ 2147483647 w 238"/>
              <a:gd name="T5" fmla="*/ 2147483647 h 221"/>
              <a:gd name="T6" fmla="*/ 2147483647 w 238"/>
              <a:gd name="T7" fmla="*/ 2147483647 h 221"/>
              <a:gd name="T8" fmla="*/ 2147483647 w 238"/>
              <a:gd name="T9" fmla="*/ 2147483647 h 221"/>
              <a:gd name="T10" fmla="*/ 2147483647 w 238"/>
              <a:gd name="T11" fmla="*/ 2147483647 h 221"/>
              <a:gd name="T12" fmla="*/ 2147483647 w 238"/>
              <a:gd name="T13" fmla="*/ 2147483647 h 221"/>
              <a:gd name="T14" fmla="*/ 2147483647 w 238"/>
              <a:gd name="T15" fmla="*/ 2147483647 h 221"/>
              <a:gd name="T16" fmla="*/ 2147483647 w 238"/>
              <a:gd name="T17" fmla="*/ 2147483647 h 221"/>
              <a:gd name="T18" fmla="*/ 2147483647 w 238"/>
              <a:gd name="T19" fmla="*/ 0 h 221"/>
              <a:gd name="T20" fmla="*/ 2147483647 w 238"/>
              <a:gd name="T21" fmla="*/ 2147483647 h 221"/>
              <a:gd name="T22" fmla="*/ 2147483647 w 238"/>
              <a:gd name="T23" fmla="*/ 2147483647 h 221"/>
              <a:gd name="T24" fmla="*/ 0 w 238"/>
              <a:gd name="T25" fmla="*/ 2147483647 h 221"/>
              <a:gd name="T26" fmla="*/ 0 w 238"/>
              <a:gd name="T27" fmla="*/ 2147483647 h 221"/>
              <a:gd name="T28" fmla="*/ 2147483647 w 238"/>
              <a:gd name="T29" fmla="*/ 2147483647 h 221"/>
              <a:gd name="T30" fmla="*/ 2147483647 w 238"/>
              <a:gd name="T31" fmla="*/ 2147483647 h 221"/>
              <a:gd name="T32" fmla="*/ 2147483647 w 238"/>
              <a:gd name="T33" fmla="*/ 2147483647 h 221"/>
              <a:gd name="T34" fmla="*/ 2147483647 w 238"/>
              <a:gd name="T35" fmla="*/ 2147483647 h 221"/>
              <a:gd name="T36" fmla="*/ 2147483647 w 238"/>
              <a:gd name="T37" fmla="*/ 2147483647 h 221"/>
              <a:gd name="T38" fmla="*/ 2147483647 w 238"/>
              <a:gd name="T39" fmla="*/ 2147483647 h 221"/>
              <a:gd name="T40" fmla="*/ 2147483647 w 238"/>
              <a:gd name="T41" fmla="*/ 2147483647 h 221"/>
              <a:gd name="T42" fmla="*/ 2147483647 w 238"/>
              <a:gd name="T43" fmla="*/ 2147483647 h 221"/>
              <a:gd name="T44" fmla="*/ 2147483647 w 238"/>
              <a:gd name="T45" fmla="*/ 2147483647 h 221"/>
              <a:gd name="T46" fmla="*/ 2147483647 w 238"/>
              <a:gd name="T47" fmla="*/ 2147483647 h 221"/>
              <a:gd name="T48" fmla="*/ 2147483647 w 238"/>
              <a:gd name="T49" fmla="*/ 2147483647 h 221"/>
              <a:gd name="T50" fmla="*/ 2147483647 w 238"/>
              <a:gd name="T51" fmla="*/ 2147483647 h 221"/>
              <a:gd name="T52" fmla="*/ 2147483647 w 238"/>
              <a:gd name="T53" fmla="*/ 2147483647 h 221"/>
              <a:gd name="T54" fmla="*/ 2147483647 w 238"/>
              <a:gd name="T55" fmla="*/ 2147483647 h 221"/>
              <a:gd name="T56" fmla="*/ 2147483647 w 238"/>
              <a:gd name="T57" fmla="*/ 2147483647 h 221"/>
              <a:gd name="T58" fmla="*/ 2147483647 w 238"/>
              <a:gd name="T59" fmla="*/ 2147483647 h 221"/>
              <a:gd name="T60" fmla="*/ 2147483647 w 238"/>
              <a:gd name="T61" fmla="*/ 2147483647 h 221"/>
              <a:gd name="T62" fmla="*/ 2147483647 w 238"/>
              <a:gd name="T63" fmla="*/ 2147483647 h 221"/>
              <a:gd name="T64" fmla="*/ 2147483647 w 238"/>
              <a:gd name="T65" fmla="*/ 2147483647 h 221"/>
              <a:gd name="T66" fmla="*/ 2147483647 w 238"/>
              <a:gd name="T67" fmla="*/ 2147483647 h 22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38"/>
              <a:gd name="T103" fmla="*/ 0 h 221"/>
              <a:gd name="T104" fmla="*/ 238 w 238"/>
              <a:gd name="T105" fmla="*/ 221 h 22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38" h="221">
                <a:moveTo>
                  <a:pt x="220" y="31"/>
                </a:moveTo>
                <a:lnTo>
                  <a:pt x="208" y="31"/>
                </a:lnTo>
                <a:lnTo>
                  <a:pt x="195" y="22"/>
                </a:lnTo>
                <a:lnTo>
                  <a:pt x="178" y="13"/>
                </a:lnTo>
                <a:lnTo>
                  <a:pt x="157" y="24"/>
                </a:lnTo>
                <a:lnTo>
                  <a:pt x="138" y="19"/>
                </a:lnTo>
                <a:lnTo>
                  <a:pt x="121" y="27"/>
                </a:lnTo>
                <a:lnTo>
                  <a:pt x="120" y="19"/>
                </a:lnTo>
                <a:lnTo>
                  <a:pt x="105" y="18"/>
                </a:lnTo>
                <a:lnTo>
                  <a:pt x="87" y="0"/>
                </a:lnTo>
                <a:lnTo>
                  <a:pt x="60" y="30"/>
                </a:lnTo>
                <a:lnTo>
                  <a:pt x="17" y="16"/>
                </a:lnTo>
                <a:lnTo>
                  <a:pt x="0" y="21"/>
                </a:lnTo>
                <a:lnTo>
                  <a:pt x="0" y="31"/>
                </a:lnTo>
                <a:lnTo>
                  <a:pt x="46" y="78"/>
                </a:lnTo>
                <a:lnTo>
                  <a:pt x="57" y="109"/>
                </a:lnTo>
                <a:lnTo>
                  <a:pt x="81" y="127"/>
                </a:lnTo>
                <a:lnTo>
                  <a:pt x="91" y="124"/>
                </a:lnTo>
                <a:lnTo>
                  <a:pt x="150" y="187"/>
                </a:lnTo>
                <a:lnTo>
                  <a:pt x="154" y="201"/>
                </a:lnTo>
                <a:lnTo>
                  <a:pt x="150" y="211"/>
                </a:lnTo>
                <a:lnTo>
                  <a:pt x="154" y="221"/>
                </a:lnTo>
                <a:lnTo>
                  <a:pt x="171" y="212"/>
                </a:lnTo>
                <a:lnTo>
                  <a:pt x="184" y="207"/>
                </a:lnTo>
                <a:lnTo>
                  <a:pt x="184" y="186"/>
                </a:lnTo>
                <a:lnTo>
                  <a:pt x="201" y="172"/>
                </a:lnTo>
                <a:lnTo>
                  <a:pt x="208" y="157"/>
                </a:lnTo>
                <a:lnTo>
                  <a:pt x="226" y="150"/>
                </a:lnTo>
                <a:lnTo>
                  <a:pt x="229" y="132"/>
                </a:lnTo>
                <a:lnTo>
                  <a:pt x="226" y="115"/>
                </a:lnTo>
                <a:lnTo>
                  <a:pt x="235" y="108"/>
                </a:lnTo>
                <a:lnTo>
                  <a:pt x="219" y="85"/>
                </a:lnTo>
                <a:lnTo>
                  <a:pt x="238" y="52"/>
                </a:lnTo>
                <a:lnTo>
                  <a:pt x="220" y="31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31" name="Freeform 108"/>
          <p:cNvSpPr>
            <a:spLocks/>
          </p:cNvSpPr>
          <p:nvPr/>
        </p:nvSpPr>
        <p:spPr bwMode="auto">
          <a:xfrm>
            <a:off x="5730320" y="4817746"/>
            <a:ext cx="244651" cy="173892"/>
          </a:xfrm>
          <a:custGeom>
            <a:avLst/>
            <a:gdLst>
              <a:gd name="T0" fmla="*/ 2147483647 w 162"/>
              <a:gd name="T1" fmla="*/ 2147483647 h 110"/>
              <a:gd name="T2" fmla="*/ 2147483647 w 162"/>
              <a:gd name="T3" fmla="*/ 2147483647 h 110"/>
              <a:gd name="T4" fmla="*/ 2147483647 w 162"/>
              <a:gd name="T5" fmla="*/ 2147483647 h 110"/>
              <a:gd name="T6" fmla="*/ 2147483647 w 162"/>
              <a:gd name="T7" fmla="*/ 2147483647 h 110"/>
              <a:gd name="T8" fmla="*/ 2147483647 w 162"/>
              <a:gd name="T9" fmla="*/ 2147483647 h 110"/>
              <a:gd name="T10" fmla="*/ 2147483647 w 162"/>
              <a:gd name="T11" fmla="*/ 0 h 110"/>
              <a:gd name="T12" fmla="*/ 2147483647 w 162"/>
              <a:gd name="T13" fmla="*/ 2147483647 h 110"/>
              <a:gd name="T14" fmla="*/ 2147483647 w 162"/>
              <a:gd name="T15" fmla="*/ 2147483647 h 110"/>
              <a:gd name="T16" fmla="*/ 2147483647 w 162"/>
              <a:gd name="T17" fmla="*/ 2147483647 h 110"/>
              <a:gd name="T18" fmla="*/ 2147483647 w 162"/>
              <a:gd name="T19" fmla="*/ 2147483647 h 110"/>
              <a:gd name="T20" fmla="*/ 2147483647 w 162"/>
              <a:gd name="T21" fmla="*/ 2147483647 h 110"/>
              <a:gd name="T22" fmla="*/ 2147483647 w 162"/>
              <a:gd name="T23" fmla="*/ 2147483647 h 110"/>
              <a:gd name="T24" fmla="*/ 2147483647 w 162"/>
              <a:gd name="T25" fmla="*/ 2147483647 h 110"/>
              <a:gd name="T26" fmla="*/ 2147483647 w 162"/>
              <a:gd name="T27" fmla="*/ 2147483647 h 110"/>
              <a:gd name="T28" fmla="*/ 2147483647 w 162"/>
              <a:gd name="T29" fmla="*/ 2147483647 h 110"/>
              <a:gd name="T30" fmla="*/ 2147483647 w 162"/>
              <a:gd name="T31" fmla="*/ 2147483647 h 110"/>
              <a:gd name="T32" fmla="*/ 2147483647 w 162"/>
              <a:gd name="T33" fmla="*/ 2147483647 h 110"/>
              <a:gd name="T34" fmla="*/ 2147483647 w 162"/>
              <a:gd name="T35" fmla="*/ 2147483647 h 110"/>
              <a:gd name="T36" fmla="*/ 2147483647 w 162"/>
              <a:gd name="T37" fmla="*/ 2147483647 h 110"/>
              <a:gd name="T38" fmla="*/ 2147483647 w 162"/>
              <a:gd name="T39" fmla="*/ 2147483647 h 110"/>
              <a:gd name="T40" fmla="*/ 2147483647 w 162"/>
              <a:gd name="T41" fmla="*/ 2147483647 h 110"/>
              <a:gd name="T42" fmla="*/ 0 w 162"/>
              <a:gd name="T43" fmla="*/ 2147483647 h 110"/>
              <a:gd name="T44" fmla="*/ 2147483647 w 162"/>
              <a:gd name="T45" fmla="*/ 2147483647 h 110"/>
              <a:gd name="T46" fmla="*/ 2147483647 w 162"/>
              <a:gd name="T47" fmla="*/ 2147483647 h 11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62"/>
              <a:gd name="T73" fmla="*/ 0 h 110"/>
              <a:gd name="T74" fmla="*/ 162 w 162"/>
              <a:gd name="T75" fmla="*/ 110 h 110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62" h="110">
                <a:moveTo>
                  <a:pt x="6" y="33"/>
                </a:moveTo>
                <a:lnTo>
                  <a:pt x="34" y="14"/>
                </a:lnTo>
                <a:lnTo>
                  <a:pt x="52" y="11"/>
                </a:lnTo>
                <a:lnTo>
                  <a:pt x="70" y="6"/>
                </a:lnTo>
                <a:lnTo>
                  <a:pt x="85" y="6"/>
                </a:lnTo>
                <a:lnTo>
                  <a:pt x="100" y="0"/>
                </a:lnTo>
                <a:lnTo>
                  <a:pt x="126" y="6"/>
                </a:lnTo>
                <a:lnTo>
                  <a:pt x="141" y="5"/>
                </a:lnTo>
                <a:lnTo>
                  <a:pt x="156" y="20"/>
                </a:lnTo>
                <a:lnTo>
                  <a:pt x="154" y="63"/>
                </a:lnTo>
                <a:lnTo>
                  <a:pt x="162" y="68"/>
                </a:lnTo>
                <a:lnTo>
                  <a:pt x="151" y="86"/>
                </a:lnTo>
                <a:lnTo>
                  <a:pt x="115" y="93"/>
                </a:lnTo>
                <a:lnTo>
                  <a:pt x="100" y="89"/>
                </a:lnTo>
                <a:lnTo>
                  <a:pt x="90" y="110"/>
                </a:lnTo>
                <a:lnTo>
                  <a:pt x="63" y="108"/>
                </a:lnTo>
                <a:lnTo>
                  <a:pt x="52" y="105"/>
                </a:lnTo>
                <a:lnTo>
                  <a:pt x="36" y="104"/>
                </a:lnTo>
                <a:lnTo>
                  <a:pt x="27" y="95"/>
                </a:lnTo>
                <a:lnTo>
                  <a:pt x="21" y="98"/>
                </a:lnTo>
                <a:lnTo>
                  <a:pt x="9" y="89"/>
                </a:lnTo>
                <a:lnTo>
                  <a:pt x="0" y="63"/>
                </a:lnTo>
                <a:lnTo>
                  <a:pt x="7" y="50"/>
                </a:lnTo>
                <a:lnTo>
                  <a:pt x="6" y="33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32" name="Freeform 109"/>
          <p:cNvSpPr>
            <a:spLocks/>
          </p:cNvSpPr>
          <p:nvPr/>
        </p:nvSpPr>
        <p:spPr bwMode="auto">
          <a:xfrm>
            <a:off x="5469056" y="4254967"/>
            <a:ext cx="493834" cy="613366"/>
          </a:xfrm>
          <a:custGeom>
            <a:avLst/>
            <a:gdLst>
              <a:gd name="T0" fmla="*/ 2147483647 w 327"/>
              <a:gd name="T1" fmla="*/ 2147483647 h 388"/>
              <a:gd name="T2" fmla="*/ 2147483647 w 327"/>
              <a:gd name="T3" fmla="*/ 2147483647 h 388"/>
              <a:gd name="T4" fmla="*/ 2147483647 w 327"/>
              <a:gd name="T5" fmla="*/ 2147483647 h 388"/>
              <a:gd name="T6" fmla="*/ 2147483647 w 327"/>
              <a:gd name="T7" fmla="*/ 2147483647 h 388"/>
              <a:gd name="T8" fmla="*/ 2147483647 w 327"/>
              <a:gd name="T9" fmla="*/ 2147483647 h 388"/>
              <a:gd name="T10" fmla="*/ 2147483647 w 327"/>
              <a:gd name="T11" fmla="*/ 2147483647 h 388"/>
              <a:gd name="T12" fmla="*/ 2147483647 w 327"/>
              <a:gd name="T13" fmla="*/ 2147483647 h 388"/>
              <a:gd name="T14" fmla="*/ 2147483647 w 327"/>
              <a:gd name="T15" fmla="*/ 2147483647 h 388"/>
              <a:gd name="T16" fmla="*/ 2147483647 w 327"/>
              <a:gd name="T17" fmla="*/ 2147483647 h 388"/>
              <a:gd name="T18" fmla="*/ 2147483647 w 327"/>
              <a:gd name="T19" fmla="*/ 2147483647 h 388"/>
              <a:gd name="T20" fmla="*/ 2147483647 w 327"/>
              <a:gd name="T21" fmla="*/ 2147483647 h 388"/>
              <a:gd name="T22" fmla="*/ 2147483647 w 327"/>
              <a:gd name="T23" fmla="*/ 2147483647 h 388"/>
              <a:gd name="T24" fmla="*/ 2147483647 w 327"/>
              <a:gd name="T25" fmla="*/ 2147483647 h 388"/>
              <a:gd name="T26" fmla="*/ 2147483647 w 327"/>
              <a:gd name="T27" fmla="*/ 2147483647 h 388"/>
              <a:gd name="T28" fmla="*/ 2147483647 w 327"/>
              <a:gd name="T29" fmla="*/ 2147483647 h 388"/>
              <a:gd name="T30" fmla="*/ 2147483647 w 327"/>
              <a:gd name="T31" fmla="*/ 2147483647 h 388"/>
              <a:gd name="T32" fmla="*/ 2147483647 w 327"/>
              <a:gd name="T33" fmla="*/ 2147483647 h 388"/>
              <a:gd name="T34" fmla="*/ 2147483647 w 327"/>
              <a:gd name="T35" fmla="*/ 2147483647 h 388"/>
              <a:gd name="T36" fmla="*/ 2147483647 w 327"/>
              <a:gd name="T37" fmla="*/ 2147483647 h 388"/>
              <a:gd name="T38" fmla="*/ 2147483647 w 327"/>
              <a:gd name="T39" fmla="*/ 2147483647 h 388"/>
              <a:gd name="T40" fmla="*/ 2147483647 w 327"/>
              <a:gd name="T41" fmla="*/ 2147483647 h 388"/>
              <a:gd name="T42" fmla="*/ 2147483647 w 327"/>
              <a:gd name="T43" fmla="*/ 2147483647 h 388"/>
              <a:gd name="T44" fmla="*/ 2147483647 w 327"/>
              <a:gd name="T45" fmla="*/ 2147483647 h 388"/>
              <a:gd name="T46" fmla="*/ 2147483647 w 327"/>
              <a:gd name="T47" fmla="*/ 2147483647 h 388"/>
              <a:gd name="T48" fmla="*/ 2147483647 w 327"/>
              <a:gd name="T49" fmla="*/ 2147483647 h 388"/>
              <a:gd name="T50" fmla="*/ 2147483647 w 327"/>
              <a:gd name="T51" fmla="*/ 2147483647 h 388"/>
              <a:gd name="T52" fmla="*/ 2147483647 w 327"/>
              <a:gd name="T53" fmla="*/ 2147483647 h 388"/>
              <a:gd name="T54" fmla="*/ 2147483647 w 327"/>
              <a:gd name="T55" fmla="*/ 2147483647 h 388"/>
              <a:gd name="T56" fmla="*/ 2147483647 w 327"/>
              <a:gd name="T57" fmla="*/ 2147483647 h 388"/>
              <a:gd name="T58" fmla="*/ 2147483647 w 327"/>
              <a:gd name="T59" fmla="*/ 2147483647 h 388"/>
              <a:gd name="T60" fmla="*/ 2147483647 w 327"/>
              <a:gd name="T61" fmla="*/ 2147483647 h 388"/>
              <a:gd name="T62" fmla="*/ 2147483647 w 327"/>
              <a:gd name="T63" fmla="*/ 2147483647 h 388"/>
              <a:gd name="T64" fmla="*/ 2147483647 w 327"/>
              <a:gd name="T65" fmla="*/ 2147483647 h 38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327"/>
              <a:gd name="T100" fmla="*/ 0 h 388"/>
              <a:gd name="T101" fmla="*/ 327 w 327"/>
              <a:gd name="T102" fmla="*/ 388 h 388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327" h="388">
                <a:moveTo>
                  <a:pt x="55" y="27"/>
                </a:moveTo>
                <a:lnTo>
                  <a:pt x="120" y="3"/>
                </a:lnTo>
                <a:lnTo>
                  <a:pt x="150" y="0"/>
                </a:lnTo>
                <a:lnTo>
                  <a:pt x="168" y="1"/>
                </a:lnTo>
                <a:lnTo>
                  <a:pt x="175" y="6"/>
                </a:lnTo>
                <a:lnTo>
                  <a:pt x="180" y="12"/>
                </a:lnTo>
                <a:lnTo>
                  <a:pt x="181" y="19"/>
                </a:lnTo>
                <a:lnTo>
                  <a:pt x="187" y="21"/>
                </a:lnTo>
                <a:lnTo>
                  <a:pt x="195" y="36"/>
                </a:lnTo>
                <a:lnTo>
                  <a:pt x="196" y="58"/>
                </a:lnTo>
                <a:lnTo>
                  <a:pt x="204" y="66"/>
                </a:lnTo>
                <a:lnTo>
                  <a:pt x="223" y="66"/>
                </a:lnTo>
                <a:lnTo>
                  <a:pt x="235" y="97"/>
                </a:lnTo>
                <a:lnTo>
                  <a:pt x="235" y="118"/>
                </a:lnTo>
                <a:lnTo>
                  <a:pt x="243" y="132"/>
                </a:lnTo>
                <a:lnTo>
                  <a:pt x="252" y="132"/>
                </a:lnTo>
                <a:lnTo>
                  <a:pt x="271" y="118"/>
                </a:lnTo>
                <a:lnTo>
                  <a:pt x="282" y="127"/>
                </a:lnTo>
                <a:lnTo>
                  <a:pt x="283" y="145"/>
                </a:lnTo>
                <a:lnTo>
                  <a:pt x="303" y="156"/>
                </a:lnTo>
                <a:lnTo>
                  <a:pt x="300" y="175"/>
                </a:lnTo>
                <a:lnTo>
                  <a:pt x="301" y="180"/>
                </a:lnTo>
                <a:lnTo>
                  <a:pt x="304" y="183"/>
                </a:lnTo>
                <a:lnTo>
                  <a:pt x="297" y="193"/>
                </a:lnTo>
                <a:lnTo>
                  <a:pt x="295" y="205"/>
                </a:lnTo>
                <a:lnTo>
                  <a:pt x="306" y="229"/>
                </a:lnTo>
                <a:lnTo>
                  <a:pt x="322" y="232"/>
                </a:lnTo>
                <a:lnTo>
                  <a:pt x="327" y="244"/>
                </a:lnTo>
                <a:lnTo>
                  <a:pt x="322" y="268"/>
                </a:lnTo>
                <a:lnTo>
                  <a:pt x="298" y="290"/>
                </a:lnTo>
                <a:lnTo>
                  <a:pt x="304" y="328"/>
                </a:lnTo>
                <a:lnTo>
                  <a:pt x="295" y="344"/>
                </a:lnTo>
                <a:lnTo>
                  <a:pt x="301" y="362"/>
                </a:lnTo>
                <a:lnTo>
                  <a:pt x="271" y="356"/>
                </a:lnTo>
                <a:lnTo>
                  <a:pt x="256" y="362"/>
                </a:lnTo>
                <a:lnTo>
                  <a:pt x="241" y="362"/>
                </a:lnTo>
                <a:lnTo>
                  <a:pt x="223" y="367"/>
                </a:lnTo>
                <a:lnTo>
                  <a:pt x="205" y="370"/>
                </a:lnTo>
                <a:lnTo>
                  <a:pt x="177" y="388"/>
                </a:lnTo>
                <a:lnTo>
                  <a:pt x="178" y="353"/>
                </a:lnTo>
                <a:lnTo>
                  <a:pt x="172" y="344"/>
                </a:lnTo>
                <a:lnTo>
                  <a:pt x="153" y="341"/>
                </a:lnTo>
                <a:lnTo>
                  <a:pt x="147" y="326"/>
                </a:lnTo>
                <a:lnTo>
                  <a:pt x="135" y="325"/>
                </a:lnTo>
                <a:lnTo>
                  <a:pt x="130" y="329"/>
                </a:lnTo>
                <a:lnTo>
                  <a:pt x="105" y="325"/>
                </a:lnTo>
                <a:lnTo>
                  <a:pt x="96" y="332"/>
                </a:lnTo>
                <a:lnTo>
                  <a:pt x="91" y="359"/>
                </a:lnTo>
                <a:lnTo>
                  <a:pt x="81" y="380"/>
                </a:lnTo>
                <a:lnTo>
                  <a:pt x="13" y="320"/>
                </a:lnTo>
                <a:lnTo>
                  <a:pt x="0" y="292"/>
                </a:lnTo>
                <a:lnTo>
                  <a:pt x="18" y="284"/>
                </a:lnTo>
                <a:lnTo>
                  <a:pt x="33" y="276"/>
                </a:lnTo>
                <a:lnTo>
                  <a:pt x="33" y="253"/>
                </a:lnTo>
                <a:lnTo>
                  <a:pt x="48" y="244"/>
                </a:lnTo>
                <a:lnTo>
                  <a:pt x="55" y="228"/>
                </a:lnTo>
                <a:lnTo>
                  <a:pt x="72" y="217"/>
                </a:lnTo>
                <a:lnTo>
                  <a:pt x="75" y="202"/>
                </a:lnTo>
                <a:lnTo>
                  <a:pt x="73" y="186"/>
                </a:lnTo>
                <a:lnTo>
                  <a:pt x="84" y="177"/>
                </a:lnTo>
                <a:lnTo>
                  <a:pt x="69" y="154"/>
                </a:lnTo>
                <a:lnTo>
                  <a:pt x="85" y="123"/>
                </a:lnTo>
                <a:lnTo>
                  <a:pt x="67" y="102"/>
                </a:lnTo>
                <a:lnTo>
                  <a:pt x="72" y="79"/>
                </a:lnTo>
                <a:lnTo>
                  <a:pt x="55" y="58"/>
                </a:lnTo>
                <a:lnTo>
                  <a:pt x="55" y="27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33" name="Text Box 115"/>
          <p:cNvSpPr txBox="1">
            <a:spLocks noChangeArrowheads="1"/>
          </p:cNvSpPr>
          <p:nvPr/>
        </p:nvSpPr>
        <p:spPr bwMode="auto">
          <a:xfrm>
            <a:off x="4676174" y="3334917"/>
            <a:ext cx="302968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latin typeface="Arial"/>
                <a:cs typeface="Arial" pitchFamily="34" charset="0"/>
              </a:rPr>
              <a:t>+44</a:t>
            </a:r>
            <a:endParaRPr lang="de-DE" sz="1400" b="1" dirty="0">
              <a:latin typeface="Arial"/>
              <a:cs typeface="Arial" pitchFamily="34" charset="0"/>
            </a:endParaRPr>
          </a:p>
        </p:txBody>
      </p:sp>
      <p:sp>
        <p:nvSpPr>
          <p:cNvPr id="34" name="Text Box 116"/>
          <p:cNvSpPr txBox="1">
            <a:spLocks noChangeArrowheads="1"/>
          </p:cNvSpPr>
          <p:nvPr/>
        </p:nvSpPr>
        <p:spPr bwMode="auto">
          <a:xfrm>
            <a:off x="3855541" y="3872403"/>
            <a:ext cx="258084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solidFill>
                  <a:schemeClr val="bg1"/>
                </a:solidFill>
                <a:latin typeface="Arial"/>
              </a:rPr>
              <a:t>-33</a:t>
            </a:r>
            <a:endParaRPr lang="de-DE" sz="14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35" name="Text Box 117"/>
          <p:cNvSpPr txBox="1">
            <a:spLocks noChangeArrowheads="1"/>
          </p:cNvSpPr>
          <p:nvPr/>
        </p:nvSpPr>
        <p:spPr bwMode="auto">
          <a:xfrm>
            <a:off x="4559466" y="4217767"/>
            <a:ext cx="258084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solidFill>
                  <a:schemeClr val="bg1"/>
                </a:solidFill>
                <a:latin typeface="Arial"/>
              </a:rPr>
              <a:t>-22</a:t>
            </a:r>
            <a:endParaRPr lang="de-DE" sz="14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36" name="Text Box 118"/>
          <p:cNvSpPr txBox="1">
            <a:spLocks noChangeArrowheads="1"/>
          </p:cNvSpPr>
          <p:nvPr/>
        </p:nvSpPr>
        <p:spPr bwMode="auto">
          <a:xfrm>
            <a:off x="3736861" y="2961839"/>
            <a:ext cx="258084" cy="215444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solidFill>
                  <a:schemeClr val="bg1"/>
                </a:solidFill>
                <a:latin typeface="Arial"/>
              </a:rPr>
              <a:t>-24</a:t>
            </a:r>
            <a:endParaRPr lang="de-DE" sz="14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38" name="Text Box 116"/>
          <p:cNvSpPr txBox="1">
            <a:spLocks noChangeArrowheads="1"/>
          </p:cNvSpPr>
          <p:nvPr/>
        </p:nvSpPr>
        <p:spPr bwMode="auto">
          <a:xfrm>
            <a:off x="5484457" y="5390011"/>
            <a:ext cx="258084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latin typeface="Arial"/>
                <a:cs typeface="Arial" pitchFamily="34" charset="0"/>
              </a:rPr>
              <a:t>-29</a:t>
            </a:r>
            <a:endParaRPr lang="de-DE" sz="1400" b="1" baseline="30000" dirty="0">
              <a:latin typeface="Arial"/>
              <a:cs typeface="Arial" pitchFamily="34" charset="0"/>
            </a:endParaRPr>
          </a:p>
        </p:txBody>
      </p:sp>
      <p:sp>
        <p:nvSpPr>
          <p:cNvPr id="39" name="Text Box 115"/>
          <p:cNvSpPr txBox="1">
            <a:spLocks noChangeArrowheads="1"/>
          </p:cNvSpPr>
          <p:nvPr/>
        </p:nvSpPr>
        <p:spPr bwMode="auto">
          <a:xfrm>
            <a:off x="4244437" y="2920079"/>
            <a:ext cx="258084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solidFill>
                  <a:srgbClr val="000000"/>
                </a:solidFill>
                <a:latin typeface="Arial"/>
              </a:rPr>
              <a:t>-23</a:t>
            </a:r>
            <a:endParaRPr lang="de-DE" sz="14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13"/>
          <p:cNvSpPr>
            <a:spLocks/>
          </p:cNvSpPr>
          <p:nvPr/>
        </p:nvSpPr>
        <p:spPr bwMode="auto">
          <a:xfrm>
            <a:off x="4702491" y="3865238"/>
            <a:ext cx="684119" cy="325653"/>
          </a:xfrm>
          <a:custGeom>
            <a:avLst/>
            <a:gdLst>
              <a:gd name="T0" fmla="*/ 2147483647 w 453"/>
              <a:gd name="T1" fmla="*/ 2147483647 h 206"/>
              <a:gd name="T2" fmla="*/ 2147483647 w 453"/>
              <a:gd name="T3" fmla="*/ 2147483647 h 206"/>
              <a:gd name="T4" fmla="*/ 2147483647 w 453"/>
              <a:gd name="T5" fmla="*/ 2147483647 h 206"/>
              <a:gd name="T6" fmla="*/ 2147483647 w 453"/>
              <a:gd name="T7" fmla="*/ 2147483647 h 206"/>
              <a:gd name="T8" fmla="*/ 2147483647 w 453"/>
              <a:gd name="T9" fmla="*/ 2147483647 h 206"/>
              <a:gd name="T10" fmla="*/ 2147483647 w 453"/>
              <a:gd name="T11" fmla="*/ 2147483647 h 206"/>
              <a:gd name="T12" fmla="*/ 2147483647 w 453"/>
              <a:gd name="T13" fmla="*/ 2147483647 h 206"/>
              <a:gd name="T14" fmla="*/ 2147483647 w 453"/>
              <a:gd name="T15" fmla="*/ 2147483647 h 206"/>
              <a:gd name="T16" fmla="*/ 2147483647 w 453"/>
              <a:gd name="T17" fmla="*/ 2147483647 h 206"/>
              <a:gd name="T18" fmla="*/ 2147483647 w 453"/>
              <a:gd name="T19" fmla="*/ 2147483647 h 206"/>
              <a:gd name="T20" fmla="*/ 2147483647 w 453"/>
              <a:gd name="T21" fmla="*/ 2147483647 h 206"/>
              <a:gd name="T22" fmla="*/ 2147483647 w 453"/>
              <a:gd name="T23" fmla="*/ 2147483647 h 206"/>
              <a:gd name="T24" fmla="*/ 2147483647 w 453"/>
              <a:gd name="T25" fmla="*/ 2147483647 h 206"/>
              <a:gd name="T26" fmla="*/ 2147483647 w 453"/>
              <a:gd name="T27" fmla="*/ 2147483647 h 206"/>
              <a:gd name="T28" fmla="*/ 2147483647 w 453"/>
              <a:gd name="T29" fmla="*/ 2147483647 h 206"/>
              <a:gd name="T30" fmla="*/ 2147483647 w 453"/>
              <a:gd name="T31" fmla="*/ 2147483647 h 206"/>
              <a:gd name="T32" fmla="*/ 2147483647 w 453"/>
              <a:gd name="T33" fmla="*/ 2147483647 h 206"/>
              <a:gd name="T34" fmla="*/ 2147483647 w 453"/>
              <a:gd name="T35" fmla="*/ 2147483647 h 206"/>
              <a:gd name="T36" fmla="*/ 2147483647 w 453"/>
              <a:gd name="T37" fmla="*/ 2147483647 h 206"/>
              <a:gd name="T38" fmla="*/ 2147483647 w 453"/>
              <a:gd name="T39" fmla="*/ 2147483647 h 206"/>
              <a:gd name="T40" fmla="*/ 2147483647 w 453"/>
              <a:gd name="T41" fmla="*/ 2147483647 h 206"/>
              <a:gd name="T42" fmla="*/ 2147483647 w 453"/>
              <a:gd name="T43" fmla="*/ 2147483647 h 206"/>
              <a:gd name="T44" fmla="*/ 2147483647 w 453"/>
              <a:gd name="T45" fmla="*/ 2147483647 h 206"/>
              <a:gd name="T46" fmla="*/ 2147483647 w 453"/>
              <a:gd name="T47" fmla="*/ 2147483647 h 206"/>
              <a:gd name="T48" fmla="*/ 2147483647 w 453"/>
              <a:gd name="T49" fmla="*/ 2147483647 h 206"/>
              <a:gd name="T50" fmla="*/ 2147483647 w 453"/>
              <a:gd name="T51" fmla="*/ 2147483647 h 206"/>
              <a:gd name="T52" fmla="*/ 2147483647 w 453"/>
              <a:gd name="T53" fmla="*/ 2147483647 h 206"/>
              <a:gd name="T54" fmla="*/ 2147483647 w 453"/>
              <a:gd name="T55" fmla="*/ 2147483647 h 206"/>
              <a:gd name="T56" fmla="*/ 2147483647 w 453"/>
              <a:gd name="T57" fmla="*/ 2147483647 h 206"/>
              <a:gd name="T58" fmla="*/ 2147483647 w 453"/>
              <a:gd name="T59" fmla="*/ 2147483647 h 206"/>
              <a:gd name="T60" fmla="*/ 2147483647 w 453"/>
              <a:gd name="T61" fmla="*/ 2147483647 h 206"/>
              <a:gd name="T62" fmla="*/ 0 w 453"/>
              <a:gd name="T63" fmla="*/ 2147483647 h 2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53"/>
              <a:gd name="T97" fmla="*/ 0 h 206"/>
              <a:gd name="T98" fmla="*/ 453 w 453"/>
              <a:gd name="T99" fmla="*/ 206 h 2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53" h="206">
                <a:moveTo>
                  <a:pt x="0" y="74"/>
                </a:moveTo>
                <a:lnTo>
                  <a:pt x="19" y="72"/>
                </a:lnTo>
                <a:lnTo>
                  <a:pt x="26" y="70"/>
                </a:lnTo>
                <a:lnTo>
                  <a:pt x="36" y="82"/>
                </a:lnTo>
                <a:lnTo>
                  <a:pt x="48" y="78"/>
                </a:lnTo>
                <a:lnTo>
                  <a:pt x="63" y="80"/>
                </a:lnTo>
                <a:lnTo>
                  <a:pt x="72" y="87"/>
                </a:lnTo>
                <a:lnTo>
                  <a:pt x="88" y="78"/>
                </a:lnTo>
                <a:lnTo>
                  <a:pt x="109" y="79"/>
                </a:lnTo>
                <a:lnTo>
                  <a:pt x="118" y="88"/>
                </a:lnTo>
                <a:lnTo>
                  <a:pt x="131" y="91"/>
                </a:lnTo>
                <a:lnTo>
                  <a:pt x="138" y="85"/>
                </a:lnTo>
                <a:lnTo>
                  <a:pt x="161" y="81"/>
                </a:lnTo>
                <a:lnTo>
                  <a:pt x="172" y="81"/>
                </a:lnTo>
                <a:lnTo>
                  <a:pt x="189" y="87"/>
                </a:lnTo>
                <a:lnTo>
                  <a:pt x="209" y="100"/>
                </a:lnTo>
                <a:lnTo>
                  <a:pt x="224" y="94"/>
                </a:lnTo>
                <a:lnTo>
                  <a:pt x="227" y="81"/>
                </a:lnTo>
                <a:lnTo>
                  <a:pt x="217" y="64"/>
                </a:lnTo>
                <a:lnTo>
                  <a:pt x="212" y="40"/>
                </a:lnTo>
                <a:lnTo>
                  <a:pt x="263" y="5"/>
                </a:lnTo>
                <a:lnTo>
                  <a:pt x="274" y="5"/>
                </a:lnTo>
                <a:lnTo>
                  <a:pt x="276" y="17"/>
                </a:lnTo>
                <a:lnTo>
                  <a:pt x="291" y="20"/>
                </a:lnTo>
                <a:lnTo>
                  <a:pt x="323" y="16"/>
                </a:lnTo>
                <a:lnTo>
                  <a:pt x="336" y="2"/>
                </a:lnTo>
                <a:lnTo>
                  <a:pt x="376" y="0"/>
                </a:lnTo>
                <a:lnTo>
                  <a:pt x="385" y="17"/>
                </a:lnTo>
                <a:lnTo>
                  <a:pt x="402" y="17"/>
                </a:lnTo>
                <a:lnTo>
                  <a:pt x="417" y="8"/>
                </a:lnTo>
                <a:lnTo>
                  <a:pt x="442" y="24"/>
                </a:lnTo>
                <a:lnTo>
                  <a:pt x="442" y="52"/>
                </a:lnTo>
                <a:lnTo>
                  <a:pt x="453" y="64"/>
                </a:lnTo>
                <a:lnTo>
                  <a:pt x="450" y="82"/>
                </a:lnTo>
                <a:lnTo>
                  <a:pt x="442" y="100"/>
                </a:lnTo>
                <a:lnTo>
                  <a:pt x="429" y="100"/>
                </a:lnTo>
                <a:lnTo>
                  <a:pt x="424" y="105"/>
                </a:lnTo>
                <a:lnTo>
                  <a:pt x="432" y="120"/>
                </a:lnTo>
                <a:lnTo>
                  <a:pt x="432" y="135"/>
                </a:lnTo>
                <a:lnTo>
                  <a:pt x="424" y="148"/>
                </a:lnTo>
                <a:lnTo>
                  <a:pt x="402" y="159"/>
                </a:lnTo>
                <a:lnTo>
                  <a:pt x="401" y="172"/>
                </a:lnTo>
                <a:lnTo>
                  <a:pt x="401" y="185"/>
                </a:lnTo>
                <a:lnTo>
                  <a:pt x="380" y="189"/>
                </a:lnTo>
                <a:lnTo>
                  <a:pt x="346" y="187"/>
                </a:lnTo>
                <a:lnTo>
                  <a:pt x="330" y="192"/>
                </a:lnTo>
                <a:lnTo>
                  <a:pt x="301" y="192"/>
                </a:lnTo>
                <a:lnTo>
                  <a:pt x="289" y="206"/>
                </a:lnTo>
                <a:lnTo>
                  <a:pt x="243" y="191"/>
                </a:lnTo>
                <a:lnTo>
                  <a:pt x="220" y="192"/>
                </a:lnTo>
                <a:lnTo>
                  <a:pt x="162" y="179"/>
                </a:lnTo>
                <a:lnTo>
                  <a:pt x="154" y="165"/>
                </a:lnTo>
                <a:lnTo>
                  <a:pt x="154" y="150"/>
                </a:lnTo>
                <a:lnTo>
                  <a:pt x="150" y="141"/>
                </a:lnTo>
                <a:lnTo>
                  <a:pt x="143" y="137"/>
                </a:lnTo>
                <a:lnTo>
                  <a:pt x="107" y="139"/>
                </a:lnTo>
                <a:lnTo>
                  <a:pt x="57" y="144"/>
                </a:lnTo>
                <a:lnTo>
                  <a:pt x="52" y="132"/>
                </a:lnTo>
                <a:lnTo>
                  <a:pt x="43" y="128"/>
                </a:lnTo>
                <a:lnTo>
                  <a:pt x="28" y="123"/>
                </a:lnTo>
                <a:lnTo>
                  <a:pt x="13" y="119"/>
                </a:lnTo>
                <a:lnTo>
                  <a:pt x="13" y="105"/>
                </a:lnTo>
                <a:lnTo>
                  <a:pt x="13" y="85"/>
                </a:lnTo>
                <a:lnTo>
                  <a:pt x="0" y="74"/>
                </a:lnTo>
                <a:close/>
              </a:path>
            </a:pathLst>
          </a:custGeom>
          <a:solidFill>
            <a:srgbClr val="92D050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41" name="Textfeld 40"/>
          <p:cNvSpPr txBox="1"/>
          <p:nvPr>
            <p:custDataLst>
              <p:tags r:id="rId3"/>
            </p:custDataLst>
          </p:nvPr>
        </p:nvSpPr>
        <p:spPr>
          <a:xfrm>
            <a:off x="4989859" y="3920342"/>
            <a:ext cx="203582" cy="215444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rtlCol="0">
            <a:spAutoFit/>
          </a:bodyPr>
          <a:lstStyle/>
          <a:p>
            <a:r>
              <a:rPr lang="de-DE" sz="1400" b="1" dirty="0" smtClean="0">
                <a:cs typeface="Arial" pitchFamily="34" charset="0"/>
              </a:rPr>
              <a:t>+6</a:t>
            </a:r>
            <a:endParaRPr lang="de-DE" sz="1400" b="1" baseline="30000" dirty="0">
              <a:cs typeface="Arial" pitchFamily="34" charset="0"/>
            </a:endParaRPr>
          </a:p>
        </p:txBody>
      </p:sp>
      <p:sp>
        <p:nvSpPr>
          <p:cNvPr id="42" name="Text Box 116"/>
          <p:cNvSpPr txBox="1">
            <a:spLocks noChangeArrowheads="1"/>
          </p:cNvSpPr>
          <p:nvPr/>
        </p:nvSpPr>
        <p:spPr bwMode="auto">
          <a:xfrm>
            <a:off x="2702668" y="4440245"/>
            <a:ext cx="25808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4351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40</a:t>
            </a:r>
            <a:endParaRPr lang="de-DE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Text Box 119"/>
          <p:cNvSpPr txBox="1">
            <a:spLocks noChangeArrowheads="1"/>
          </p:cNvSpPr>
          <p:nvPr/>
        </p:nvSpPr>
        <p:spPr bwMode="auto">
          <a:xfrm>
            <a:off x="3132137" y="4526423"/>
            <a:ext cx="258084" cy="215444"/>
          </a:xfrm>
          <a:prstGeom prst="rect">
            <a:avLst/>
          </a:prstGeom>
          <a:noFill/>
          <a:ln w="14351">
            <a:noFill/>
            <a:miter lim="800000"/>
            <a:headEnd/>
            <a:tailEnd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400" b="1" dirty="0" smtClean="0">
                <a:solidFill>
                  <a:schemeClr val="bg1"/>
                </a:solidFill>
                <a:latin typeface="Arial"/>
              </a:rPr>
              <a:t>-16</a:t>
            </a:r>
            <a:endParaRPr lang="de-DE" sz="14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78" name="RbLeanShape Arrow Option 1 76"/>
          <p:cNvSpPr/>
          <p:nvPr/>
        </p:nvSpPr>
        <p:spPr>
          <a:xfrm flipH="1">
            <a:off x="6987396" y="4404176"/>
            <a:ext cx="1832754" cy="917068"/>
          </a:xfrm>
          <a:custGeom>
            <a:avLst/>
            <a:gdLst>
              <a:gd name="connsiteX0" fmla="*/ 0 w 457200"/>
              <a:gd name="connsiteY0" fmla="*/ 0 h 508000"/>
              <a:gd name="connsiteX1" fmla="*/ 330200 w 457200"/>
              <a:gd name="connsiteY1" fmla="*/ 0 h 508000"/>
              <a:gd name="connsiteX2" fmla="*/ 457200 w 457200"/>
              <a:gd name="connsiteY2" fmla="*/ 254000 h 508000"/>
              <a:gd name="connsiteX3" fmla="*/ 330200 w 457200"/>
              <a:gd name="connsiteY3" fmla="*/ 508000 h 508000"/>
              <a:gd name="connsiteX4" fmla="*/ 0 w 457200"/>
              <a:gd name="connsiteY4" fmla="*/ 508000 h 508000"/>
              <a:gd name="connsiteX0" fmla="*/ 0 w 435484"/>
              <a:gd name="connsiteY0" fmla="*/ 0 h 508000"/>
              <a:gd name="connsiteX1" fmla="*/ 330200 w 435484"/>
              <a:gd name="connsiteY1" fmla="*/ 0 h 508000"/>
              <a:gd name="connsiteX2" fmla="*/ 435484 w 435484"/>
              <a:gd name="connsiteY2" fmla="*/ 254000 h 508000"/>
              <a:gd name="connsiteX3" fmla="*/ 330200 w 435484"/>
              <a:gd name="connsiteY3" fmla="*/ 508000 h 508000"/>
              <a:gd name="connsiteX4" fmla="*/ 0 w 435484"/>
              <a:gd name="connsiteY4" fmla="*/ 508000 h 508000"/>
              <a:gd name="connsiteX0" fmla="*/ 0 w 414799"/>
              <a:gd name="connsiteY0" fmla="*/ 0 h 508000"/>
              <a:gd name="connsiteX1" fmla="*/ 330200 w 414799"/>
              <a:gd name="connsiteY1" fmla="*/ 0 h 508000"/>
              <a:gd name="connsiteX2" fmla="*/ 414799 w 414799"/>
              <a:gd name="connsiteY2" fmla="*/ 254000 h 508000"/>
              <a:gd name="connsiteX3" fmla="*/ 330200 w 414799"/>
              <a:gd name="connsiteY3" fmla="*/ 508000 h 508000"/>
              <a:gd name="connsiteX4" fmla="*/ 0 w 414799"/>
              <a:gd name="connsiteY4" fmla="*/ 508000 h 508000"/>
              <a:gd name="connsiteX0" fmla="*/ 0 w 395097"/>
              <a:gd name="connsiteY0" fmla="*/ 0 h 508000"/>
              <a:gd name="connsiteX1" fmla="*/ 330200 w 395097"/>
              <a:gd name="connsiteY1" fmla="*/ 0 h 508000"/>
              <a:gd name="connsiteX2" fmla="*/ 395097 w 395097"/>
              <a:gd name="connsiteY2" fmla="*/ 254000 h 508000"/>
              <a:gd name="connsiteX3" fmla="*/ 330200 w 395097"/>
              <a:gd name="connsiteY3" fmla="*/ 508000 h 508000"/>
              <a:gd name="connsiteX4" fmla="*/ 0 w 395097"/>
              <a:gd name="connsiteY4" fmla="*/ 508000 h 508000"/>
              <a:gd name="connsiteX0" fmla="*/ 0 w 376331"/>
              <a:gd name="connsiteY0" fmla="*/ 0 h 508000"/>
              <a:gd name="connsiteX1" fmla="*/ 330200 w 376331"/>
              <a:gd name="connsiteY1" fmla="*/ 0 h 508000"/>
              <a:gd name="connsiteX2" fmla="*/ 376331 w 376331"/>
              <a:gd name="connsiteY2" fmla="*/ 254000 h 508000"/>
              <a:gd name="connsiteX3" fmla="*/ 330200 w 376331"/>
              <a:gd name="connsiteY3" fmla="*/ 508000 h 508000"/>
              <a:gd name="connsiteX4" fmla="*/ 0 w 376331"/>
              <a:gd name="connsiteY4" fmla="*/ 508000 h 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331" h="508000">
                <a:moveTo>
                  <a:pt x="0" y="0"/>
                </a:moveTo>
                <a:lnTo>
                  <a:pt x="330200" y="0"/>
                </a:lnTo>
                <a:lnTo>
                  <a:pt x="376331" y="254000"/>
                </a:lnTo>
                <a:lnTo>
                  <a:pt x="330200" y="508000"/>
                </a:lnTo>
                <a:lnTo>
                  <a:pt x="0" y="508000"/>
                </a:lnTo>
              </a:path>
            </a:pathLst>
          </a:custGeom>
          <a:gradFill flip="none" rotWithShape="1">
            <a:gsLst>
              <a:gs pos="24000">
                <a:schemeClr val="accent5"/>
              </a:gs>
              <a:gs pos="100000">
                <a:schemeClr val="bg1"/>
              </a:gs>
            </a:gsLst>
            <a:lin ang="8100000" scaled="1"/>
            <a:tileRect/>
          </a:gra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fontAlgn="ctr"/>
            <a:endParaRPr lang="de-DE" sz="1300" b="1"/>
          </a:p>
        </p:txBody>
      </p:sp>
      <p:grpSp>
        <p:nvGrpSpPr>
          <p:cNvPr id="79" name="Gruppieren 82"/>
          <p:cNvGrpSpPr/>
          <p:nvPr/>
        </p:nvGrpSpPr>
        <p:grpSpPr>
          <a:xfrm>
            <a:off x="7254816" y="4558183"/>
            <a:ext cx="990656" cy="609054"/>
            <a:chOff x="7254816" y="4567250"/>
            <a:chExt cx="990656" cy="609054"/>
          </a:xfrm>
        </p:grpSpPr>
        <p:sp>
          <p:nvSpPr>
            <p:cNvPr id="80" name="Textfeld 83"/>
            <p:cNvSpPr txBox="1"/>
            <p:nvPr/>
          </p:nvSpPr>
          <p:spPr>
            <a:xfrm>
              <a:off x="7254816" y="4567250"/>
              <a:ext cx="99065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de-DE" sz="1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Euro zone</a:t>
              </a:r>
            </a:p>
          </p:txBody>
        </p:sp>
        <p:sp>
          <p:nvSpPr>
            <p:cNvPr id="86" name="Textfeld 84"/>
            <p:cNvSpPr txBox="1"/>
            <p:nvPr/>
          </p:nvSpPr>
          <p:spPr>
            <a:xfrm>
              <a:off x="7254816" y="4868527"/>
              <a:ext cx="370294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de-DE" sz="20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-1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16663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45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03hFSHPk6lP9Vq1qudR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2mGEAVwk.4ui4UfPXtB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nFzlYoN0K7kpF6PmW_D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4gc5AlcUGY4.b2otOQR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vyjwvSM02.b8eKdIeXt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DhOjz6KEqC6MF04ecue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Xv2jjDekWi2Pufvc.WQ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DLPZBebUq._vv_gBN_p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oP4KkWW0StSXTbERAn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V_yw9nM0eBlCX7daHN6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DeJi0qakGQvr4M2fRTX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b53ntX0kGT5Qwx7TM4Y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iEoDng90yxu_n2R6aMh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NDwOzz.k.d3mmQzfOXA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fmeltHcUipIuI1ow.34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w00Tk2GUGZ6365L4Fnr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pCypUm10OzCUR.N91Sj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QscZQi5E.F8oPuQO_p1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3NWLS63UWM9XhxR3J_L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SpRuZE_Ua5qRmCeoeMfQ"/>
  <p:tag name="VCT-RADIUS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je52GXskmXoB.JlMRoz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tnk6R5UuKMUnmCEXmP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5P31Bee0.Hce1KBJ7Bdw"/>
  <p:tag name="VCT-RADIUS" val="7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THINKCELLSHAPEDONOTDELETE" val="ppupny4gk_UetxttNkv.wT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THINKCELLSHAPEDONOTDELETE" val="pCjvILTUUa0e8QOWHpFus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XWJY2KZ0SFQvehIfpm0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CYlnT5KUCdkHDegF9LB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4Wxh6NkmxF9C2fjwq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oySzVgUkS19v5jwK2CM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LsA3iG2EyevFQ4dRxB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yAE._Y.kec7aXiVwHx4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qXD35X6kCy_RZ08RRr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bz0OJ1cEGUWUOIdpFjX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HEtR9MiECp7Rgd7Nll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.hATos0Kh_uVOjgDam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PxNRjZJEGHAMa3P8_L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jLqtopqkulJR00W1tq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6K0MfZxESvSYtX9xRT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Blank.potx"/>
  <p:tag name="VCTMASTER" val="GfK Master for PPT 2010 4-3"/>
  <p:tag name="VCTORDER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Uvq78s7EKHkPDpJJHVZ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v7B.ce2UGNMmmFNgYRR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Rj7LCEpEyTgoV3VYQOH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mH7T.vUEe53YWJwbuP6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yGZW5vlUu.iIA4B3f3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wEiK8DLUSvx9QTTTT5L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tslvJcZ0m5hod1ZqMz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JKLxx0NEaVVXvAB5qGK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hSGV5fnUiFJ8Nm4nsI0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6i2U0n.UKE0LZBaNNQZ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GAF_9x_kKDpfTQZB6Kt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TquOzOlE6TE16uiS1BF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reyPG2ukC3f6Bzrvqfl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snrhLxOE66Y5tBs5UA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b4d8fLFkeZ60nYotre7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BPLc6H8EaYr4wTQN2F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12m9EoLkeu1e5cSGMf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0NvXzmvEC1nZy6n9K.h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FzyIlq1kOvp.p2gvEfd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bQOh3TEEyyuT1wT2EAp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aVGIQVa0OQeVB6C2bm_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iQwgAHz0CfnzDg0Ftdh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F1nxP26kSZiAzpr.xUM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drsQubxEOa0Nvqwl0UJ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v9R9jV0Ual4vQTGtce8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H8pNy8ek24Uok7M6Xil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RKyPiST0W8KIzjVFnX8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7jSG6_mUuttbDbYixI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HieM.z.kW7NqE7nSSJN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yabXn83kaNRVx7n9Oyr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_Lmpi.CkqSsoyqfhZa5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_FXRuu90esfjkRH3mBm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8SsUR2jE61fLVxXfIbW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cURL9.EkmgHId9x7ydv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lrDkNY9k6wlmsVV4o2M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uc9hkpBUa.UDBXrw7Ne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9dTG6ueU6t784EQM4j4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_We9UHzUqyioka0E6y5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_6lK5RJEefBp.ts._kq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81vovnEUih6jqPyFjrf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tno1XajEi5XrYSXJ6JF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1NxpboJEC5ddI4nhHc0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u6UJW_Sk2.RlG9ejkVV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Zsbkh0.EGomVDocUiyK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9Ni27XIEStcg6PzuO5F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T61FFr8kebv1UCAuFBZ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jmUyoaGUOKHlO5nFKNQ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V793PZvkK.z6TxHLYCO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Sjo9tsESWluFq_v1U2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8bUWEA5kCukYqhAQaMF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zoYPKUoE6WL2YTgvsuS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WIwmtEJkSndBZ0M.pLP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YGhYkzfE6vGOJoQqExI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xe8WGZMECjsZhWfBTaN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SJvMwHV0SujDJniCiXK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CK2vdFnk6tGsbFugO1R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t6k5mxDk6w7V5__6woh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sRLWWhOUGMb5EWVLv5J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_XXS.r.06ewxxHKyCqy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njbOIqj0WI2m3tVODf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ZoG_ymGU2ktOceLEBV2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U.Fh1knUa_Dg7GhFc.p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0_oZyfj0STqP2tG1Gmz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dsW9F1CkiJtl6Jp1SV1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WHncyLE6_Nhnql6YbV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XFF3yzuk.dcczGVSGPE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4gc5AlcUGY4.b2otOQR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2mGEAVwk.4ui4UfPXtB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nFzlYoN0K7kpF6PmW_D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vyjwvSM02.b8eKdIeXtg"/>
</p:tagLst>
</file>

<file path=ppt/theme/theme1.xml><?xml version="1.0" encoding="utf-8"?>
<a:theme xmlns:a="http://schemas.openxmlformats.org/drawingml/2006/main" name="Blank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defRPr sz="16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">
      <a:dk1>
        <a:sysClr val="windowText" lastClr="000000"/>
      </a:dk1>
      <a:lt1>
        <a:sysClr val="window" lastClr="FFFFFF"/>
      </a:lt1>
      <a:dk2>
        <a:srgbClr val="E95E0F"/>
      </a:dk2>
      <a:lt2>
        <a:srgbClr val="928580"/>
      </a:lt2>
      <a:accent1>
        <a:srgbClr val="E31B19"/>
      </a:accent1>
      <a:accent2>
        <a:srgbClr val="F9B200"/>
      </a:accent2>
      <a:accent3>
        <a:srgbClr val="FFD600"/>
      </a:accent3>
      <a:accent4>
        <a:srgbClr val="A1AF00"/>
      </a:accent4>
      <a:accent5>
        <a:srgbClr val="0087C8"/>
      </a:accent5>
      <a:accent6>
        <a:srgbClr val="004186"/>
      </a:accent6>
      <a:hlink>
        <a:srgbClr val="E95E0F"/>
      </a:hlink>
      <a:folHlink>
        <a:srgbClr val="92858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39</Words>
  <Application>Microsoft Office PowerPoint</Application>
  <PresentationFormat>Bildschirmpräsentation (4:3)</PresentationFormat>
  <Paragraphs>303</Paragraphs>
  <Slides>17</Slides>
  <Notes>1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3</vt:i4>
      </vt:variant>
      <vt:variant>
        <vt:lpstr>Folientitel</vt:lpstr>
      </vt:variant>
      <vt:variant>
        <vt:i4>17</vt:i4>
      </vt:variant>
    </vt:vector>
  </HeadingPairs>
  <TitlesOfParts>
    <vt:vector size="21" baseType="lpstr">
      <vt:lpstr>Blank</vt:lpstr>
      <vt:lpstr>think-cell Folie</vt:lpstr>
      <vt:lpstr>Diagramm</vt:lpstr>
      <vt:lpstr>think-cell Slide</vt:lpstr>
      <vt:lpstr>Consumer Climate 2014 –  opportunities and risks of digitization</vt:lpstr>
      <vt:lpstr>Agenda</vt:lpstr>
      <vt:lpstr> GfK  -  ‘Growth from Knowledge’</vt:lpstr>
      <vt:lpstr>GfK Group: a strong heritage in market research</vt:lpstr>
      <vt:lpstr>GfK Group: a strong heritage in market research</vt:lpstr>
      <vt:lpstr>Global economy – Confirmed recovery</vt:lpstr>
      <vt:lpstr>Economical situation in Western-Europe</vt:lpstr>
      <vt:lpstr>Income prospects in Europe still mostly clouded, but in all countries (mostly) above previous year</vt:lpstr>
      <vt:lpstr>Germans are still the consumer optimistic of Europe, followed by Austrians</vt:lpstr>
      <vt:lpstr>... but also clear upward tendency in Europe</vt:lpstr>
      <vt:lpstr>Accordingly, 2014 growth improvement for private consumption is expected in all countries</vt:lpstr>
      <vt:lpstr>Digitization and big data </vt:lpstr>
      <vt:lpstr>The digital opportunities are changing  the consumer behaviour</vt:lpstr>
      <vt:lpstr>Top 10 – Mistrust* in institutions/Businesses  regarding treatment of your personal data</vt:lpstr>
      <vt:lpstr>Non-users because of data security</vt:lpstr>
      <vt:lpstr>Privacy</vt:lpstr>
      <vt:lpstr>PowerPoint-Präsentation</vt:lpstr>
    </vt:vector>
  </TitlesOfParts>
  <Company>GfK S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ronberg- Analysen</dc:title>
  <dc:subject>[Subtitle of presentation]</dc:subject>
  <dc:creator>Dietz, Annegret (GfK SE - Consumer Panels)</dc:creator>
  <dc:description>Optimized for MS PowerPoint 2010 (optionally can be used under MS PowerPoint 2007).</dc:description>
  <cp:lastModifiedBy>Kreuzer, Stefanie (GfK SE)</cp:lastModifiedBy>
  <cp:revision>158</cp:revision>
  <cp:lastPrinted>2014-01-27T08:41:00Z</cp:lastPrinted>
  <dcterms:created xsi:type="dcterms:W3CDTF">2013-08-26T15:13:05Z</dcterms:created>
  <dcterms:modified xsi:type="dcterms:W3CDTF">2014-01-28T08:38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580958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D5.0.5</vt:lpwstr>
  </property>
</Properties>
</file>